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50" r:id="rId6"/>
  </p:sldMasterIdLst>
  <p:notesMasterIdLst>
    <p:notesMasterId r:id="rId21"/>
  </p:notesMasterIdLst>
  <p:handoutMasterIdLst>
    <p:handoutMasterId r:id="rId22"/>
  </p:handoutMasterIdLst>
  <p:sldIdLst>
    <p:sldId id="277" r:id="rId7"/>
    <p:sldId id="326" r:id="rId8"/>
    <p:sldId id="335" r:id="rId9"/>
    <p:sldId id="286" r:id="rId10"/>
    <p:sldId id="331" r:id="rId11"/>
    <p:sldId id="345" r:id="rId12"/>
    <p:sldId id="260" r:id="rId13"/>
    <p:sldId id="274" r:id="rId14"/>
    <p:sldId id="280" r:id="rId15"/>
    <p:sldId id="261" r:id="rId16"/>
    <p:sldId id="341" r:id="rId17"/>
    <p:sldId id="344" r:id="rId18"/>
    <p:sldId id="346" r:id="rId19"/>
    <p:sldId id="324" r:id="rId2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287" userDrawn="1">
          <p15:clr>
            <a:srgbClr val="A4A3A4"/>
          </p15:clr>
        </p15:guide>
        <p15:guide id="2" pos="37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2C458FA-564B-806A-FA47-02B7D9B23EDC}" name="Victor Hugo Soares Fonseca" initials="VHSF" userId="S::93101367@vli-logistica.com.br::46ac3c6f-1a61-472d-bc05-d0a436de7a4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4C0"/>
    <a:srgbClr val="F37A19"/>
    <a:srgbClr val="95AFB6"/>
    <a:srgbClr val="DCE137"/>
    <a:srgbClr val="564FF0"/>
    <a:srgbClr val="9D2172"/>
    <a:srgbClr val="94B6BC"/>
    <a:srgbClr val="046CB1"/>
    <a:srgbClr val="E6E6E6"/>
    <a:srgbClr val="6767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7160BE-737F-46D6-A20D-51DA14B6F25C}" v="4" dt="2025-08-20T20:20:10.272"/>
    <p1510:client id="{EBD32C62-25D1-4D76-B175-03A04F407230}" v="1" dt="2025-08-21T11:00:56.3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6" autoAdjust="0"/>
    <p:restoredTop sz="94660"/>
  </p:normalViewPr>
  <p:slideViewPr>
    <p:cSldViewPr snapToGrid="0">
      <p:cViewPr>
        <p:scale>
          <a:sx n="80" d="100"/>
          <a:sy n="80" d="100"/>
        </p:scale>
        <p:origin x="330" y="-534"/>
      </p:cViewPr>
      <p:guideLst>
        <p:guide pos="7287"/>
        <p:guide pos="37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27" Type="http://schemas.microsoft.com/office/2015/10/relationships/revisionInfo" Target="revisionInfo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6D9342BB-B860-47CA-B70C-DA92630E80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F0AF648-CB91-4B82-B802-B137BBAAEA4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C56B0-A027-4B40-9874-8FFC8415B8B6}" type="datetimeFigureOut">
              <a:rPr lang="pt-BR" smtClean="0"/>
              <a:t>21/08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5B3DC18-3CFC-4260-BE0C-E279EC4C05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6C4E88F-78C4-4FEA-9394-39AA4170F6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A9E858-1377-4A67-8C49-0C7D7CC0918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47629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95ACC-05C0-4595-9C0D-12D7EA00E0BB}" type="datetimeFigureOut">
              <a:rPr lang="pt-BR" smtClean="0"/>
              <a:t>21/08/2025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090E2-31CF-453C-BD37-3FD6ADFF378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9245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>
              <a:cs typeface="Calibri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3977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6021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4628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09591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800">
              <a:effectLst/>
              <a:latin typeface="Calibri" panose="020F0502020204030204" pitchFamily="34" charset="0"/>
              <a:cs typeface="Calibri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2365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D122B-888D-DCE2-FF74-53DDC36AE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09E4AE3-0709-0BF9-4342-E8B68663F8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10CDCBC-4BFF-7B0F-2267-A67D381AD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>
              <a:cs typeface="Calibri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C816150-0270-DF00-8C6B-E325640E6A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C090E2-31CF-453C-BD37-3FD6ADFF378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9301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090E2-31CF-453C-BD37-3FD6ADFF378C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5923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microsoft.com/office/2007/relationships/hdphoto" Target="../media/hdphoto2.wdp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523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253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-Trabalh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2" name="Picture 1" descr="A person in a helmet and vest standing on a train&#10;&#10;Description automatically generated">
            <a:extLst>
              <a:ext uri="{FF2B5EF4-FFF2-40B4-BE49-F238E27FC236}">
                <a16:creationId xmlns:a16="http://schemas.microsoft.com/office/drawing/2014/main" id="{E4374B6B-F2FB-D0C3-1856-161EEEF9D0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42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CFE186E5-20A2-4932-9BFF-9BA87EE2DC23}"/>
              </a:ext>
            </a:extLst>
          </p:cNvPr>
          <p:cNvSpPr txBox="1">
            <a:spLocks/>
          </p:cNvSpPr>
          <p:nvPr userDrawn="1"/>
        </p:nvSpPr>
        <p:spPr>
          <a:xfrm>
            <a:off x="256995" y="6565859"/>
            <a:ext cx="294388" cy="15376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>
              <a:defRPr/>
            </a:pPr>
            <a:fld id="{02AFA14D-AEDB-46F9-A91C-03E2F21E67F8}" type="slidenum">
              <a:rPr lang="en-US" sz="999" smtClean="0">
                <a:solidFill>
                  <a:schemeClr val="tx2"/>
                </a:solidFill>
                <a:cs typeface="Arial" panose="020B0604020202020204" pitchFamily="34" charset="0"/>
              </a:rPr>
              <a:pPr algn="l">
                <a:defRPr/>
              </a:pPr>
              <a:t>‹nº›</a:t>
            </a:fld>
            <a:endParaRPr lang="en-US" sz="90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A6A3511-A8B2-4DC2-9C98-FCE94CFF3FD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0463" y="6502211"/>
            <a:ext cx="394543" cy="20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69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BA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CFE186E5-20A2-4932-9BFF-9BA87EE2DC23}"/>
              </a:ext>
            </a:extLst>
          </p:cNvPr>
          <p:cNvSpPr txBox="1">
            <a:spLocks/>
          </p:cNvSpPr>
          <p:nvPr userDrawn="1"/>
        </p:nvSpPr>
        <p:spPr>
          <a:xfrm>
            <a:off x="256995" y="6565859"/>
            <a:ext cx="294388" cy="15376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>
              <a:defRPr/>
            </a:pPr>
            <a:fld id="{02AFA14D-AEDB-46F9-A91C-03E2F21E67F8}" type="slidenum">
              <a:rPr lang="en-US" sz="999" smtClean="0">
                <a:solidFill>
                  <a:schemeClr val="bg1"/>
                </a:solidFill>
                <a:cs typeface="Arial" panose="020B0604020202020204" pitchFamily="34" charset="0"/>
              </a:rPr>
              <a:pPr algn="l">
                <a:defRPr/>
              </a:pPr>
              <a:t>‹nº›</a:t>
            </a:fld>
            <a:endParaRPr lang="en-US" sz="9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D4CF3-F647-4231-8332-359D0DD4C5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1219" y="6502211"/>
            <a:ext cx="393788" cy="20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73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BAS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CFE186E5-20A2-4932-9BFF-9BA87EE2DC23}"/>
              </a:ext>
            </a:extLst>
          </p:cNvPr>
          <p:cNvSpPr txBox="1">
            <a:spLocks/>
          </p:cNvSpPr>
          <p:nvPr userDrawn="1"/>
        </p:nvSpPr>
        <p:spPr>
          <a:xfrm>
            <a:off x="256995" y="6565859"/>
            <a:ext cx="294388" cy="15376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>
              <a:defRPr/>
            </a:pPr>
            <a:fld id="{02AFA14D-AEDB-46F9-A91C-03E2F21E67F8}" type="slidenum">
              <a:rPr lang="en-US" sz="999" smtClean="0">
                <a:solidFill>
                  <a:schemeClr val="bg1"/>
                </a:solidFill>
                <a:cs typeface="Arial" panose="020B0604020202020204" pitchFamily="34" charset="0"/>
              </a:rPr>
              <a:pPr algn="l">
                <a:defRPr/>
              </a:pPr>
              <a:t>‹nº›</a:t>
            </a:fld>
            <a:endParaRPr lang="en-US" sz="9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D4CF3-F647-4231-8332-359D0DD4C5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1219" y="6502211"/>
            <a:ext cx="393788" cy="20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3920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BAS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6087" y="36514"/>
            <a:ext cx="893233" cy="12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68">
              <a:defRPr/>
            </a:pPr>
            <a:endParaRPr lang="en-US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0961826" y="1980142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070829" y="4197881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62987" y="26988"/>
            <a:ext cx="675121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7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62985" y="542926"/>
            <a:ext cx="11724216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62987" y="6202412"/>
            <a:ext cx="11628967" cy="520611"/>
            <a:chOff x="75" y="3829"/>
            <a:chExt cx="5385" cy="322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36" indent="-621936" defTabSz="913468">
                <a:tabLst>
                  <a:tab pos="625174" algn="l"/>
                </a:tabLst>
                <a:defRPr/>
              </a:pPr>
              <a:r>
                <a:rPr lang="en-US" sz="102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976969" y="1084539"/>
            <a:ext cx="5799668" cy="583924"/>
            <a:chOff x="915" y="670"/>
            <a:chExt cx="2686" cy="36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CFE186E5-20A2-4932-9BFF-9BA87EE2DC23}"/>
              </a:ext>
            </a:extLst>
          </p:cNvPr>
          <p:cNvSpPr txBox="1">
            <a:spLocks/>
          </p:cNvSpPr>
          <p:nvPr userDrawn="1"/>
        </p:nvSpPr>
        <p:spPr>
          <a:xfrm>
            <a:off x="256995" y="6565859"/>
            <a:ext cx="294388" cy="15376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>
              <a:defRPr/>
            </a:pPr>
            <a:fld id="{02AFA14D-AEDB-46F9-A91C-03E2F21E67F8}" type="slidenum">
              <a:rPr lang="en-US" sz="999" smtClean="0">
                <a:solidFill>
                  <a:schemeClr val="bg1"/>
                </a:solidFill>
                <a:cs typeface="Arial" panose="020B0604020202020204" pitchFamily="34" charset="0"/>
              </a:rPr>
              <a:pPr algn="l">
                <a:defRPr/>
              </a:pPr>
              <a:t>‹nº›</a:t>
            </a:fld>
            <a:endParaRPr lang="en-US" sz="9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961AA03-1845-47B0-BCE2-94D22AD36C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39499" y="6502211"/>
            <a:ext cx="395507" cy="20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257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grade tr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6951A1F6-9CC0-BB14-6640-FA810D042F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2247"/>
            <a:ext cx="12194700" cy="6860248"/>
          </a:xfrm>
          <a:prstGeom prst="rect">
            <a:avLst/>
          </a:prstGeom>
        </p:spPr>
      </p:pic>
      <p:pic>
        <p:nvPicPr>
          <p:cNvPr id="85" name="Picture 48" descr="A train on the tracks&#10;&#10;Description automatically generated">
            <a:extLst>
              <a:ext uri="{FF2B5EF4-FFF2-40B4-BE49-F238E27FC236}">
                <a16:creationId xmlns:a16="http://schemas.microsoft.com/office/drawing/2014/main" id="{344DB009-74CF-B47B-2A3E-324BDE4E0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5812"/>
          <a:stretch/>
        </p:blipFill>
        <p:spPr>
          <a:xfrm>
            <a:off x="-10931" y="-2248"/>
            <a:ext cx="122029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228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6951A1F6-9CC0-BB14-6640-FA810D042F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2247"/>
            <a:ext cx="12194700" cy="6860248"/>
          </a:xfrm>
          <a:prstGeom prst="rect">
            <a:avLst/>
          </a:prstGeom>
        </p:spPr>
      </p:pic>
      <p:sp>
        <p:nvSpPr>
          <p:cNvPr id="8" name="Retângulo: Cantos Superiores Arredondados 7">
            <a:extLst>
              <a:ext uri="{FF2B5EF4-FFF2-40B4-BE49-F238E27FC236}">
                <a16:creationId xmlns:a16="http://schemas.microsoft.com/office/drawing/2014/main" id="{D834D79B-E356-70D1-502A-B4C0A263C87B}"/>
              </a:ext>
            </a:extLst>
          </p:cNvPr>
          <p:cNvSpPr/>
          <p:nvPr userDrawn="1"/>
        </p:nvSpPr>
        <p:spPr>
          <a:xfrm>
            <a:off x="434977" y="596900"/>
            <a:ext cx="11322049" cy="6261100"/>
          </a:xfrm>
          <a:prstGeom prst="round2SameRect">
            <a:avLst>
              <a:gd name="adj1" fmla="val 6018"/>
              <a:gd name="adj2" fmla="val 0"/>
            </a:avLst>
          </a:prstGeom>
          <a:noFill/>
          <a:ln>
            <a:solidFill>
              <a:srgbClr val="F379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9"/>
          </a:p>
        </p:txBody>
      </p:sp>
    </p:spTree>
    <p:extLst>
      <p:ext uri="{BB962C8B-B14F-4D97-AF65-F5344CB8AC3E}">
        <p14:creationId xmlns:p14="http://schemas.microsoft.com/office/powerpoint/2010/main" val="3002710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5ACBF0"/>
          </p15:clr>
        </p15:guide>
        <p15:guide id="2" orient="horz" pos="2160" userDrawn="1">
          <p15:clr>
            <a:srgbClr val="5ACBF0"/>
          </p15:clr>
        </p15:guide>
        <p15:guide id="3" pos="768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pos="234" userDrawn="1">
          <p15:clr>
            <a:srgbClr val="5ACBF0"/>
          </p15:clr>
        </p15:guide>
        <p15:guide id="8" orient="horz" pos="232" userDrawn="1">
          <p15:clr>
            <a:srgbClr val="5ACBF0"/>
          </p15:clr>
        </p15:guide>
        <p15:guide id="9" pos="7446" userDrawn="1">
          <p15:clr>
            <a:srgbClr val="5ACBF0"/>
          </p15:clr>
        </p15:guide>
        <p15:guide id="10" orient="horz" pos="4110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534CB9-400E-6FBD-B2C3-C82403333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B63B92-863F-88E8-EDE2-31A257806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EAD6EB-6F88-1597-AAA3-3CF6EA1B4D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E9D7B89-8DBC-464D-9DCA-B05A1FEA2491}" type="datetimeFigureOut">
              <a:rPr lang="pt-BR" smtClean="0"/>
              <a:t>21/08/2025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42986E-4192-096E-3078-8B4397C257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D1F58F-9ED6-6290-B627-B4B91ACE77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B0302E-5B13-4C09-A3CC-DDBD6C519F0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5109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hyperlink" Target="mailto:Elias.Rezende@vli-log&#237;stica.com.br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jpe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11" Type="http://schemas.openxmlformats.org/officeDocument/2006/relationships/image" Target="../media/image76.png"/><Relationship Id="rId5" Type="http://schemas.openxmlformats.org/officeDocument/2006/relationships/image" Target="../media/image72.png"/><Relationship Id="rId10" Type="http://schemas.openxmlformats.org/officeDocument/2006/relationships/image" Target="../media/image13.svg"/><Relationship Id="rId4" Type="http://schemas.openxmlformats.org/officeDocument/2006/relationships/image" Target="../media/image71.png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5" Type="http://schemas.openxmlformats.org/officeDocument/2006/relationships/image" Target="../media/image28.jpe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35.png"/><Relationship Id="rId18" Type="http://schemas.openxmlformats.org/officeDocument/2006/relationships/slide" Target="slide6.xml"/><Relationship Id="rId3" Type="http://schemas.openxmlformats.org/officeDocument/2006/relationships/tags" Target="../tags/tag10.xml"/><Relationship Id="rId21" Type="http://schemas.openxmlformats.org/officeDocument/2006/relationships/image" Target="../media/image13.svg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4.svg"/><Relationship Id="rId17" Type="http://schemas.openxmlformats.org/officeDocument/2006/relationships/slide" Target="slide11.xml"/><Relationship Id="rId25" Type="http://schemas.openxmlformats.org/officeDocument/2006/relationships/image" Target="../media/image42.png"/><Relationship Id="rId2" Type="http://schemas.openxmlformats.org/officeDocument/2006/relationships/tags" Target="../tags/tag9.xml"/><Relationship Id="rId16" Type="http://schemas.openxmlformats.org/officeDocument/2006/relationships/image" Target="../media/image38.svg"/><Relationship Id="rId20" Type="http://schemas.openxmlformats.org/officeDocument/2006/relationships/image" Target="../media/image1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33.png"/><Relationship Id="rId24" Type="http://schemas.openxmlformats.org/officeDocument/2006/relationships/image" Target="../media/image41.png"/><Relationship Id="rId5" Type="http://schemas.openxmlformats.org/officeDocument/2006/relationships/tags" Target="../tags/tag12.xml"/><Relationship Id="rId15" Type="http://schemas.openxmlformats.org/officeDocument/2006/relationships/image" Target="../media/image37.png"/><Relationship Id="rId23" Type="http://schemas.openxmlformats.org/officeDocument/2006/relationships/image" Target="../media/image40.png"/><Relationship Id="rId10" Type="http://schemas.openxmlformats.org/officeDocument/2006/relationships/image" Target="../media/image32.png"/><Relationship Id="rId19" Type="http://schemas.openxmlformats.org/officeDocument/2006/relationships/slide" Target="slide13.xml"/><Relationship Id="rId4" Type="http://schemas.openxmlformats.org/officeDocument/2006/relationships/tags" Target="../tags/tag11.xml"/><Relationship Id="rId9" Type="http://schemas.openxmlformats.org/officeDocument/2006/relationships/image" Target="../media/image31.png"/><Relationship Id="rId14" Type="http://schemas.openxmlformats.org/officeDocument/2006/relationships/image" Target="../media/image36.svg"/><Relationship Id="rId22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svg"/><Relationship Id="rId7" Type="http://schemas.openxmlformats.org/officeDocument/2006/relationships/image" Target="../media/image59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svg"/><Relationship Id="rId10" Type="http://schemas.openxmlformats.org/officeDocument/2006/relationships/image" Target="../media/image62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8D192855-B236-43E9-88D2-D67A34CEFAE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9" name="Camada 1">
            <a:extLst>
              <a:ext uri="{FF2B5EF4-FFF2-40B4-BE49-F238E27FC236}">
                <a16:creationId xmlns:a16="http://schemas.microsoft.com/office/drawing/2014/main" id="{16EB5625-9ECB-4DF0-B952-7453064CE5A1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92" t="38559" r="9482" b="1390"/>
          <a:stretch/>
        </p:blipFill>
        <p:spPr>
          <a:xfrm>
            <a:off x="-1" y="1257300"/>
            <a:ext cx="6307811" cy="4217068"/>
          </a:xfrm>
          <a:prstGeom prst="rect">
            <a:avLst/>
          </a:prstGeom>
        </p:spPr>
      </p:pic>
      <p:grpSp>
        <p:nvGrpSpPr>
          <p:cNvPr id="35" name="Agrupar 34">
            <a:extLst>
              <a:ext uri="{FF2B5EF4-FFF2-40B4-BE49-F238E27FC236}">
                <a16:creationId xmlns:a16="http://schemas.microsoft.com/office/drawing/2014/main" id="{163BAA26-3D86-4A46-8F8E-0EDC19681520}"/>
              </a:ext>
            </a:extLst>
          </p:cNvPr>
          <p:cNvGrpSpPr/>
          <p:nvPr/>
        </p:nvGrpSpPr>
        <p:grpSpPr>
          <a:xfrm rot="5400000">
            <a:off x="2118485" y="-868091"/>
            <a:ext cx="4223977" cy="8460948"/>
            <a:chOff x="-1187366" y="-1747"/>
            <a:chExt cx="2374736" cy="4756777"/>
          </a:xfrm>
        </p:grpSpPr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C3178D31-9472-48C1-9812-DBBF2E5CCADB}"/>
                </a:ext>
              </a:extLst>
            </p:cNvPr>
            <p:cNvSpPr/>
            <p:nvPr/>
          </p:nvSpPr>
          <p:spPr>
            <a:xfrm rot="16200000">
              <a:off x="-1772612" y="1795049"/>
              <a:ext cx="3545227" cy="2374735"/>
            </a:xfrm>
            <a:prstGeom prst="rect">
              <a:avLst/>
            </a:prstGeom>
            <a:gradFill>
              <a:gsLst>
                <a:gs pos="0">
                  <a:srgbClr val="F37A19">
                    <a:alpha val="0"/>
                  </a:srgbClr>
                </a:gs>
                <a:gs pos="100000">
                  <a:srgbClr val="F37A19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7" name="Gráfico 36">
              <a:extLst>
                <a:ext uri="{FF2B5EF4-FFF2-40B4-BE49-F238E27FC236}">
                  <a16:creationId xmlns:a16="http://schemas.microsoft.com/office/drawing/2014/main" id="{5A937A1A-1C75-4AE0-B6AE-4719AFD99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8100000">
              <a:off x="-1187366" y="-1747"/>
              <a:ext cx="2374736" cy="2374735"/>
            </a:xfrm>
            <a:prstGeom prst="rect">
              <a:avLst/>
            </a:prstGeom>
          </p:spPr>
        </p:pic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F3C8312-0045-4108-9C8F-8B779757AF97}"/>
              </a:ext>
            </a:extLst>
          </p:cNvPr>
          <p:cNvGrpSpPr/>
          <p:nvPr/>
        </p:nvGrpSpPr>
        <p:grpSpPr>
          <a:xfrm>
            <a:off x="9283738" y="2705988"/>
            <a:ext cx="1601206" cy="1446025"/>
            <a:chOff x="9016918" y="2408431"/>
            <a:chExt cx="2267934" cy="2048137"/>
          </a:xfrm>
        </p:grpSpPr>
        <p:grpSp>
          <p:nvGrpSpPr>
            <p:cNvPr id="47" name="Agrupar 46">
              <a:extLst>
                <a:ext uri="{FF2B5EF4-FFF2-40B4-BE49-F238E27FC236}">
                  <a16:creationId xmlns:a16="http://schemas.microsoft.com/office/drawing/2014/main" id="{A8159460-4A13-4A19-9724-6C2B5ABB2B00}"/>
                </a:ext>
              </a:extLst>
            </p:cNvPr>
            <p:cNvGrpSpPr/>
            <p:nvPr/>
          </p:nvGrpSpPr>
          <p:grpSpPr>
            <a:xfrm>
              <a:off x="9016918" y="2408431"/>
              <a:ext cx="2267934" cy="1162938"/>
              <a:chOff x="967307" y="3970387"/>
              <a:chExt cx="2437759" cy="1250020"/>
            </a:xfrm>
            <a:solidFill>
              <a:schemeClr val="bg1"/>
            </a:solidFill>
          </p:grpSpPr>
          <p:sp>
            <p:nvSpPr>
              <p:cNvPr id="7" name="Gráfico 8">
                <a:extLst>
                  <a:ext uri="{FF2B5EF4-FFF2-40B4-BE49-F238E27FC236}">
                    <a16:creationId xmlns:a16="http://schemas.microsoft.com/office/drawing/2014/main" id="{00251077-722F-49F0-87C5-67EEB4E32A5F}"/>
                  </a:ext>
                </a:extLst>
              </p:cNvPr>
              <p:cNvSpPr/>
              <p:nvPr/>
            </p:nvSpPr>
            <p:spPr>
              <a:xfrm>
                <a:off x="3078137" y="4893531"/>
                <a:ext cx="326929" cy="326876"/>
              </a:xfrm>
              <a:custGeom>
                <a:avLst/>
                <a:gdLst>
                  <a:gd name="connsiteX0" fmla="*/ 326929 w 326929"/>
                  <a:gd name="connsiteY0" fmla="*/ 163438 h 326876"/>
                  <a:gd name="connsiteX1" fmla="*/ 163438 w 326929"/>
                  <a:gd name="connsiteY1" fmla="*/ 326876 h 326876"/>
                  <a:gd name="connsiteX2" fmla="*/ 0 w 326929"/>
                  <a:gd name="connsiteY2" fmla="*/ 163438 h 326876"/>
                  <a:gd name="connsiteX3" fmla="*/ 163438 w 326929"/>
                  <a:gd name="connsiteY3" fmla="*/ 0 h 326876"/>
                  <a:gd name="connsiteX4" fmla="*/ 326929 w 326929"/>
                  <a:gd name="connsiteY4" fmla="*/ 163438 h 326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29" h="326876">
                    <a:moveTo>
                      <a:pt x="326929" y="163438"/>
                    </a:moveTo>
                    <a:cubicBezTo>
                      <a:pt x="326929" y="253716"/>
                      <a:pt x="253769" y="326876"/>
                      <a:pt x="163438" y="326876"/>
                    </a:cubicBezTo>
                    <a:cubicBezTo>
                      <a:pt x="73161" y="326876"/>
                      <a:pt x="0" y="253716"/>
                      <a:pt x="0" y="163438"/>
                    </a:cubicBezTo>
                    <a:cubicBezTo>
                      <a:pt x="0" y="73161"/>
                      <a:pt x="73161" y="0"/>
                      <a:pt x="163438" y="0"/>
                    </a:cubicBezTo>
                    <a:cubicBezTo>
                      <a:pt x="253769" y="-53"/>
                      <a:pt x="326929" y="73161"/>
                      <a:pt x="326929" y="163438"/>
                    </a:cubicBezTo>
                    <a:close/>
                  </a:path>
                </a:pathLst>
              </a:custGeom>
              <a:solidFill>
                <a:srgbClr val="F37A19"/>
              </a:solidFill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" name="Gráfico 8">
                <a:extLst>
                  <a:ext uri="{FF2B5EF4-FFF2-40B4-BE49-F238E27FC236}">
                    <a16:creationId xmlns:a16="http://schemas.microsoft.com/office/drawing/2014/main" id="{26A66D7D-1AFF-4A9D-9AF8-78BAD7731414}"/>
                  </a:ext>
                </a:extLst>
              </p:cNvPr>
              <p:cNvSpPr/>
              <p:nvPr/>
            </p:nvSpPr>
            <p:spPr>
              <a:xfrm>
                <a:off x="3095308" y="3970387"/>
                <a:ext cx="292642" cy="824922"/>
              </a:xfrm>
              <a:custGeom>
                <a:avLst/>
                <a:gdLst>
                  <a:gd name="connsiteX0" fmla="*/ 0 w 292642"/>
                  <a:gd name="connsiteY0" fmla="*/ 0 h 824922"/>
                  <a:gd name="connsiteX1" fmla="*/ 292642 w 292642"/>
                  <a:gd name="connsiteY1" fmla="*/ 0 h 824922"/>
                  <a:gd name="connsiteX2" fmla="*/ 292642 w 292642"/>
                  <a:gd name="connsiteY2" fmla="*/ 824922 h 824922"/>
                  <a:gd name="connsiteX3" fmla="*/ 0 w 292642"/>
                  <a:gd name="connsiteY3" fmla="*/ 824922 h 8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642" h="824922">
                    <a:moveTo>
                      <a:pt x="0" y="0"/>
                    </a:moveTo>
                    <a:lnTo>
                      <a:pt x="292642" y="0"/>
                    </a:lnTo>
                    <a:lnTo>
                      <a:pt x="292642" y="824922"/>
                    </a:lnTo>
                    <a:lnTo>
                      <a:pt x="0" y="824922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" name="Gráfico 8">
                <a:extLst>
                  <a:ext uri="{FF2B5EF4-FFF2-40B4-BE49-F238E27FC236}">
                    <a16:creationId xmlns:a16="http://schemas.microsoft.com/office/drawing/2014/main" id="{E7548136-251C-4075-B91A-0E77CFDDB789}"/>
                  </a:ext>
                </a:extLst>
              </p:cNvPr>
              <p:cNvSpPr/>
              <p:nvPr/>
            </p:nvSpPr>
            <p:spPr>
              <a:xfrm>
                <a:off x="967307" y="3970387"/>
                <a:ext cx="1133614" cy="1227785"/>
              </a:xfrm>
              <a:custGeom>
                <a:avLst/>
                <a:gdLst>
                  <a:gd name="connsiteX0" fmla="*/ 759920 w 1133614"/>
                  <a:gd name="connsiteY0" fmla="*/ 1092556 h 1227785"/>
                  <a:gd name="connsiteX1" fmla="*/ 566194 w 1133614"/>
                  <a:gd name="connsiteY1" fmla="*/ 1227785 h 1227785"/>
                  <a:gd name="connsiteX2" fmla="*/ 371348 w 1133614"/>
                  <a:gd name="connsiteY2" fmla="*/ 1084184 h 1227785"/>
                  <a:gd name="connsiteX3" fmla="*/ 0 w 1133614"/>
                  <a:gd name="connsiteY3" fmla="*/ 0 h 1227785"/>
                  <a:gd name="connsiteX4" fmla="*/ 309653 w 1133614"/>
                  <a:gd name="connsiteY4" fmla="*/ 0 h 1227785"/>
                  <a:gd name="connsiteX5" fmla="*/ 560435 w 1133614"/>
                  <a:gd name="connsiteY5" fmla="*/ 834894 h 1227785"/>
                  <a:gd name="connsiteX6" fmla="*/ 573073 w 1133614"/>
                  <a:gd name="connsiteY6" fmla="*/ 834894 h 1227785"/>
                  <a:gd name="connsiteX7" fmla="*/ 823856 w 1133614"/>
                  <a:gd name="connsiteY7" fmla="*/ 0 h 1227785"/>
                  <a:gd name="connsiteX8" fmla="*/ 1133615 w 1133614"/>
                  <a:gd name="connsiteY8" fmla="*/ 0 h 1227785"/>
                  <a:gd name="connsiteX9" fmla="*/ 759920 w 1133614"/>
                  <a:gd name="connsiteY9" fmla="*/ 1092556 h 122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33614" h="1227785">
                    <a:moveTo>
                      <a:pt x="759920" y="1092556"/>
                    </a:moveTo>
                    <a:cubicBezTo>
                      <a:pt x="730486" y="1171315"/>
                      <a:pt x="654819" y="1227785"/>
                      <a:pt x="566194" y="1227785"/>
                    </a:cubicBezTo>
                    <a:cubicBezTo>
                      <a:pt x="474584" y="1227785"/>
                      <a:pt x="396091" y="1166783"/>
                      <a:pt x="371348" y="1084184"/>
                    </a:cubicBezTo>
                    <a:lnTo>
                      <a:pt x="0" y="0"/>
                    </a:lnTo>
                    <a:lnTo>
                      <a:pt x="309653" y="0"/>
                    </a:lnTo>
                    <a:cubicBezTo>
                      <a:pt x="356364" y="150907"/>
                      <a:pt x="549397" y="775598"/>
                      <a:pt x="560435" y="834894"/>
                    </a:cubicBezTo>
                    <a:lnTo>
                      <a:pt x="573073" y="834894"/>
                    </a:lnTo>
                    <a:cubicBezTo>
                      <a:pt x="583151" y="774318"/>
                      <a:pt x="776877" y="150747"/>
                      <a:pt x="823856" y="0"/>
                    </a:cubicBezTo>
                    <a:lnTo>
                      <a:pt x="1133615" y="0"/>
                    </a:lnTo>
                    <a:lnTo>
                      <a:pt x="759920" y="1092556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" name="Gráfico 8">
                <a:extLst>
                  <a:ext uri="{FF2B5EF4-FFF2-40B4-BE49-F238E27FC236}">
                    <a16:creationId xmlns:a16="http://schemas.microsoft.com/office/drawing/2014/main" id="{A03B054E-A506-4DE9-AB73-AFF15F04980D}"/>
                  </a:ext>
                </a:extLst>
              </p:cNvPr>
              <p:cNvSpPr/>
              <p:nvPr/>
            </p:nvSpPr>
            <p:spPr>
              <a:xfrm>
                <a:off x="2250069" y="3970387"/>
                <a:ext cx="719180" cy="1227785"/>
              </a:xfrm>
              <a:custGeom>
                <a:avLst/>
                <a:gdLst>
                  <a:gd name="connsiteX0" fmla="*/ 315038 w 719180"/>
                  <a:gd name="connsiteY0" fmla="*/ 0 h 1227785"/>
                  <a:gd name="connsiteX1" fmla="*/ 315038 w 719180"/>
                  <a:gd name="connsiteY1" fmla="*/ 947194 h 1227785"/>
                  <a:gd name="connsiteX2" fmla="*/ 719181 w 719180"/>
                  <a:gd name="connsiteY2" fmla="*/ 947194 h 1227785"/>
                  <a:gd name="connsiteX3" fmla="*/ 719181 w 719180"/>
                  <a:gd name="connsiteY3" fmla="*/ 1227785 h 1227785"/>
                  <a:gd name="connsiteX4" fmla="*/ 141469 w 719180"/>
                  <a:gd name="connsiteY4" fmla="*/ 1227785 h 1227785"/>
                  <a:gd name="connsiteX5" fmla="*/ 0 w 719180"/>
                  <a:gd name="connsiteY5" fmla="*/ 1086583 h 1227785"/>
                  <a:gd name="connsiteX6" fmla="*/ 0 w 719180"/>
                  <a:gd name="connsiteY6" fmla="*/ 0 h 1227785"/>
                  <a:gd name="connsiteX7" fmla="*/ 315038 w 719180"/>
                  <a:gd name="connsiteY7" fmla="*/ 0 h 122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9180" h="1227785">
                    <a:moveTo>
                      <a:pt x="315038" y="0"/>
                    </a:moveTo>
                    <a:lnTo>
                      <a:pt x="315038" y="947194"/>
                    </a:lnTo>
                    <a:lnTo>
                      <a:pt x="719181" y="947194"/>
                    </a:lnTo>
                    <a:lnTo>
                      <a:pt x="719181" y="1227785"/>
                    </a:lnTo>
                    <a:lnTo>
                      <a:pt x="141469" y="1227785"/>
                    </a:lnTo>
                    <a:cubicBezTo>
                      <a:pt x="63456" y="1227785"/>
                      <a:pt x="0" y="1164490"/>
                      <a:pt x="0" y="1086583"/>
                    </a:cubicBezTo>
                    <a:lnTo>
                      <a:pt x="0" y="0"/>
                    </a:lnTo>
                    <a:lnTo>
                      <a:pt x="315038" y="0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" name="Gráfico 8">
              <a:extLst>
                <a:ext uri="{FF2B5EF4-FFF2-40B4-BE49-F238E27FC236}">
                  <a16:creationId xmlns:a16="http://schemas.microsoft.com/office/drawing/2014/main" id="{E3D1928F-A0D9-4435-BC26-B05542C27AC1}"/>
                </a:ext>
              </a:extLst>
            </p:cNvPr>
            <p:cNvGrpSpPr/>
            <p:nvPr/>
          </p:nvGrpSpPr>
          <p:grpSpPr>
            <a:xfrm>
              <a:off x="9151923" y="3775534"/>
              <a:ext cx="2117718" cy="681034"/>
              <a:chOff x="1120293" y="5455124"/>
              <a:chExt cx="2276295" cy="732031"/>
            </a:xfrm>
            <a:solidFill>
              <a:schemeClr val="bg1"/>
            </a:solidFill>
          </p:grpSpPr>
          <p:sp>
            <p:nvSpPr>
              <p:cNvPr id="12" name="Gráfico 8">
                <a:extLst>
                  <a:ext uri="{FF2B5EF4-FFF2-40B4-BE49-F238E27FC236}">
                    <a16:creationId xmlns:a16="http://schemas.microsoft.com/office/drawing/2014/main" id="{C5ECA98A-C450-48C4-8A73-6DECEBB082DF}"/>
                  </a:ext>
                </a:extLst>
              </p:cNvPr>
              <p:cNvSpPr/>
              <p:nvPr/>
            </p:nvSpPr>
            <p:spPr>
              <a:xfrm>
                <a:off x="1120293" y="5461417"/>
                <a:ext cx="222787" cy="255955"/>
              </a:xfrm>
              <a:custGeom>
                <a:avLst/>
                <a:gdLst>
                  <a:gd name="connsiteX0" fmla="*/ 68948 w 222787"/>
                  <a:gd name="connsiteY0" fmla="*/ 41433 h 255955"/>
                  <a:gd name="connsiteX1" fmla="*/ 114647 w 222787"/>
                  <a:gd name="connsiteY1" fmla="*/ 29008 h 255955"/>
                  <a:gd name="connsiteX2" fmla="*/ 165038 w 222787"/>
                  <a:gd name="connsiteY2" fmla="*/ 44846 h 255955"/>
                  <a:gd name="connsiteX3" fmla="*/ 191913 w 222787"/>
                  <a:gd name="connsiteY3" fmla="*/ 88198 h 255955"/>
                  <a:gd name="connsiteX4" fmla="*/ 222788 w 222787"/>
                  <a:gd name="connsiteY4" fmla="*/ 79986 h 255955"/>
                  <a:gd name="connsiteX5" fmla="*/ 184821 w 222787"/>
                  <a:gd name="connsiteY5" fmla="*/ 21650 h 255955"/>
                  <a:gd name="connsiteX6" fmla="*/ 114647 w 222787"/>
                  <a:gd name="connsiteY6" fmla="*/ 0 h 255955"/>
                  <a:gd name="connsiteX7" fmla="*/ 52364 w 222787"/>
                  <a:gd name="connsiteY7" fmla="*/ 16211 h 255955"/>
                  <a:gd name="connsiteX8" fmla="*/ 13384 w 222787"/>
                  <a:gd name="connsiteY8" fmla="*/ 61269 h 255955"/>
                  <a:gd name="connsiteX9" fmla="*/ 0 w 222787"/>
                  <a:gd name="connsiteY9" fmla="*/ 127978 h 255955"/>
                  <a:gd name="connsiteX10" fmla="*/ 13384 w 222787"/>
                  <a:gd name="connsiteY10" fmla="*/ 194686 h 255955"/>
                  <a:gd name="connsiteX11" fmla="*/ 52364 w 222787"/>
                  <a:gd name="connsiteY11" fmla="*/ 239745 h 255955"/>
                  <a:gd name="connsiteX12" fmla="*/ 114647 w 222787"/>
                  <a:gd name="connsiteY12" fmla="*/ 255955 h 255955"/>
                  <a:gd name="connsiteX13" fmla="*/ 184821 w 222787"/>
                  <a:gd name="connsiteY13" fmla="*/ 234306 h 255955"/>
                  <a:gd name="connsiteX14" fmla="*/ 222788 w 222787"/>
                  <a:gd name="connsiteY14" fmla="*/ 175969 h 255955"/>
                  <a:gd name="connsiteX15" fmla="*/ 191913 w 222787"/>
                  <a:gd name="connsiteY15" fmla="*/ 167757 h 255955"/>
                  <a:gd name="connsiteX16" fmla="*/ 165038 w 222787"/>
                  <a:gd name="connsiteY16" fmla="*/ 211003 h 255955"/>
                  <a:gd name="connsiteX17" fmla="*/ 114647 w 222787"/>
                  <a:gd name="connsiteY17" fmla="*/ 226947 h 255955"/>
                  <a:gd name="connsiteX18" fmla="*/ 68735 w 222787"/>
                  <a:gd name="connsiteY18" fmla="*/ 214416 h 255955"/>
                  <a:gd name="connsiteX19" fmla="*/ 41113 w 222787"/>
                  <a:gd name="connsiteY19" fmla="*/ 179595 h 255955"/>
                  <a:gd name="connsiteX20" fmla="*/ 32048 w 222787"/>
                  <a:gd name="connsiteY20" fmla="*/ 127978 h 255955"/>
                  <a:gd name="connsiteX21" fmla="*/ 41433 w 222787"/>
                  <a:gd name="connsiteY21" fmla="*/ 76307 h 255955"/>
                  <a:gd name="connsiteX22" fmla="*/ 68948 w 222787"/>
                  <a:gd name="connsiteY22" fmla="*/ 41433 h 25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22787" h="255955">
                    <a:moveTo>
                      <a:pt x="68948" y="41433"/>
                    </a:moveTo>
                    <a:cubicBezTo>
                      <a:pt x="81106" y="33114"/>
                      <a:pt x="96356" y="29008"/>
                      <a:pt x="114647" y="29008"/>
                    </a:cubicBezTo>
                    <a:cubicBezTo>
                      <a:pt x="135336" y="29008"/>
                      <a:pt x="152133" y="34287"/>
                      <a:pt x="165038" y="44846"/>
                    </a:cubicBezTo>
                    <a:cubicBezTo>
                      <a:pt x="177942" y="55404"/>
                      <a:pt x="186901" y="69854"/>
                      <a:pt x="191913" y="88198"/>
                    </a:cubicBezTo>
                    <a:lnTo>
                      <a:pt x="222788" y="79986"/>
                    </a:lnTo>
                    <a:cubicBezTo>
                      <a:pt x="215856" y="55564"/>
                      <a:pt x="203218" y="36100"/>
                      <a:pt x="184821" y="21650"/>
                    </a:cubicBezTo>
                    <a:cubicBezTo>
                      <a:pt x="166478" y="7199"/>
                      <a:pt x="143068" y="0"/>
                      <a:pt x="114647" y="0"/>
                    </a:cubicBezTo>
                    <a:cubicBezTo>
                      <a:pt x="90171" y="0"/>
                      <a:pt x="69428" y="5386"/>
                      <a:pt x="52364" y="16211"/>
                    </a:cubicBezTo>
                    <a:cubicBezTo>
                      <a:pt x="35300" y="27035"/>
                      <a:pt x="22289" y="42019"/>
                      <a:pt x="13384" y="61269"/>
                    </a:cubicBezTo>
                    <a:cubicBezTo>
                      <a:pt x="4479" y="80466"/>
                      <a:pt x="0" y="102702"/>
                      <a:pt x="0" y="127978"/>
                    </a:cubicBezTo>
                    <a:cubicBezTo>
                      <a:pt x="0" y="153253"/>
                      <a:pt x="4479" y="175489"/>
                      <a:pt x="13384" y="194686"/>
                    </a:cubicBezTo>
                    <a:cubicBezTo>
                      <a:pt x="22289" y="213883"/>
                      <a:pt x="35300" y="228920"/>
                      <a:pt x="52364" y="239745"/>
                    </a:cubicBezTo>
                    <a:cubicBezTo>
                      <a:pt x="69428" y="250570"/>
                      <a:pt x="90171" y="255955"/>
                      <a:pt x="114647" y="255955"/>
                    </a:cubicBezTo>
                    <a:cubicBezTo>
                      <a:pt x="143068" y="255955"/>
                      <a:pt x="166478" y="248756"/>
                      <a:pt x="184821" y="234306"/>
                    </a:cubicBezTo>
                    <a:cubicBezTo>
                      <a:pt x="203164" y="219855"/>
                      <a:pt x="215856" y="200392"/>
                      <a:pt x="222788" y="175969"/>
                    </a:cubicBezTo>
                    <a:lnTo>
                      <a:pt x="191913" y="167757"/>
                    </a:lnTo>
                    <a:cubicBezTo>
                      <a:pt x="186901" y="185941"/>
                      <a:pt x="177942" y="200392"/>
                      <a:pt x="165038" y="211003"/>
                    </a:cubicBezTo>
                    <a:cubicBezTo>
                      <a:pt x="152133" y="221615"/>
                      <a:pt x="135336" y="226947"/>
                      <a:pt x="114647" y="226947"/>
                    </a:cubicBezTo>
                    <a:cubicBezTo>
                      <a:pt x="96356" y="226947"/>
                      <a:pt x="81052" y="222788"/>
                      <a:pt x="68735" y="214416"/>
                    </a:cubicBezTo>
                    <a:cubicBezTo>
                      <a:pt x="56470" y="206044"/>
                      <a:pt x="47245" y="194473"/>
                      <a:pt x="41113" y="179595"/>
                    </a:cubicBezTo>
                    <a:cubicBezTo>
                      <a:pt x="34981" y="164718"/>
                      <a:pt x="31941" y="147548"/>
                      <a:pt x="32048" y="127978"/>
                    </a:cubicBezTo>
                    <a:cubicBezTo>
                      <a:pt x="32154" y="108408"/>
                      <a:pt x="35300" y="91184"/>
                      <a:pt x="41433" y="76307"/>
                    </a:cubicBezTo>
                    <a:cubicBezTo>
                      <a:pt x="47672" y="61323"/>
                      <a:pt x="56790" y="49751"/>
                      <a:pt x="68948" y="41433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" name="Gráfico 8">
                <a:extLst>
                  <a:ext uri="{FF2B5EF4-FFF2-40B4-BE49-F238E27FC236}">
                    <a16:creationId xmlns:a16="http://schemas.microsoft.com/office/drawing/2014/main" id="{E45764D3-E173-485A-970B-B62A53113377}"/>
                  </a:ext>
                </a:extLst>
              </p:cNvPr>
              <p:cNvSpPr/>
              <p:nvPr/>
            </p:nvSpPr>
            <p:spPr>
              <a:xfrm>
                <a:off x="1370383" y="5522793"/>
                <a:ext cx="177622" cy="194579"/>
              </a:xfrm>
              <a:custGeom>
                <a:avLst/>
                <a:gdLst>
                  <a:gd name="connsiteX0" fmla="*/ 136350 w 177622"/>
                  <a:gd name="connsiteY0" fmla="*/ 12478 h 194579"/>
                  <a:gd name="connsiteX1" fmla="*/ 88731 w 177622"/>
                  <a:gd name="connsiteY1" fmla="*/ 0 h 194579"/>
                  <a:gd name="connsiteX2" fmla="*/ 41806 w 177622"/>
                  <a:gd name="connsiteY2" fmla="*/ 12211 h 194579"/>
                  <a:gd name="connsiteX3" fmla="*/ 10931 w 177622"/>
                  <a:gd name="connsiteY3" fmla="*/ 46339 h 194579"/>
                  <a:gd name="connsiteX4" fmla="*/ 0 w 177622"/>
                  <a:gd name="connsiteY4" fmla="*/ 97103 h 194579"/>
                  <a:gd name="connsiteX5" fmla="*/ 10771 w 177622"/>
                  <a:gd name="connsiteY5" fmla="*/ 147708 h 194579"/>
                  <a:gd name="connsiteX6" fmla="*/ 41379 w 177622"/>
                  <a:gd name="connsiteY6" fmla="*/ 182101 h 194579"/>
                  <a:gd name="connsiteX7" fmla="*/ 88731 w 177622"/>
                  <a:gd name="connsiteY7" fmla="*/ 194579 h 194579"/>
                  <a:gd name="connsiteX8" fmla="*/ 136136 w 177622"/>
                  <a:gd name="connsiteY8" fmla="*/ 182208 h 194579"/>
                  <a:gd name="connsiteX9" fmla="*/ 166851 w 177622"/>
                  <a:gd name="connsiteY9" fmla="*/ 147921 h 194579"/>
                  <a:gd name="connsiteX10" fmla="*/ 177622 w 177622"/>
                  <a:gd name="connsiteY10" fmla="*/ 97156 h 194579"/>
                  <a:gd name="connsiteX11" fmla="*/ 166957 w 177622"/>
                  <a:gd name="connsiteY11" fmla="*/ 46818 h 194579"/>
                  <a:gd name="connsiteX12" fmla="*/ 136350 w 177622"/>
                  <a:gd name="connsiteY12" fmla="*/ 12478 h 194579"/>
                  <a:gd name="connsiteX13" fmla="*/ 131337 w 177622"/>
                  <a:gd name="connsiteY13" fmla="*/ 146588 h 194579"/>
                  <a:gd name="connsiteX14" fmla="*/ 88784 w 177622"/>
                  <a:gd name="connsiteY14" fmla="*/ 165678 h 194579"/>
                  <a:gd name="connsiteX15" fmla="*/ 46659 w 177622"/>
                  <a:gd name="connsiteY15" fmla="*/ 146908 h 194579"/>
                  <a:gd name="connsiteX16" fmla="*/ 32314 w 177622"/>
                  <a:gd name="connsiteY16" fmla="*/ 97103 h 194579"/>
                  <a:gd name="connsiteX17" fmla="*/ 38447 w 177622"/>
                  <a:gd name="connsiteY17" fmla="*/ 61643 h 194579"/>
                  <a:gd name="connsiteX18" fmla="*/ 57057 w 177622"/>
                  <a:gd name="connsiteY18" fmla="*/ 37593 h 194579"/>
                  <a:gd name="connsiteX19" fmla="*/ 88784 w 177622"/>
                  <a:gd name="connsiteY19" fmla="*/ 28902 h 194579"/>
                  <a:gd name="connsiteX20" fmla="*/ 131284 w 177622"/>
                  <a:gd name="connsiteY20" fmla="*/ 47512 h 194579"/>
                  <a:gd name="connsiteX21" fmla="*/ 145468 w 177622"/>
                  <a:gd name="connsiteY21" fmla="*/ 97156 h 194579"/>
                  <a:gd name="connsiteX22" fmla="*/ 131337 w 177622"/>
                  <a:gd name="connsiteY22" fmla="*/ 146588 h 194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7622" h="194579">
                    <a:moveTo>
                      <a:pt x="136350" y="12478"/>
                    </a:moveTo>
                    <a:cubicBezTo>
                      <a:pt x="123019" y="4159"/>
                      <a:pt x="107181" y="0"/>
                      <a:pt x="88731" y="0"/>
                    </a:cubicBezTo>
                    <a:cubicBezTo>
                      <a:pt x="70761" y="0"/>
                      <a:pt x="55137" y="4053"/>
                      <a:pt x="41806" y="12211"/>
                    </a:cubicBezTo>
                    <a:cubicBezTo>
                      <a:pt x="28475" y="20370"/>
                      <a:pt x="18184" y="31728"/>
                      <a:pt x="10931" y="46339"/>
                    </a:cubicBezTo>
                    <a:cubicBezTo>
                      <a:pt x="3626" y="60949"/>
                      <a:pt x="0" y="77853"/>
                      <a:pt x="0" y="97103"/>
                    </a:cubicBezTo>
                    <a:cubicBezTo>
                      <a:pt x="0" y="116193"/>
                      <a:pt x="3573" y="133097"/>
                      <a:pt x="10771" y="147708"/>
                    </a:cubicBezTo>
                    <a:cubicBezTo>
                      <a:pt x="17917" y="162318"/>
                      <a:pt x="28155" y="173783"/>
                      <a:pt x="41379" y="182101"/>
                    </a:cubicBezTo>
                    <a:cubicBezTo>
                      <a:pt x="54604" y="190420"/>
                      <a:pt x="70388" y="194579"/>
                      <a:pt x="88731" y="194579"/>
                    </a:cubicBezTo>
                    <a:cubicBezTo>
                      <a:pt x="107021" y="194579"/>
                      <a:pt x="122859" y="190473"/>
                      <a:pt x="136136" y="182208"/>
                    </a:cubicBezTo>
                    <a:cubicBezTo>
                      <a:pt x="149467" y="173943"/>
                      <a:pt x="159705" y="162532"/>
                      <a:pt x="166851" y="147921"/>
                    </a:cubicBezTo>
                    <a:cubicBezTo>
                      <a:pt x="173996" y="133310"/>
                      <a:pt x="177622" y="116406"/>
                      <a:pt x="177622" y="97156"/>
                    </a:cubicBezTo>
                    <a:cubicBezTo>
                      <a:pt x="177622" y="78173"/>
                      <a:pt x="174050" y="61376"/>
                      <a:pt x="166957" y="46818"/>
                    </a:cubicBezTo>
                    <a:cubicBezTo>
                      <a:pt x="159865" y="32208"/>
                      <a:pt x="149681" y="20796"/>
                      <a:pt x="136350" y="12478"/>
                    </a:cubicBezTo>
                    <a:close/>
                    <a:moveTo>
                      <a:pt x="131337" y="146588"/>
                    </a:moveTo>
                    <a:cubicBezTo>
                      <a:pt x="121952" y="159332"/>
                      <a:pt x="107768" y="165678"/>
                      <a:pt x="88784" y="165678"/>
                    </a:cubicBezTo>
                    <a:cubicBezTo>
                      <a:pt x="70228" y="165678"/>
                      <a:pt x="56204" y="159439"/>
                      <a:pt x="46659" y="146908"/>
                    </a:cubicBezTo>
                    <a:cubicBezTo>
                      <a:pt x="37114" y="134377"/>
                      <a:pt x="32314" y="117793"/>
                      <a:pt x="32314" y="97103"/>
                    </a:cubicBezTo>
                    <a:cubicBezTo>
                      <a:pt x="32314" y="83665"/>
                      <a:pt x="34341" y="71881"/>
                      <a:pt x="38447" y="61643"/>
                    </a:cubicBezTo>
                    <a:cubicBezTo>
                      <a:pt x="42553" y="51404"/>
                      <a:pt x="48738" y="43406"/>
                      <a:pt x="57057" y="37593"/>
                    </a:cubicBezTo>
                    <a:cubicBezTo>
                      <a:pt x="65375" y="31781"/>
                      <a:pt x="75933" y="28902"/>
                      <a:pt x="88784" y="28902"/>
                    </a:cubicBezTo>
                    <a:cubicBezTo>
                      <a:pt x="107661" y="28902"/>
                      <a:pt x="121845" y="35087"/>
                      <a:pt x="131284" y="47512"/>
                    </a:cubicBezTo>
                    <a:cubicBezTo>
                      <a:pt x="140722" y="59936"/>
                      <a:pt x="145468" y="76467"/>
                      <a:pt x="145468" y="97156"/>
                    </a:cubicBezTo>
                    <a:cubicBezTo>
                      <a:pt x="145415" y="117366"/>
                      <a:pt x="140722" y="133843"/>
                      <a:pt x="131337" y="146588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" name="Gráfico 8">
                <a:extLst>
                  <a:ext uri="{FF2B5EF4-FFF2-40B4-BE49-F238E27FC236}">
                    <a16:creationId xmlns:a16="http://schemas.microsoft.com/office/drawing/2014/main" id="{C6C937E5-3818-40A7-9A27-F69BCB86ABD4}"/>
                  </a:ext>
                </a:extLst>
              </p:cNvPr>
              <p:cNvSpPr/>
              <p:nvPr/>
            </p:nvSpPr>
            <p:spPr>
              <a:xfrm>
                <a:off x="1585332" y="5523166"/>
                <a:ext cx="162104" cy="189086"/>
              </a:xfrm>
              <a:custGeom>
                <a:avLst/>
                <a:gdLst>
                  <a:gd name="connsiteX0" fmla="*/ 153413 w 162104"/>
                  <a:gd name="connsiteY0" fmla="*/ 41433 h 189086"/>
                  <a:gd name="connsiteX1" fmla="*/ 140295 w 162104"/>
                  <a:gd name="connsiteY1" fmla="*/ 20636 h 189086"/>
                  <a:gd name="connsiteX2" fmla="*/ 119286 w 162104"/>
                  <a:gd name="connsiteY2" fmla="*/ 5652 h 189086"/>
                  <a:gd name="connsiteX3" fmla="*/ 88731 w 162104"/>
                  <a:gd name="connsiteY3" fmla="*/ 0 h 189086"/>
                  <a:gd name="connsiteX4" fmla="*/ 47512 w 162104"/>
                  <a:gd name="connsiteY4" fmla="*/ 10345 h 189086"/>
                  <a:gd name="connsiteX5" fmla="*/ 27302 w 162104"/>
                  <a:gd name="connsiteY5" fmla="*/ 28848 h 189086"/>
                  <a:gd name="connsiteX6" fmla="*/ 27302 w 162104"/>
                  <a:gd name="connsiteY6" fmla="*/ 4799 h 189086"/>
                  <a:gd name="connsiteX7" fmla="*/ 0 w 162104"/>
                  <a:gd name="connsiteY7" fmla="*/ 4799 h 189086"/>
                  <a:gd name="connsiteX8" fmla="*/ 0 w 162104"/>
                  <a:gd name="connsiteY8" fmla="*/ 189034 h 189086"/>
                  <a:gd name="connsiteX9" fmla="*/ 30715 w 162104"/>
                  <a:gd name="connsiteY9" fmla="*/ 189034 h 189086"/>
                  <a:gd name="connsiteX10" fmla="*/ 30715 w 162104"/>
                  <a:gd name="connsiteY10" fmla="*/ 91984 h 189086"/>
                  <a:gd name="connsiteX11" fmla="*/ 34394 w 162104"/>
                  <a:gd name="connsiteY11" fmla="*/ 64095 h 189086"/>
                  <a:gd name="connsiteX12" fmla="*/ 44739 w 162104"/>
                  <a:gd name="connsiteY12" fmla="*/ 44472 h 189086"/>
                  <a:gd name="connsiteX13" fmla="*/ 60683 w 162104"/>
                  <a:gd name="connsiteY13" fmla="*/ 32794 h 189086"/>
                  <a:gd name="connsiteX14" fmla="*/ 81426 w 162104"/>
                  <a:gd name="connsiteY14" fmla="*/ 28848 h 189086"/>
                  <a:gd name="connsiteX15" fmla="*/ 105741 w 162104"/>
                  <a:gd name="connsiteY15" fmla="*/ 34501 h 189086"/>
                  <a:gd name="connsiteX16" fmla="*/ 120992 w 162104"/>
                  <a:gd name="connsiteY16" fmla="*/ 49858 h 189086"/>
                  <a:gd name="connsiteX17" fmla="*/ 128991 w 162104"/>
                  <a:gd name="connsiteY17" fmla="*/ 71721 h 189086"/>
                  <a:gd name="connsiteX18" fmla="*/ 131390 w 162104"/>
                  <a:gd name="connsiteY18" fmla="*/ 96783 h 189086"/>
                  <a:gd name="connsiteX19" fmla="*/ 131390 w 162104"/>
                  <a:gd name="connsiteY19" fmla="*/ 189087 h 189086"/>
                  <a:gd name="connsiteX20" fmla="*/ 162105 w 162104"/>
                  <a:gd name="connsiteY20" fmla="*/ 189087 h 189086"/>
                  <a:gd name="connsiteX21" fmla="*/ 162105 w 162104"/>
                  <a:gd name="connsiteY21" fmla="*/ 87238 h 189086"/>
                  <a:gd name="connsiteX22" fmla="*/ 160132 w 162104"/>
                  <a:gd name="connsiteY22" fmla="*/ 64895 h 189086"/>
                  <a:gd name="connsiteX23" fmla="*/ 153413 w 162104"/>
                  <a:gd name="connsiteY23" fmla="*/ 41433 h 18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2104" h="189086">
                    <a:moveTo>
                      <a:pt x="153413" y="41433"/>
                    </a:moveTo>
                    <a:cubicBezTo>
                      <a:pt x="150214" y="33807"/>
                      <a:pt x="145841" y="26875"/>
                      <a:pt x="140295" y="20636"/>
                    </a:cubicBezTo>
                    <a:cubicBezTo>
                      <a:pt x="134696" y="14397"/>
                      <a:pt x="127711" y="9385"/>
                      <a:pt x="119286" y="5652"/>
                    </a:cubicBezTo>
                    <a:cubicBezTo>
                      <a:pt x="110861" y="1920"/>
                      <a:pt x="100676" y="0"/>
                      <a:pt x="88731" y="0"/>
                    </a:cubicBezTo>
                    <a:cubicBezTo>
                      <a:pt x="72947" y="0"/>
                      <a:pt x="59190" y="3413"/>
                      <a:pt x="47512" y="10345"/>
                    </a:cubicBezTo>
                    <a:cubicBezTo>
                      <a:pt x="39513" y="15091"/>
                      <a:pt x="32848" y="21276"/>
                      <a:pt x="27302" y="28848"/>
                    </a:cubicBezTo>
                    <a:lnTo>
                      <a:pt x="27302" y="4799"/>
                    </a:lnTo>
                    <a:lnTo>
                      <a:pt x="0" y="4799"/>
                    </a:lnTo>
                    <a:lnTo>
                      <a:pt x="0" y="189034"/>
                    </a:lnTo>
                    <a:lnTo>
                      <a:pt x="30715" y="189034"/>
                    </a:lnTo>
                    <a:lnTo>
                      <a:pt x="30715" y="91984"/>
                    </a:lnTo>
                    <a:cubicBezTo>
                      <a:pt x="30715" y="81319"/>
                      <a:pt x="31941" y="71987"/>
                      <a:pt x="34394" y="64095"/>
                    </a:cubicBezTo>
                    <a:cubicBezTo>
                      <a:pt x="36847" y="56203"/>
                      <a:pt x="40260" y="49645"/>
                      <a:pt x="44739" y="44472"/>
                    </a:cubicBezTo>
                    <a:cubicBezTo>
                      <a:pt x="49165" y="39300"/>
                      <a:pt x="54497" y="35407"/>
                      <a:pt x="60683" y="32794"/>
                    </a:cubicBezTo>
                    <a:cubicBezTo>
                      <a:pt x="66868" y="30181"/>
                      <a:pt x="73800" y="28848"/>
                      <a:pt x="81426" y="28848"/>
                    </a:cubicBezTo>
                    <a:cubicBezTo>
                      <a:pt x="91184" y="28848"/>
                      <a:pt x="99289" y="30715"/>
                      <a:pt x="105741" y="34501"/>
                    </a:cubicBezTo>
                    <a:cubicBezTo>
                      <a:pt x="112140" y="38233"/>
                      <a:pt x="117259" y="43352"/>
                      <a:pt x="120992" y="49858"/>
                    </a:cubicBezTo>
                    <a:cubicBezTo>
                      <a:pt x="124725" y="56363"/>
                      <a:pt x="127391" y="63616"/>
                      <a:pt x="128991" y="71721"/>
                    </a:cubicBezTo>
                    <a:cubicBezTo>
                      <a:pt x="130590" y="79773"/>
                      <a:pt x="131390" y="88145"/>
                      <a:pt x="131390" y="96783"/>
                    </a:cubicBezTo>
                    <a:lnTo>
                      <a:pt x="131390" y="189087"/>
                    </a:lnTo>
                    <a:lnTo>
                      <a:pt x="162105" y="189087"/>
                    </a:lnTo>
                    <a:lnTo>
                      <a:pt x="162105" y="87238"/>
                    </a:lnTo>
                    <a:cubicBezTo>
                      <a:pt x="162105" y="80306"/>
                      <a:pt x="161465" y="72841"/>
                      <a:pt x="160132" y="64895"/>
                    </a:cubicBezTo>
                    <a:cubicBezTo>
                      <a:pt x="158852" y="56843"/>
                      <a:pt x="156613" y="49058"/>
                      <a:pt x="153413" y="41433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" name="Gráfico 8">
                <a:extLst>
                  <a:ext uri="{FF2B5EF4-FFF2-40B4-BE49-F238E27FC236}">
                    <a16:creationId xmlns:a16="http://schemas.microsoft.com/office/drawing/2014/main" id="{551773E6-A39F-43CB-8CE2-D5F7DD67A391}"/>
                  </a:ext>
                </a:extLst>
              </p:cNvPr>
              <p:cNvSpPr/>
              <p:nvPr/>
            </p:nvSpPr>
            <p:spPr>
              <a:xfrm>
                <a:off x="1779804" y="5522793"/>
                <a:ext cx="173894" cy="194526"/>
              </a:xfrm>
              <a:custGeom>
                <a:avLst/>
                <a:gdLst>
                  <a:gd name="connsiteX0" fmla="*/ 136083 w 173894"/>
                  <a:gd name="connsiteY0" fmla="*/ 12798 h 194526"/>
                  <a:gd name="connsiteX1" fmla="*/ 88731 w 173894"/>
                  <a:gd name="connsiteY1" fmla="*/ 0 h 194526"/>
                  <a:gd name="connsiteX2" fmla="*/ 42073 w 173894"/>
                  <a:gd name="connsiteY2" fmla="*/ 12051 h 194526"/>
                  <a:gd name="connsiteX3" fmla="*/ 11091 w 173894"/>
                  <a:gd name="connsiteY3" fmla="*/ 46179 h 194526"/>
                  <a:gd name="connsiteX4" fmla="*/ 0 w 173894"/>
                  <a:gd name="connsiteY4" fmla="*/ 98489 h 194526"/>
                  <a:gd name="connsiteX5" fmla="*/ 11251 w 173894"/>
                  <a:gd name="connsiteY5" fmla="*/ 148881 h 194526"/>
                  <a:gd name="connsiteX6" fmla="*/ 42713 w 173894"/>
                  <a:gd name="connsiteY6" fmla="*/ 182475 h 194526"/>
                  <a:gd name="connsiteX7" fmla="*/ 90064 w 173894"/>
                  <a:gd name="connsiteY7" fmla="*/ 194526 h 194526"/>
                  <a:gd name="connsiteX8" fmla="*/ 138429 w 173894"/>
                  <a:gd name="connsiteY8" fmla="*/ 181142 h 194526"/>
                  <a:gd name="connsiteX9" fmla="*/ 170743 w 173894"/>
                  <a:gd name="connsiteY9" fmla="*/ 143335 h 194526"/>
                  <a:gd name="connsiteX10" fmla="*/ 141575 w 173894"/>
                  <a:gd name="connsiteY10" fmla="*/ 133257 h 194526"/>
                  <a:gd name="connsiteX11" fmla="*/ 120406 w 173894"/>
                  <a:gd name="connsiteY11" fmla="*/ 157306 h 194526"/>
                  <a:gd name="connsiteX12" fmla="*/ 88678 w 173894"/>
                  <a:gd name="connsiteY12" fmla="*/ 165678 h 194526"/>
                  <a:gd name="connsiteX13" fmla="*/ 46872 w 173894"/>
                  <a:gd name="connsiteY13" fmla="*/ 147761 h 194526"/>
                  <a:gd name="connsiteX14" fmla="*/ 32474 w 173894"/>
                  <a:gd name="connsiteY14" fmla="*/ 105795 h 194526"/>
                  <a:gd name="connsiteX15" fmla="*/ 143068 w 173894"/>
                  <a:gd name="connsiteY15" fmla="*/ 105795 h 194526"/>
                  <a:gd name="connsiteX16" fmla="*/ 158052 w 173894"/>
                  <a:gd name="connsiteY16" fmla="*/ 105795 h 194526"/>
                  <a:gd name="connsiteX17" fmla="*/ 173730 w 173894"/>
                  <a:gd name="connsiteY17" fmla="*/ 105795 h 194526"/>
                  <a:gd name="connsiteX18" fmla="*/ 165304 w 173894"/>
                  <a:gd name="connsiteY18" fmla="*/ 49325 h 194526"/>
                  <a:gd name="connsiteX19" fmla="*/ 136083 w 173894"/>
                  <a:gd name="connsiteY19" fmla="*/ 12798 h 194526"/>
                  <a:gd name="connsiteX20" fmla="*/ 46978 w 173894"/>
                  <a:gd name="connsiteY20" fmla="*/ 45379 h 194526"/>
                  <a:gd name="connsiteX21" fmla="*/ 89798 w 173894"/>
                  <a:gd name="connsiteY21" fmla="*/ 27302 h 194526"/>
                  <a:gd name="connsiteX22" fmla="*/ 129364 w 173894"/>
                  <a:gd name="connsiteY22" fmla="*/ 44099 h 194526"/>
                  <a:gd name="connsiteX23" fmla="*/ 142375 w 173894"/>
                  <a:gd name="connsiteY23" fmla="*/ 81372 h 194526"/>
                  <a:gd name="connsiteX24" fmla="*/ 33221 w 173894"/>
                  <a:gd name="connsiteY24" fmla="*/ 81372 h 194526"/>
                  <a:gd name="connsiteX25" fmla="*/ 46978 w 173894"/>
                  <a:gd name="connsiteY25" fmla="*/ 45379 h 19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3894" h="194526">
                    <a:moveTo>
                      <a:pt x="136083" y="12798"/>
                    </a:moveTo>
                    <a:cubicBezTo>
                      <a:pt x="123072" y="4266"/>
                      <a:pt x="107288" y="0"/>
                      <a:pt x="88731" y="0"/>
                    </a:cubicBezTo>
                    <a:cubicBezTo>
                      <a:pt x="70868" y="0"/>
                      <a:pt x="55297" y="3999"/>
                      <a:pt x="42073" y="12051"/>
                    </a:cubicBezTo>
                    <a:cubicBezTo>
                      <a:pt x="28848" y="20050"/>
                      <a:pt x="18503" y="31461"/>
                      <a:pt x="11091" y="46179"/>
                    </a:cubicBezTo>
                    <a:cubicBezTo>
                      <a:pt x="3679" y="60896"/>
                      <a:pt x="0" y="78333"/>
                      <a:pt x="0" y="98489"/>
                    </a:cubicBezTo>
                    <a:cubicBezTo>
                      <a:pt x="0" y="117686"/>
                      <a:pt x="3733" y="134537"/>
                      <a:pt x="11251" y="148881"/>
                    </a:cubicBezTo>
                    <a:cubicBezTo>
                      <a:pt x="18770" y="163225"/>
                      <a:pt x="29275" y="174476"/>
                      <a:pt x="42713" y="182475"/>
                    </a:cubicBezTo>
                    <a:cubicBezTo>
                      <a:pt x="56204" y="190473"/>
                      <a:pt x="71987" y="194526"/>
                      <a:pt x="90064" y="194526"/>
                    </a:cubicBezTo>
                    <a:cubicBezTo>
                      <a:pt x="107928" y="194526"/>
                      <a:pt x="124032" y="190047"/>
                      <a:pt x="138429" y="181142"/>
                    </a:cubicBezTo>
                    <a:cubicBezTo>
                      <a:pt x="152827" y="172236"/>
                      <a:pt x="163598" y="159599"/>
                      <a:pt x="170743" y="143335"/>
                    </a:cubicBezTo>
                    <a:lnTo>
                      <a:pt x="141575" y="133257"/>
                    </a:lnTo>
                    <a:cubicBezTo>
                      <a:pt x="136456" y="143708"/>
                      <a:pt x="129417" y="151760"/>
                      <a:pt x="120406" y="157306"/>
                    </a:cubicBezTo>
                    <a:cubicBezTo>
                      <a:pt x="111394" y="162905"/>
                      <a:pt x="100836" y="165678"/>
                      <a:pt x="88678" y="165678"/>
                    </a:cubicBezTo>
                    <a:cubicBezTo>
                      <a:pt x="70601" y="165678"/>
                      <a:pt x="56683" y="159705"/>
                      <a:pt x="46872" y="147761"/>
                    </a:cubicBezTo>
                    <a:cubicBezTo>
                      <a:pt x="38393" y="137416"/>
                      <a:pt x="33647" y="123445"/>
                      <a:pt x="32474" y="105795"/>
                    </a:cubicBezTo>
                    <a:lnTo>
                      <a:pt x="143068" y="105795"/>
                    </a:lnTo>
                    <a:lnTo>
                      <a:pt x="158052" y="105795"/>
                    </a:lnTo>
                    <a:lnTo>
                      <a:pt x="173730" y="105795"/>
                    </a:lnTo>
                    <a:cubicBezTo>
                      <a:pt x="174636" y="83985"/>
                      <a:pt x="171810" y="65109"/>
                      <a:pt x="165304" y="49325"/>
                    </a:cubicBezTo>
                    <a:cubicBezTo>
                      <a:pt x="158906" y="33541"/>
                      <a:pt x="149094" y="21330"/>
                      <a:pt x="136083" y="12798"/>
                    </a:cubicBezTo>
                    <a:close/>
                    <a:moveTo>
                      <a:pt x="46978" y="45379"/>
                    </a:moveTo>
                    <a:cubicBezTo>
                      <a:pt x="56737" y="33328"/>
                      <a:pt x="71028" y="27302"/>
                      <a:pt x="89798" y="27302"/>
                    </a:cubicBezTo>
                    <a:cubicBezTo>
                      <a:pt x="107288" y="27302"/>
                      <a:pt x="120512" y="32901"/>
                      <a:pt x="129364" y="44099"/>
                    </a:cubicBezTo>
                    <a:cubicBezTo>
                      <a:pt x="136350" y="52951"/>
                      <a:pt x="140669" y="65428"/>
                      <a:pt x="142375" y="81372"/>
                    </a:cubicBezTo>
                    <a:lnTo>
                      <a:pt x="33221" y="81372"/>
                    </a:lnTo>
                    <a:cubicBezTo>
                      <a:pt x="35034" y="66442"/>
                      <a:pt x="39620" y="54444"/>
                      <a:pt x="46978" y="45379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" name="Gráfico 8">
                <a:extLst>
                  <a:ext uri="{FF2B5EF4-FFF2-40B4-BE49-F238E27FC236}">
                    <a16:creationId xmlns:a16="http://schemas.microsoft.com/office/drawing/2014/main" id="{B35EA963-3CBE-4554-9D3E-7CFA59C80742}"/>
                  </a:ext>
                </a:extLst>
              </p:cNvPr>
              <p:cNvSpPr/>
              <p:nvPr/>
            </p:nvSpPr>
            <p:spPr>
              <a:xfrm>
                <a:off x="1964252" y="5527965"/>
                <a:ext cx="176075" cy="184234"/>
              </a:xfrm>
              <a:custGeom>
                <a:avLst/>
                <a:gdLst>
                  <a:gd name="connsiteX0" fmla="*/ 36367 w 176075"/>
                  <a:gd name="connsiteY0" fmla="*/ 184234 h 184234"/>
                  <a:gd name="connsiteX1" fmla="*/ 88198 w 176075"/>
                  <a:gd name="connsiteY1" fmla="*/ 114593 h 184234"/>
                  <a:gd name="connsiteX2" fmla="*/ 139709 w 176075"/>
                  <a:gd name="connsiteY2" fmla="*/ 184234 h 184234"/>
                  <a:gd name="connsiteX3" fmla="*/ 176076 w 176075"/>
                  <a:gd name="connsiteY3" fmla="*/ 184234 h 184234"/>
                  <a:gd name="connsiteX4" fmla="*/ 105422 w 176075"/>
                  <a:gd name="connsiteY4" fmla="*/ 91077 h 184234"/>
                  <a:gd name="connsiteX5" fmla="*/ 174369 w 176075"/>
                  <a:gd name="connsiteY5" fmla="*/ 0 h 184234"/>
                  <a:gd name="connsiteX6" fmla="*/ 138216 w 176075"/>
                  <a:gd name="connsiteY6" fmla="*/ 0 h 184234"/>
                  <a:gd name="connsiteX7" fmla="*/ 88198 w 176075"/>
                  <a:gd name="connsiteY7" fmla="*/ 67508 h 184234"/>
                  <a:gd name="connsiteX8" fmla="*/ 37700 w 176075"/>
                  <a:gd name="connsiteY8" fmla="*/ 0 h 184234"/>
                  <a:gd name="connsiteX9" fmla="*/ 1546 w 176075"/>
                  <a:gd name="connsiteY9" fmla="*/ 0 h 184234"/>
                  <a:gd name="connsiteX10" fmla="*/ 70494 w 176075"/>
                  <a:gd name="connsiteY10" fmla="*/ 91077 h 184234"/>
                  <a:gd name="connsiteX11" fmla="*/ 0 w 176075"/>
                  <a:gd name="connsiteY11" fmla="*/ 184234 h 18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6075" h="184234">
                    <a:moveTo>
                      <a:pt x="36367" y="184234"/>
                    </a:moveTo>
                    <a:lnTo>
                      <a:pt x="88198" y="114593"/>
                    </a:lnTo>
                    <a:lnTo>
                      <a:pt x="139709" y="184234"/>
                    </a:lnTo>
                    <a:lnTo>
                      <a:pt x="176076" y="184234"/>
                    </a:lnTo>
                    <a:lnTo>
                      <a:pt x="105422" y="91077"/>
                    </a:lnTo>
                    <a:lnTo>
                      <a:pt x="174369" y="0"/>
                    </a:lnTo>
                    <a:lnTo>
                      <a:pt x="138216" y="0"/>
                    </a:lnTo>
                    <a:lnTo>
                      <a:pt x="88198" y="67508"/>
                    </a:lnTo>
                    <a:lnTo>
                      <a:pt x="37700" y="0"/>
                    </a:lnTo>
                    <a:lnTo>
                      <a:pt x="1546" y="0"/>
                    </a:lnTo>
                    <a:lnTo>
                      <a:pt x="70494" y="91077"/>
                    </a:lnTo>
                    <a:lnTo>
                      <a:pt x="0" y="184234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" name="Gráfico 8">
                <a:extLst>
                  <a:ext uri="{FF2B5EF4-FFF2-40B4-BE49-F238E27FC236}">
                    <a16:creationId xmlns:a16="http://schemas.microsoft.com/office/drawing/2014/main" id="{2AD000EF-465D-4B91-BFE2-DE5F6A0D5671}"/>
                  </a:ext>
                </a:extLst>
              </p:cNvPr>
              <p:cNvSpPr/>
              <p:nvPr/>
            </p:nvSpPr>
            <p:spPr>
              <a:xfrm>
                <a:off x="2184704" y="5455124"/>
                <a:ext cx="109522" cy="44152"/>
              </a:xfrm>
              <a:custGeom>
                <a:avLst/>
                <a:gdLst>
                  <a:gd name="connsiteX0" fmla="*/ 22119 w 109522"/>
                  <a:gd name="connsiteY0" fmla="*/ 40740 h 44152"/>
                  <a:gd name="connsiteX1" fmla="*/ 22119 w 109522"/>
                  <a:gd name="connsiteY1" fmla="*/ 28742 h 44152"/>
                  <a:gd name="connsiteX2" fmla="*/ 30118 w 109522"/>
                  <a:gd name="connsiteY2" fmla="*/ 23356 h 44152"/>
                  <a:gd name="connsiteX3" fmla="*/ 41049 w 109522"/>
                  <a:gd name="connsiteY3" fmla="*/ 26502 h 44152"/>
                  <a:gd name="connsiteX4" fmla="*/ 53313 w 109522"/>
                  <a:gd name="connsiteY4" fmla="*/ 33754 h 44152"/>
                  <a:gd name="connsiteX5" fmla="*/ 66804 w 109522"/>
                  <a:gd name="connsiteY5" fmla="*/ 41006 h 44152"/>
                  <a:gd name="connsiteX6" fmla="*/ 81309 w 109522"/>
                  <a:gd name="connsiteY6" fmla="*/ 44152 h 44152"/>
                  <a:gd name="connsiteX7" fmla="*/ 105198 w 109522"/>
                  <a:gd name="connsiteY7" fmla="*/ 31941 h 44152"/>
                  <a:gd name="connsiteX8" fmla="*/ 107917 w 109522"/>
                  <a:gd name="connsiteY8" fmla="*/ 3040 h 44152"/>
                  <a:gd name="connsiteX9" fmla="*/ 87441 w 109522"/>
                  <a:gd name="connsiteY9" fmla="*/ 3040 h 44152"/>
                  <a:gd name="connsiteX10" fmla="*/ 87441 w 109522"/>
                  <a:gd name="connsiteY10" fmla="*/ 15517 h 44152"/>
                  <a:gd name="connsiteX11" fmla="*/ 79442 w 109522"/>
                  <a:gd name="connsiteY11" fmla="*/ 20796 h 44152"/>
                  <a:gd name="connsiteX12" fmla="*/ 68671 w 109522"/>
                  <a:gd name="connsiteY12" fmla="*/ 17650 h 44152"/>
                  <a:gd name="connsiteX13" fmla="*/ 56300 w 109522"/>
                  <a:gd name="connsiteY13" fmla="*/ 10398 h 44152"/>
                  <a:gd name="connsiteX14" fmla="*/ 42755 w 109522"/>
                  <a:gd name="connsiteY14" fmla="*/ 3146 h 44152"/>
                  <a:gd name="connsiteX15" fmla="*/ 28091 w 109522"/>
                  <a:gd name="connsiteY15" fmla="*/ 0 h 44152"/>
                  <a:gd name="connsiteX16" fmla="*/ 4362 w 109522"/>
                  <a:gd name="connsiteY16" fmla="*/ 11838 h 44152"/>
                  <a:gd name="connsiteX17" fmla="*/ 1643 w 109522"/>
                  <a:gd name="connsiteY17" fmla="*/ 40740 h 44152"/>
                  <a:gd name="connsiteX18" fmla="*/ 22119 w 109522"/>
                  <a:gd name="connsiteY18" fmla="*/ 40740 h 44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522" h="44152">
                    <a:moveTo>
                      <a:pt x="22119" y="40740"/>
                    </a:moveTo>
                    <a:cubicBezTo>
                      <a:pt x="20892" y="36314"/>
                      <a:pt x="20892" y="32314"/>
                      <a:pt x="22119" y="28742"/>
                    </a:cubicBezTo>
                    <a:cubicBezTo>
                      <a:pt x="23345" y="25169"/>
                      <a:pt x="26065" y="23356"/>
                      <a:pt x="30118" y="23356"/>
                    </a:cubicBezTo>
                    <a:cubicBezTo>
                      <a:pt x="33530" y="23356"/>
                      <a:pt x="37156" y="24422"/>
                      <a:pt x="41049" y="26502"/>
                    </a:cubicBezTo>
                    <a:cubicBezTo>
                      <a:pt x="44942" y="28582"/>
                      <a:pt x="48994" y="31035"/>
                      <a:pt x="53313" y="33754"/>
                    </a:cubicBezTo>
                    <a:cubicBezTo>
                      <a:pt x="57633" y="36474"/>
                      <a:pt x="62112" y="38873"/>
                      <a:pt x="66804" y="41006"/>
                    </a:cubicBezTo>
                    <a:cubicBezTo>
                      <a:pt x="71444" y="43139"/>
                      <a:pt x="76296" y="44152"/>
                      <a:pt x="81309" y="44152"/>
                    </a:cubicBezTo>
                    <a:cubicBezTo>
                      <a:pt x="92560" y="44152"/>
                      <a:pt x="100505" y="40100"/>
                      <a:pt x="105198" y="31941"/>
                    </a:cubicBezTo>
                    <a:cubicBezTo>
                      <a:pt x="109837" y="23836"/>
                      <a:pt x="110743" y="14184"/>
                      <a:pt x="107917" y="3040"/>
                    </a:cubicBezTo>
                    <a:lnTo>
                      <a:pt x="87441" y="3040"/>
                    </a:lnTo>
                    <a:cubicBezTo>
                      <a:pt x="88934" y="7839"/>
                      <a:pt x="88934" y="11945"/>
                      <a:pt x="87441" y="15517"/>
                    </a:cubicBezTo>
                    <a:cubicBezTo>
                      <a:pt x="85948" y="19090"/>
                      <a:pt x="83282" y="20796"/>
                      <a:pt x="79442" y="20796"/>
                    </a:cubicBezTo>
                    <a:cubicBezTo>
                      <a:pt x="76136" y="20796"/>
                      <a:pt x="72563" y="19730"/>
                      <a:pt x="68671" y="17650"/>
                    </a:cubicBezTo>
                    <a:cubicBezTo>
                      <a:pt x="64778" y="15571"/>
                      <a:pt x="60672" y="13118"/>
                      <a:pt x="56300" y="10398"/>
                    </a:cubicBezTo>
                    <a:cubicBezTo>
                      <a:pt x="51927" y="7679"/>
                      <a:pt x="47395" y="5279"/>
                      <a:pt x="42755" y="3146"/>
                    </a:cubicBezTo>
                    <a:cubicBezTo>
                      <a:pt x="38116" y="1013"/>
                      <a:pt x="33210" y="0"/>
                      <a:pt x="28091" y="0"/>
                    </a:cubicBezTo>
                    <a:cubicBezTo>
                      <a:pt x="16946" y="0"/>
                      <a:pt x="9055" y="3946"/>
                      <a:pt x="4362" y="11838"/>
                    </a:cubicBezTo>
                    <a:cubicBezTo>
                      <a:pt x="-330" y="19730"/>
                      <a:pt x="-1237" y="29382"/>
                      <a:pt x="1643" y="40740"/>
                    </a:cubicBezTo>
                    <a:lnTo>
                      <a:pt x="22119" y="40740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" name="Gráfico 8">
                <a:extLst>
                  <a:ext uri="{FF2B5EF4-FFF2-40B4-BE49-F238E27FC236}">
                    <a16:creationId xmlns:a16="http://schemas.microsoft.com/office/drawing/2014/main" id="{547BFAFF-DCD8-47DE-B5EE-6AB83AF01650}"/>
                  </a:ext>
                </a:extLst>
              </p:cNvPr>
              <p:cNvSpPr/>
              <p:nvPr/>
            </p:nvSpPr>
            <p:spPr>
              <a:xfrm>
                <a:off x="2150566" y="5522793"/>
                <a:ext cx="177622" cy="194579"/>
              </a:xfrm>
              <a:custGeom>
                <a:avLst/>
                <a:gdLst>
                  <a:gd name="connsiteX0" fmla="*/ 166851 w 177622"/>
                  <a:gd name="connsiteY0" fmla="*/ 147868 h 194579"/>
                  <a:gd name="connsiteX1" fmla="*/ 177622 w 177622"/>
                  <a:gd name="connsiteY1" fmla="*/ 97103 h 194579"/>
                  <a:gd name="connsiteX2" fmla="*/ 166958 w 177622"/>
                  <a:gd name="connsiteY2" fmla="*/ 46765 h 194579"/>
                  <a:gd name="connsiteX3" fmla="*/ 136350 w 177622"/>
                  <a:gd name="connsiteY3" fmla="*/ 12478 h 194579"/>
                  <a:gd name="connsiteX4" fmla="*/ 88731 w 177622"/>
                  <a:gd name="connsiteY4" fmla="*/ 0 h 194579"/>
                  <a:gd name="connsiteX5" fmla="*/ 41806 w 177622"/>
                  <a:gd name="connsiteY5" fmla="*/ 12211 h 194579"/>
                  <a:gd name="connsiteX6" fmla="*/ 10931 w 177622"/>
                  <a:gd name="connsiteY6" fmla="*/ 46339 h 194579"/>
                  <a:gd name="connsiteX7" fmla="*/ 0 w 177622"/>
                  <a:gd name="connsiteY7" fmla="*/ 97103 h 194579"/>
                  <a:gd name="connsiteX8" fmla="*/ 10771 w 177622"/>
                  <a:gd name="connsiteY8" fmla="*/ 147708 h 194579"/>
                  <a:gd name="connsiteX9" fmla="*/ 41379 w 177622"/>
                  <a:gd name="connsiteY9" fmla="*/ 182101 h 194579"/>
                  <a:gd name="connsiteX10" fmla="*/ 88731 w 177622"/>
                  <a:gd name="connsiteY10" fmla="*/ 194579 h 194579"/>
                  <a:gd name="connsiteX11" fmla="*/ 136136 w 177622"/>
                  <a:gd name="connsiteY11" fmla="*/ 182208 h 194579"/>
                  <a:gd name="connsiteX12" fmla="*/ 166851 w 177622"/>
                  <a:gd name="connsiteY12" fmla="*/ 147868 h 194579"/>
                  <a:gd name="connsiteX13" fmla="*/ 131284 w 177622"/>
                  <a:gd name="connsiteY13" fmla="*/ 146588 h 194579"/>
                  <a:gd name="connsiteX14" fmla="*/ 88731 w 177622"/>
                  <a:gd name="connsiteY14" fmla="*/ 165678 h 194579"/>
                  <a:gd name="connsiteX15" fmla="*/ 46605 w 177622"/>
                  <a:gd name="connsiteY15" fmla="*/ 146908 h 194579"/>
                  <a:gd name="connsiteX16" fmla="*/ 32261 w 177622"/>
                  <a:gd name="connsiteY16" fmla="*/ 97103 h 194579"/>
                  <a:gd name="connsiteX17" fmla="*/ 38393 w 177622"/>
                  <a:gd name="connsiteY17" fmla="*/ 61643 h 194579"/>
                  <a:gd name="connsiteX18" fmla="*/ 57003 w 177622"/>
                  <a:gd name="connsiteY18" fmla="*/ 37593 h 194579"/>
                  <a:gd name="connsiteX19" fmla="*/ 88731 w 177622"/>
                  <a:gd name="connsiteY19" fmla="*/ 28902 h 194579"/>
                  <a:gd name="connsiteX20" fmla="*/ 131230 w 177622"/>
                  <a:gd name="connsiteY20" fmla="*/ 47512 h 194579"/>
                  <a:gd name="connsiteX21" fmla="*/ 145415 w 177622"/>
                  <a:gd name="connsiteY21" fmla="*/ 97156 h 194579"/>
                  <a:gd name="connsiteX22" fmla="*/ 131284 w 177622"/>
                  <a:gd name="connsiteY22" fmla="*/ 146588 h 194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7622" h="194579">
                    <a:moveTo>
                      <a:pt x="166851" y="147868"/>
                    </a:moveTo>
                    <a:cubicBezTo>
                      <a:pt x="173996" y="133257"/>
                      <a:pt x="177622" y="116353"/>
                      <a:pt x="177622" y="97103"/>
                    </a:cubicBezTo>
                    <a:cubicBezTo>
                      <a:pt x="177622" y="78120"/>
                      <a:pt x="174050" y="61323"/>
                      <a:pt x="166958" y="46765"/>
                    </a:cubicBezTo>
                    <a:cubicBezTo>
                      <a:pt x="159865" y="32208"/>
                      <a:pt x="149627" y="20796"/>
                      <a:pt x="136350" y="12478"/>
                    </a:cubicBezTo>
                    <a:cubicBezTo>
                      <a:pt x="123072" y="4159"/>
                      <a:pt x="107181" y="0"/>
                      <a:pt x="88731" y="0"/>
                    </a:cubicBezTo>
                    <a:cubicBezTo>
                      <a:pt x="70761" y="0"/>
                      <a:pt x="55137" y="4053"/>
                      <a:pt x="41806" y="12211"/>
                    </a:cubicBezTo>
                    <a:cubicBezTo>
                      <a:pt x="28475" y="20370"/>
                      <a:pt x="18184" y="31728"/>
                      <a:pt x="10931" y="46339"/>
                    </a:cubicBezTo>
                    <a:cubicBezTo>
                      <a:pt x="3626" y="60949"/>
                      <a:pt x="0" y="77853"/>
                      <a:pt x="0" y="97103"/>
                    </a:cubicBezTo>
                    <a:cubicBezTo>
                      <a:pt x="0" y="116193"/>
                      <a:pt x="3573" y="133097"/>
                      <a:pt x="10771" y="147708"/>
                    </a:cubicBezTo>
                    <a:cubicBezTo>
                      <a:pt x="17917" y="162318"/>
                      <a:pt x="28155" y="173783"/>
                      <a:pt x="41379" y="182101"/>
                    </a:cubicBezTo>
                    <a:cubicBezTo>
                      <a:pt x="54604" y="190420"/>
                      <a:pt x="70388" y="194579"/>
                      <a:pt x="88731" y="194579"/>
                    </a:cubicBezTo>
                    <a:cubicBezTo>
                      <a:pt x="107021" y="194579"/>
                      <a:pt x="122859" y="190473"/>
                      <a:pt x="136136" y="182208"/>
                    </a:cubicBezTo>
                    <a:cubicBezTo>
                      <a:pt x="149414" y="173890"/>
                      <a:pt x="159652" y="162478"/>
                      <a:pt x="166851" y="147868"/>
                    </a:cubicBezTo>
                    <a:close/>
                    <a:moveTo>
                      <a:pt x="131284" y="146588"/>
                    </a:moveTo>
                    <a:cubicBezTo>
                      <a:pt x="121899" y="159332"/>
                      <a:pt x="107715" y="165678"/>
                      <a:pt x="88731" y="165678"/>
                    </a:cubicBezTo>
                    <a:cubicBezTo>
                      <a:pt x="70174" y="165678"/>
                      <a:pt x="56150" y="159439"/>
                      <a:pt x="46605" y="146908"/>
                    </a:cubicBezTo>
                    <a:cubicBezTo>
                      <a:pt x="37060" y="134377"/>
                      <a:pt x="32261" y="117793"/>
                      <a:pt x="32261" y="97103"/>
                    </a:cubicBezTo>
                    <a:cubicBezTo>
                      <a:pt x="32261" y="83665"/>
                      <a:pt x="34287" y="71881"/>
                      <a:pt x="38393" y="61643"/>
                    </a:cubicBezTo>
                    <a:cubicBezTo>
                      <a:pt x="42499" y="51404"/>
                      <a:pt x="48685" y="43406"/>
                      <a:pt x="57003" y="37593"/>
                    </a:cubicBezTo>
                    <a:cubicBezTo>
                      <a:pt x="65322" y="31781"/>
                      <a:pt x="75880" y="28902"/>
                      <a:pt x="88731" y="28902"/>
                    </a:cubicBezTo>
                    <a:cubicBezTo>
                      <a:pt x="107608" y="28902"/>
                      <a:pt x="121792" y="35087"/>
                      <a:pt x="131230" y="47512"/>
                    </a:cubicBezTo>
                    <a:cubicBezTo>
                      <a:pt x="140669" y="59936"/>
                      <a:pt x="145415" y="76467"/>
                      <a:pt x="145415" y="97156"/>
                    </a:cubicBezTo>
                    <a:cubicBezTo>
                      <a:pt x="145308" y="117366"/>
                      <a:pt x="140615" y="133843"/>
                      <a:pt x="131284" y="146588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" name="Gráfico 8">
                <a:extLst>
                  <a:ext uri="{FF2B5EF4-FFF2-40B4-BE49-F238E27FC236}">
                    <a16:creationId xmlns:a16="http://schemas.microsoft.com/office/drawing/2014/main" id="{2130B2DC-6145-44D7-9E79-AF10AAAB99EA}"/>
                  </a:ext>
                </a:extLst>
              </p:cNvPr>
              <p:cNvSpPr/>
              <p:nvPr/>
            </p:nvSpPr>
            <p:spPr>
              <a:xfrm>
                <a:off x="2355330" y="5522793"/>
                <a:ext cx="174001" cy="194526"/>
              </a:xfrm>
              <a:custGeom>
                <a:avLst/>
                <a:gdLst>
                  <a:gd name="connsiteX0" fmla="*/ 42819 w 174001"/>
                  <a:gd name="connsiteY0" fmla="*/ 182475 h 194526"/>
                  <a:gd name="connsiteX1" fmla="*/ 90171 w 174001"/>
                  <a:gd name="connsiteY1" fmla="*/ 194526 h 194526"/>
                  <a:gd name="connsiteX2" fmla="*/ 138536 w 174001"/>
                  <a:gd name="connsiteY2" fmla="*/ 181142 h 194526"/>
                  <a:gd name="connsiteX3" fmla="*/ 170850 w 174001"/>
                  <a:gd name="connsiteY3" fmla="*/ 143335 h 194526"/>
                  <a:gd name="connsiteX4" fmla="*/ 141682 w 174001"/>
                  <a:gd name="connsiteY4" fmla="*/ 133257 h 194526"/>
                  <a:gd name="connsiteX5" fmla="*/ 120512 w 174001"/>
                  <a:gd name="connsiteY5" fmla="*/ 157306 h 194526"/>
                  <a:gd name="connsiteX6" fmla="*/ 88785 w 174001"/>
                  <a:gd name="connsiteY6" fmla="*/ 165678 h 194526"/>
                  <a:gd name="connsiteX7" fmla="*/ 46978 w 174001"/>
                  <a:gd name="connsiteY7" fmla="*/ 147761 h 194526"/>
                  <a:gd name="connsiteX8" fmla="*/ 32581 w 174001"/>
                  <a:gd name="connsiteY8" fmla="*/ 105795 h 194526"/>
                  <a:gd name="connsiteX9" fmla="*/ 143175 w 174001"/>
                  <a:gd name="connsiteY9" fmla="*/ 105795 h 194526"/>
                  <a:gd name="connsiteX10" fmla="*/ 158159 w 174001"/>
                  <a:gd name="connsiteY10" fmla="*/ 105795 h 194526"/>
                  <a:gd name="connsiteX11" fmla="*/ 173836 w 174001"/>
                  <a:gd name="connsiteY11" fmla="*/ 105795 h 194526"/>
                  <a:gd name="connsiteX12" fmla="*/ 165411 w 174001"/>
                  <a:gd name="connsiteY12" fmla="*/ 49325 h 194526"/>
                  <a:gd name="connsiteX13" fmla="*/ 136083 w 174001"/>
                  <a:gd name="connsiteY13" fmla="*/ 12798 h 194526"/>
                  <a:gd name="connsiteX14" fmla="*/ 88731 w 174001"/>
                  <a:gd name="connsiteY14" fmla="*/ 0 h 194526"/>
                  <a:gd name="connsiteX15" fmla="*/ 42073 w 174001"/>
                  <a:gd name="connsiteY15" fmla="*/ 12051 h 194526"/>
                  <a:gd name="connsiteX16" fmla="*/ 11091 w 174001"/>
                  <a:gd name="connsiteY16" fmla="*/ 46179 h 194526"/>
                  <a:gd name="connsiteX17" fmla="*/ 0 w 174001"/>
                  <a:gd name="connsiteY17" fmla="*/ 98489 h 194526"/>
                  <a:gd name="connsiteX18" fmla="*/ 11251 w 174001"/>
                  <a:gd name="connsiteY18" fmla="*/ 148881 h 194526"/>
                  <a:gd name="connsiteX19" fmla="*/ 42819 w 174001"/>
                  <a:gd name="connsiteY19" fmla="*/ 182475 h 194526"/>
                  <a:gd name="connsiteX20" fmla="*/ 47032 w 174001"/>
                  <a:gd name="connsiteY20" fmla="*/ 45379 h 194526"/>
                  <a:gd name="connsiteX21" fmla="*/ 89851 w 174001"/>
                  <a:gd name="connsiteY21" fmla="*/ 27302 h 194526"/>
                  <a:gd name="connsiteX22" fmla="*/ 129417 w 174001"/>
                  <a:gd name="connsiteY22" fmla="*/ 44099 h 194526"/>
                  <a:gd name="connsiteX23" fmla="*/ 142429 w 174001"/>
                  <a:gd name="connsiteY23" fmla="*/ 81372 h 194526"/>
                  <a:gd name="connsiteX24" fmla="*/ 33274 w 174001"/>
                  <a:gd name="connsiteY24" fmla="*/ 81372 h 194526"/>
                  <a:gd name="connsiteX25" fmla="*/ 47032 w 174001"/>
                  <a:gd name="connsiteY25" fmla="*/ 45379 h 19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4001" h="194526">
                    <a:moveTo>
                      <a:pt x="42819" y="182475"/>
                    </a:moveTo>
                    <a:cubicBezTo>
                      <a:pt x="56310" y="190473"/>
                      <a:pt x="72094" y="194526"/>
                      <a:pt x="90171" y="194526"/>
                    </a:cubicBezTo>
                    <a:cubicBezTo>
                      <a:pt x="108034" y="194526"/>
                      <a:pt x="124138" y="190047"/>
                      <a:pt x="138536" y="181142"/>
                    </a:cubicBezTo>
                    <a:cubicBezTo>
                      <a:pt x="152933" y="172236"/>
                      <a:pt x="163705" y="159599"/>
                      <a:pt x="170850" y="143335"/>
                    </a:cubicBezTo>
                    <a:lnTo>
                      <a:pt x="141682" y="133257"/>
                    </a:lnTo>
                    <a:cubicBezTo>
                      <a:pt x="136563" y="143708"/>
                      <a:pt x="129524" y="151760"/>
                      <a:pt x="120512" y="157306"/>
                    </a:cubicBezTo>
                    <a:cubicBezTo>
                      <a:pt x="111501" y="162905"/>
                      <a:pt x="100942" y="165678"/>
                      <a:pt x="88785" y="165678"/>
                    </a:cubicBezTo>
                    <a:cubicBezTo>
                      <a:pt x="70708" y="165678"/>
                      <a:pt x="56790" y="159705"/>
                      <a:pt x="46978" y="147761"/>
                    </a:cubicBezTo>
                    <a:cubicBezTo>
                      <a:pt x="38500" y="137416"/>
                      <a:pt x="33754" y="123445"/>
                      <a:pt x="32581" y="105795"/>
                    </a:cubicBezTo>
                    <a:lnTo>
                      <a:pt x="143175" y="105795"/>
                    </a:lnTo>
                    <a:lnTo>
                      <a:pt x="158159" y="105795"/>
                    </a:lnTo>
                    <a:lnTo>
                      <a:pt x="173836" y="105795"/>
                    </a:lnTo>
                    <a:cubicBezTo>
                      <a:pt x="174743" y="83985"/>
                      <a:pt x="171917" y="65109"/>
                      <a:pt x="165411" y="49325"/>
                    </a:cubicBezTo>
                    <a:cubicBezTo>
                      <a:pt x="158852" y="33541"/>
                      <a:pt x="149094" y="21330"/>
                      <a:pt x="136083" y="12798"/>
                    </a:cubicBezTo>
                    <a:cubicBezTo>
                      <a:pt x="123072" y="4266"/>
                      <a:pt x="107288" y="0"/>
                      <a:pt x="88731" y="0"/>
                    </a:cubicBezTo>
                    <a:cubicBezTo>
                      <a:pt x="70868" y="0"/>
                      <a:pt x="55297" y="3999"/>
                      <a:pt x="42073" y="12051"/>
                    </a:cubicBezTo>
                    <a:cubicBezTo>
                      <a:pt x="28848" y="20050"/>
                      <a:pt x="18503" y="31461"/>
                      <a:pt x="11091" y="46179"/>
                    </a:cubicBezTo>
                    <a:cubicBezTo>
                      <a:pt x="3679" y="60896"/>
                      <a:pt x="0" y="78333"/>
                      <a:pt x="0" y="98489"/>
                    </a:cubicBezTo>
                    <a:cubicBezTo>
                      <a:pt x="0" y="117686"/>
                      <a:pt x="3733" y="134537"/>
                      <a:pt x="11251" y="148881"/>
                    </a:cubicBezTo>
                    <a:cubicBezTo>
                      <a:pt x="18770" y="163225"/>
                      <a:pt x="29382" y="174476"/>
                      <a:pt x="42819" y="182475"/>
                    </a:cubicBezTo>
                    <a:close/>
                    <a:moveTo>
                      <a:pt x="47032" y="45379"/>
                    </a:moveTo>
                    <a:cubicBezTo>
                      <a:pt x="56790" y="33328"/>
                      <a:pt x="71081" y="27302"/>
                      <a:pt x="89851" y="27302"/>
                    </a:cubicBezTo>
                    <a:cubicBezTo>
                      <a:pt x="107341" y="27302"/>
                      <a:pt x="120566" y="32901"/>
                      <a:pt x="129417" y="44099"/>
                    </a:cubicBezTo>
                    <a:cubicBezTo>
                      <a:pt x="136403" y="52951"/>
                      <a:pt x="140722" y="65428"/>
                      <a:pt x="142429" y="81372"/>
                    </a:cubicBezTo>
                    <a:lnTo>
                      <a:pt x="33274" y="81372"/>
                    </a:lnTo>
                    <a:cubicBezTo>
                      <a:pt x="35087" y="66442"/>
                      <a:pt x="39673" y="54444"/>
                      <a:pt x="47032" y="45379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" name="Gráfico 8">
                <a:extLst>
                  <a:ext uri="{FF2B5EF4-FFF2-40B4-BE49-F238E27FC236}">
                    <a16:creationId xmlns:a16="http://schemas.microsoft.com/office/drawing/2014/main" id="{8335EC72-3FA4-4397-AF8E-703222D67F82}"/>
                  </a:ext>
                </a:extLst>
              </p:cNvPr>
              <p:cNvSpPr/>
              <p:nvPr/>
            </p:nvSpPr>
            <p:spPr>
              <a:xfrm>
                <a:off x="2556948" y="5522739"/>
                <a:ext cx="153466" cy="194260"/>
              </a:xfrm>
              <a:custGeom>
                <a:avLst/>
                <a:gdLst>
                  <a:gd name="connsiteX0" fmla="*/ 133843 w 153466"/>
                  <a:gd name="connsiteY0" fmla="*/ 179115 h 194260"/>
                  <a:gd name="connsiteX1" fmla="*/ 153467 w 153466"/>
                  <a:gd name="connsiteY1" fmla="*/ 137256 h 194260"/>
                  <a:gd name="connsiteX2" fmla="*/ 147494 w 153466"/>
                  <a:gd name="connsiteY2" fmla="*/ 113100 h 194260"/>
                  <a:gd name="connsiteX3" fmla="*/ 127445 w 153466"/>
                  <a:gd name="connsiteY3" fmla="*/ 96037 h 194260"/>
                  <a:gd name="connsiteX4" fmla="*/ 88998 w 153466"/>
                  <a:gd name="connsiteY4" fmla="*/ 82652 h 194260"/>
                  <a:gd name="connsiteX5" fmla="*/ 55990 w 153466"/>
                  <a:gd name="connsiteY5" fmla="*/ 72947 h 194260"/>
                  <a:gd name="connsiteX6" fmla="*/ 40473 w 153466"/>
                  <a:gd name="connsiteY6" fmla="*/ 63989 h 194260"/>
                  <a:gd name="connsiteX7" fmla="*/ 36314 w 153466"/>
                  <a:gd name="connsiteY7" fmla="*/ 52471 h 194260"/>
                  <a:gd name="connsiteX8" fmla="*/ 47512 w 153466"/>
                  <a:gd name="connsiteY8" fmla="*/ 33701 h 194260"/>
                  <a:gd name="connsiteX9" fmla="*/ 76573 w 153466"/>
                  <a:gd name="connsiteY9" fmla="*/ 27195 h 194260"/>
                  <a:gd name="connsiteX10" fmla="*/ 107448 w 153466"/>
                  <a:gd name="connsiteY10" fmla="*/ 36314 h 194260"/>
                  <a:gd name="connsiteX11" fmla="*/ 121792 w 153466"/>
                  <a:gd name="connsiteY11" fmla="*/ 59616 h 194260"/>
                  <a:gd name="connsiteX12" fmla="*/ 152827 w 153466"/>
                  <a:gd name="connsiteY12" fmla="*/ 53964 h 194260"/>
                  <a:gd name="connsiteX13" fmla="*/ 140776 w 153466"/>
                  <a:gd name="connsiteY13" fmla="*/ 25542 h 194260"/>
                  <a:gd name="connsiteX14" fmla="*/ 114060 w 153466"/>
                  <a:gd name="connsiteY14" fmla="*/ 6666 h 194260"/>
                  <a:gd name="connsiteX15" fmla="*/ 76520 w 153466"/>
                  <a:gd name="connsiteY15" fmla="*/ 0 h 194260"/>
                  <a:gd name="connsiteX16" fmla="*/ 39407 w 153466"/>
                  <a:gd name="connsiteY16" fmla="*/ 6719 h 194260"/>
                  <a:gd name="connsiteX17" fmla="*/ 14611 w 153466"/>
                  <a:gd name="connsiteY17" fmla="*/ 25596 h 194260"/>
                  <a:gd name="connsiteX18" fmla="*/ 5759 w 153466"/>
                  <a:gd name="connsiteY18" fmla="*/ 53911 h 194260"/>
                  <a:gd name="connsiteX19" fmla="*/ 11731 w 153466"/>
                  <a:gd name="connsiteY19" fmla="*/ 76413 h 194260"/>
                  <a:gd name="connsiteX20" fmla="*/ 31674 w 153466"/>
                  <a:gd name="connsiteY20" fmla="*/ 92517 h 194260"/>
                  <a:gd name="connsiteX21" fmla="*/ 70068 w 153466"/>
                  <a:gd name="connsiteY21" fmla="*/ 105902 h 194260"/>
                  <a:gd name="connsiteX22" fmla="*/ 103769 w 153466"/>
                  <a:gd name="connsiteY22" fmla="*/ 116300 h 194260"/>
                  <a:gd name="connsiteX23" fmla="*/ 118539 w 153466"/>
                  <a:gd name="connsiteY23" fmla="*/ 125418 h 194260"/>
                  <a:gd name="connsiteX24" fmla="*/ 122112 w 153466"/>
                  <a:gd name="connsiteY24" fmla="*/ 137949 h 194260"/>
                  <a:gd name="connsiteX25" fmla="*/ 111287 w 153466"/>
                  <a:gd name="connsiteY25" fmla="*/ 159279 h 194260"/>
                  <a:gd name="connsiteX26" fmla="*/ 81692 w 153466"/>
                  <a:gd name="connsiteY26" fmla="*/ 167117 h 194260"/>
                  <a:gd name="connsiteX27" fmla="*/ 48258 w 153466"/>
                  <a:gd name="connsiteY27" fmla="*/ 158319 h 194260"/>
                  <a:gd name="connsiteX28" fmla="*/ 31035 w 153466"/>
                  <a:gd name="connsiteY28" fmla="*/ 134537 h 194260"/>
                  <a:gd name="connsiteX29" fmla="*/ 0 w 153466"/>
                  <a:gd name="connsiteY29" fmla="*/ 139496 h 194260"/>
                  <a:gd name="connsiteX30" fmla="*/ 25862 w 153466"/>
                  <a:gd name="connsiteY30" fmla="*/ 179862 h 194260"/>
                  <a:gd name="connsiteX31" fmla="*/ 79879 w 153466"/>
                  <a:gd name="connsiteY31" fmla="*/ 194259 h 194260"/>
                  <a:gd name="connsiteX32" fmla="*/ 133843 w 153466"/>
                  <a:gd name="connsiteY32" fmla="*/ 179115 h 194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53466" h="194260">
                    <a:moveTo>
                      <a:pt x="133843" y="179115"/>
                    </a:moveTo>
                    <a:cubicBezTo>
                      <a:pt x="146908" y="168930"/>
                      <a:pt x="153467" y="154960"/>
                      <a:pt x="153467" y="137256"/>
                    </a:cubicBezTo>
                    <a:cubicBezTo>
                      <a:pt x="153467" y="127711"/>
                      <a:pt x="151494" y="119659"/>
                      <a:pt x="147494" y="113100"/>
                    </a:cubicBezTo>
                    <a:cubicBezTo>
                      <a:pt x="143495" y="106541"/>
                      <a:pt x="136829" y="100889"/>
                      <a:pt x="127445" y="96037"/>
                    </a:cubicBezTo>
                    <a:cubicBezTo>
                      <a:pt x="118059" y="91184"/>
                      <a:pt x="105262" y="86758"/>
                      <a:pt x="88998" y="82652"/>
                    </a:cubicBezTo>
                    <a:cubicBezTo>
                      <a:pt x="74547" y="79026"/>
                      <a:pt x="63562" y="75774"/>
                      <a:pt x="55990" y="72947"/>
                    </a:cubicBezTo>
                    <a:cubicBezTo>
                      <a:pt x="48418" y="70121"/>
                      <a:pt x="43246" y="67135"/>
                      <a:pt x="40473" y="63989"/>
                    </a:cubicBezTo>
                    <a:cubicBezTo>
                      <a:pt x="37700" y="60843"/>
                      <a:pt x="36314" y="57003"/>
                      <a:pt x="36314" y="52471"/>
                    </a:cubicBezTo>
                    <a:cubicBezTo>
                      <a:pt x="36314" y="44632"/>
                      <a:pt x="40046" y="38393"/>
                      <a:pt x="47512" y="33701"/>
                    </a:cubicBezTo>
                    <a:cubicBezTo>
                      <a:pt x="54977" y="29008"/>
                      <a:pt x="64682" y="26875"/>
                      <a:pt x="76573" y="27195"/>
                    </a:cubicBezTo>
                    <a:cubicBezTo>
                      <a:pt x="89105" y="27515"/>
                      <a:pt x="99396" y="30555"/>
                      <a:pt x="107448" y="36314"/>
                    </a:cubicBezTo>
                    <a:cubicBezTo>
                      <a:pt x="115500" y="42073"/>
                      <a:pt x="120299" y="49805"/>
                      <a:pt x="121792" y="59616"/>
                    </a:cubicBezTo>
                    <a:lnTo>
                      <a:pt x="152827" y="53964"/>
                    </a:lnTo>
                    <a:cubicBezTo>
                      <a:pt x="151600" y="43139"/>
                      <a:pt x="147548" y="33701"/>
                      <a:pt x="140776" y="25542"/>
                    </a:cubicBezTo>
                    <a:cubicBezTo>
                      <a:pt x="134003" y="17384"/>
                      <a:pt x="125098" y="11145"/>
                      <a:pt x="114060" y="6666"/>
                    </a:cubicBezTo>
                    <a:cubicBezTo>
                      <a:pt x="103022" y="2240"/>
                      <a:pt x="90491" y="0"/>
                      <a:pt x="76520" y="0"/>
                    </a:cubicBezTo>
                    <a:cubicBezTo>
                      <a:pt x="62443" y="0"/>
                      <a:pt x="50071" y="2240"/>
                      <a:pt x="39407" y="6719"/>
                    </a:cubicBezTo>
                    <a:cubicBezTo>
                      <a:pt x="28795" y="11198"/>
                      <a:pt x="20477" y="17490"/>
                      <a:pt x="14611" y="25596"/>
                    </a:cubicBezTo>
                    <a:cubicBezTo>
                      <a:pt x="8692" y="33647"/>
                      <a:pt x="5759" y="43086"/>
                      <a:pt x="5759" y="53911"/>
                    </a:cubicBezTo>
                    <a:cubicBezTo>
                      <a:pt x="5759" y="62762"/>
                      <a:pt x="7732" y="70281"/>
                      <a:pt x="11731" y="76413"/>
                    </a:cubicBezTo>
                    <a:cubicBezTo>
                      <a:pt x="15731" y="82546"/>
                      <a:pt x="22343" y="87931"/>
                      <a:pt x="31674" y="92517"/>
                    </a:cubicBezTo>
                    <a:cubicBezTo>
                      <a:pt x="41006" y="97103"/>
                      <a:pt x="53804" y="101582"/>
                      <a:pt x="70068" y="105902"/>
                    </a:cubicBezTo>
                    <a:cubicBezTo>
                      <a:pt x="85052" y="110007"/>
                      <a:pt x="96303" y="113473"/>
                      <a:pt x="103769" y="116300"/>
                    </a:cubicBezTo>
                    <a:cubicBezTo>
                      <a:pt x="111234" y="119126"/>
                      <a:pt x="116140" y="122165"/>
                      <a:pt x="118539" y="125418"/>
                    </a:cubicBezTo>
                    <a:cubicBezTo>
                      <a:pt x="120939" y="128671"/>
                      <a:pt x="122112" y="132830"/>
                      <a:pt x="122112" y="137949"/>
                    </a:cubicBezTo>
                    <a:cubicBezTo>
                      <a:pt x="122112" y="146961"/>
                      <a:pt x="118486" y="154053"/>
                      <a:pt x="111287" y="159279"/>
                    </a:cubicBezTo>
                    <a:cubicBezTo>
                      <a:pt x="104089" y="164505"/>
                      <a:pt x="94224" y="167117"/>
                      <a:pt x="81692" y="167117"/>
                    </a:cubicBezTo>
                    <a:cubicBezTo>
                      <a:pt x="68361" y="167117"/>
                      <a:pt x="57217" y="164185"/>
                      <a:pt x="48258" y="158319"/>
                    </a:cubicBezTo>
                    <a:cubicBezTo>
                      <a:pt x="39247" y="152453"/>
                      <a:pt x="33541" y="144508"/>
                      <a:pt x="31035" y="134537"/>
                    </a:cubicBezTo>
                    <a:lnTo>
                      <a:pt x="0" y="139496"/>
                    </a:lnTo>
                    <a:cubicBezTo>
                      <a:pt x="3199" y="156773"/>
                      <a:pt x="11785" y="170210"/>
                      <a:pt x="25862" y="179862"/>
                    </a:cubicBezTo>
                    <a:cubicBezTo>
                      <a:pt x="39886" y="189460"/>
                      <a:pt x="57910" y="194259"/>
                      <a:pt x="79879" y="194259"/>
                    </a:cubicBezTo>
                    <a:cubicBezTo>
                      <a:pt x="102755" y="194366"/>
                      <a:pt x="120779" y="189300"/>
                      <a:pt x="133843" y="179115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" name="Gráfico 8">
                <a:extLst>
                  <a:ext uri="{FF2B5EF4-FFF2-40B4-BE49-F238E27FC236}">
                    <a16:creationId xmlns:a16="http://schemas.microsoft.com/office/drawing/2014/main" id="{7DBA1A82-25DA-46A3-A116-99B702904D3E}"/>
                  </a:ext>
                </a:extLst>
              </p:cNvPr>
              <p:cNvSpPr/>
              <p:nvPr/>
            </p:nvSpPr>
            <p:spPr>
              <a:xfrm>
                <a:off x="2806185" y="5522846"/>
                <a:ext cx="167383" cy="271205"/>
              </a:xfrm>
              <a:custGeom>
                <a:avLst/>
                <a:gdLst>
                  <a:gd name="connsiteX0" fmla="*/ 140189 w 167383"/>
                  <a:gd name="connsiteY0" fmla="*/ 25915 h 271205"/>
                  <a:gd name="connsiteX1" fmla="*/ 126218 w 167383"/>
                  <a:gd name="connsiteY1" fmla="*/ 12691 h 271205"/>
                  <a:gd name="connsiteX2" fmla="*/ 82385 w 167383"/>
                  <a:gd name="connsiteY2" fmla="*/ 0 h 271205"/>
                  <a:gd name="connsiteX3" fmla="*/ 38393 w 167383"/>
                  <a:gd name="connsiteY3" fmla="*/ 12691 h 271205"/>
                  <a:gd name="connsiteX4" fmla="*/ 9972 w 167383"/>
                  <a:gd name="connsiteY4" fmla="*/ 47405 h 271205"/>
                  <a:gd name="connsiteX5" fmla="*/ 0 w 167383"/>
                  <a:gd name="connsiteY5" fmla="*/ 97050 h 271205"/>
                  <a:gd name="connsiteX6" fmla="*/ 9972 w 167383"/>
                  <a:gd name="connsiteY6" fmla="*/ 146801 h 271205"/>
                  <a:gd name="connsiteX7" fmla="*/ 38393 w 167383"/>
                  <a:gd name="connsiteY7" fmla="*/ 181675 h 271205"/>
                  <a:gd name="connsiteX8" fmla="*/ 82599 w 167383"/>
                  <a:gd name="connsiteY8" fmla="*/ 194473 h 271205"/>
                  <a:gd name="connsiteX9" fmla="*/ 126271 w 167383"/>
                  <a:gd name="connsiteY9" fmla="*/ 181568 h 271205"/>
                  <a:gd name="connsiteX10" fmla="*/ 136829 w 167383"/>
                  <a:gd name="connsiteY10" fmla="*/ 172023 h 271205"/>
                  <a:gd name="connsiteX11" fmla="*/ 136829 w 167383"/>
                  <a:gd name="connsiteY11" fmla="*/ 271206 h 271205"/>
                  <a:gd name="connsiteX12" fmla="*/ 167384 w 167383"/>
                  <a:gd name="connsiteY12" fmla="*/ 271206 h 271205"/>
                  <a:gd name="connsiteX13" fmla="*/ 167384 w 167383"/>
                  <a:gd name="connsiteY13" fmla="*/ 5066 h 271205"/>
                  <a:gd name="connsiteX14" fmla="*/ 140242 w 167383"/>
                  <a:gd name="connsiteY14" fmla="*/ 5066 h 271205"/>
                  <a:gd name="connsiteX15" fmla="*/ 140242 w 167383"/>
                  <a:gd name="connsiteY15" fmla="*/ 25915 h 271205"/>
                  <a:gd name="connsiteX16" fmla="*/ 134430 w 167383"/>
                  <a:gd name="connsiteY16" fmla="*/ 132937 h 271205"/>
                  <a:gd name="connsiteX17" fmla="*/ 116780 w 167383"/>
                  <a:gd name="connsiteY17" fmla="*/ 157679 h 271205"/>
                  <a:gd name="connsiteX18" fmla="*/ 86225 w 167383"/>
                  <a:gd name="connsiteY18" fmla="*/ 166638 h 271205"/>
                  <a:gd name="connsiteX19" fmla="*/ 56097 w 167383"/>
                  <a:gd name="connsiteY19" fmla="*/ 157412 h 271205"/>
                  <a:gd name="connsiteX20" fmla="*/ 38073 w 167383"/>
                  <a:gd name="connsiteY20" fmla="*/ 132403 h 271205"/>
                  <a:gd name="connsiteX21" fmla="*/ 32101 w 167383"/>
                  <a:gd name="connsiteY21" fmla="*/ 96996 h 271205"/>
                  <a:gd name="connsiteX22" fmla="*/ 37967 w 167383"/>
                  <a:gd name="connsiteY22" fmla="*/ 61856 h 271205"/>
                  <a:gd name="connsiteX23" fmla="*/ 56043 w 167383"/>
                  <a:gd name="connsiteY23" fmla="*/ 36953 h 271205"/>
                  <a:gd name="connsiteX24" fmla="*/ 87025 w 167383"/>
                  <a:gd name="connsiteY24" fmla="*/ 27728 h 271205"/>
                  <a:gd name="connsiteX25" fmla="*/ 116780 w 167383"/>
                  <a:gd name="connsiteY25" fmla="*/ 36527 h 271205"/>
                  <a:gd name="connsiteX26" fmla="*/ 134270 w 167383"/>
                  <a:gd name="connsiteY26" fmla="*/ 61003 h 271205"/>
                  <a:gd name="connsiteX27" fmla="*/ 140082 w 167383"/>
                  <a:gd name="connsiteY27" fmla="*/ 96996 h 271205"/>
                  <a:gd name="connsiteX28" fmla="*/ 134430 w 167383"/>
                  <a:gd name="connsiteY28" fmla="*/ 132937 h 27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67383" h="271205">
                    <a:moveTo>
                      <a:pt x="140189" y="25915"/>
                    </a:moveTo>
                    <a:cubicBezTo>
                      <a:pt x="136083" y="20903"/>
                      <a:pt x="131444" y="16477"/>
                      <a:pt x="126218" y="12691"/>
                    </a:cubicBezTo>
                    <a:cubicBezTo>
                      <a:pt x="114380" y="4212"/>
                      <a:pt x="99769" y="0"/>
                      <a:pt x="82385" y="0"/>
                    </a:cubicBezTo>
                    <a:cubicBezTo>
                      <a:pt x="65322" y="0"/>
                      <a:pt x="50658" y="4212"/>
                      <a:pt x="38393" y="12691"/>
                    </a:cubicBezTo>
                    <a:cubicBezTo>
                      <a:pt x="26129" y="21170"/>
                      <a:pt x="16637" y="32741"/>
                      <a:pt x="9972" y="47405"/>
                    </a:cubicBezTo>
                    <a:cubicBezTo>
                      <a:pt x="3306" y="62069"/>
                      <a:pt x="0" y="78600"/>
                      <a:pt x="0" y="97050"/>
                    </a:cubicBezTo>
                    <a:cubicBezTo>
                      <a:pt x="0" y="115500"/>
                      <a:pt x="3306" y="132030"/>
                      <a:pt x="9972" y="146801"/>
                    </a:cubicBezTo>
                    <a:cubicBezTo>
                      <a:pt x="16637" y="161518"/>
                      <a:pt x="26075" y="173143"/>
                      <a:pt x="38393" y="181675"/>
                    </a:cubicBezTo>
                    <a:cubicBezTo>
                      <a:pt x="50658" y="190207"/>
                      <a:pt x="65375" y="194473"/>
                      <a:pt x="82599" y="194473"/>
                    </a:cubicBezTo>
                    <a:cubicBezTo>
                      <a:pt x="99876" y="194473"/>
                      <a:pt x="114433" y="190153"/>
                      <a:pt x="126271" y="181568"/>
                    </a:cubicBezTo>
                    <a:cubicBezTo>
                      <a:pt x="130164" y="178742"/>
                      <a:pt x="133577" y="175489"/>
                      <a:pt x="136829" y="172023"/>
                    </a:cubicBezTo>
                    <a:lnTo>
                      <a:pt x="136829" y="271206"/>
                    </a:lnTo>
                    <a:lnTo>
                      <a:pt x="167384" y="271206"/>
                    </a:lnTo>
                    <a:lnTo>
                      <a:pt x="167384" y="5066"/>
                    </a:lnTo>
                    <a:lnTo>
                      <a:pt x="140242" y="5066"/>
                    </a:lnTo>
                    <a:lnTo>
                      <a:pt x="140242" y="25915"/>
                    </a:lnTo>
                    <a:close/>
                    <a:moveTo>
                      <a:pt x="134430" y="132937"/>
                    </a:moveTo>
                    <a:cubicBezTo>
                      <a:pt x="130644" y="143442"/>
                      <a:pt x="124725" y="151707"/>
                      <a:pt x="116780" y="157679"/>
                    </a:cubicBezTo>
                    <a:cubicBezTo>
                      <a:pt x="108834" y="163651"/>
                      <a:pt x="98649" y="166638"/>
                      <a:pt x="86225" y="166638"/>
                    </a:cubicBezTo>
                    <a:cubicBezTo>
                      <a:pt x="74174" y="166638"/>
                      <a:pt x="64149" y="163545"/>
                      <a:pt x="56097" y="157412"/>
                    </a:cubicBezTo>
                    <a:cubicBezTo>
                      <a:pt x="48098" y="151280"/>
                      <a:pt x="42073" y="142962"/>
                      <a:pt x="38073" y="132403"/>
                    </a:cubicBezTo>
                    <a:cubicBezTo>
                      <a:pt x="34074" y="121899"/>
                      <a:pt x="32101" y="110061"/>
                      <a:pt x="32101" y="96996"/>
                    </a:cubicBezTo>
                    <a:cubicBezTo>
                      <a:pt x="32101" y="84039"/>
                      <a:pt x="34074" y="72307"/>
                      <a:pt x="37967" y="61856"/>
                    </a:cubicBezTo>
                    <a:cubicBezTo>
                      <a:pt x="41859" y="51404"/>
                      <a:pt x="47938" y="43086"/>
                      <a:pt x="56043" y="36953"/>
                    </a:cubicBezTo>
                    <a:cubicBezTo>
                      <a:pt x="64149" y="30821"/>
                      <a:pt x="74494" y="27728"/>
                      <a:pt x="87025" y="27728"/>
                    </a:cubicBezTo>
                    <a:cubicBezTo>
                      <a:pt x="99076" y="27728"/>
                      <a:pt x="108994" y="30661"/>
                      <a:pt x="116780" y="36527"/>
                    </a:cubicBezTo>
                    <a:cubicBezTo>
                      <a:pt x="124565" y="42392"/>
                      <a:pt x="130377" y="50551"/>
                      <a:pt x="134270" y="61003"/>
                    </a:cubicBezTo>
                    <a:cubicBezTo>
                      <a:pt x="138109" y="71454"/>
                      <a:pt x="140082" y="83452"/>
                      <a:pt x="140082" y="96996"/>
                    </a:cubicBezTo>
                    <a:cubicBezTo>
                      <a:pt x="140189" y="110434"/>
                      <a:pt x="138269" y="122432"/>
                      <a:pt x="134430" y="132937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Gráfico 8">
                <a:extLst>
                  <a:ext uri="{FF2B5EF4-FFF2-40B4-BE49-F238E27FC236}">
                    <a16:creationId xmlns:a16="http://schemas.microsoft.com/office/drawing/2014/main" id="{6E65BFE3-C83B-497B-A3AA-09C031BB00AF}"/>
                  </a:ext>
                </a:extLst>
              </p:cNvPr>
              <p:cNvSpPr/>
              <p:nvPr/>
            </p:nvSpPr>
            <p:spPr>
              <a:xfrm>
                <a:off x="3017721" y="5527858"/>
                <a:ext cx="161998" cy="189034"/>
              </a:xfrm>
              <a:custGeom>
                <a:avLst/>
                <a:gdLst>
                  <a:gd name="connsiteX0" fmla="*/ 114647 w 161998"/>
                  <a:gd name="connsiteY0" fmla="*/ 178795 h 189034"/>
                  <a:gd name="connsiteX1" fmla="*/ 134856 w 161998"/>
                  <a:gd name="connsiteY1" fmla="*/ 160292 h 189034"/>
                  <a:gd name="connsiteX2" fmla="*/ 134856 w 161998"/>
                  <a:gd name="connsiteY2" fmla="*/ 184341 h 189034"/>
                  <a:gd name="connsiteX3" fmla="*/ 161998 w 161998"/>
                  <a:gd name="connsiteY3" fmla="*/ 184341 h 189034"/>
                  <a:gd name="connsiteX4" fmla="*/ 161998 w 161998"/>
                  <a:gd name="connsiteY4" fmla="*/ 107 h 189034"/>
                  <a:gd name="connsiteX5" fmla="*/ 131444 w 161998"/>
                  <a:gd name="connsiteY5" fmla="*/ 107 h 189034"/>
                  <a:gd name="connsiteX6" fmla="*/ 131444 w 161998"/>
                  <a:gd name="connsiteY6" fmla="*/ 97156 h 189034"/>
                  <a:gd name="connsiteX7" fmla="*/ 127764 w 161998"/>
                  <a:gd name="connsiteY7" fmla="*/ 124938 h 189034"/>
                  <a:gd name="connsiteX8" fmla="*/ 117420 w 161998"/>
                  <a:gd name="connsiteY8" fmla="*/ 144615 h 189034"/>
                  <a:gd name="connsiteX9" fmla="*/ 101476 w 161998"/>
                  <a:gd name="connsiteY9" fmla="*/ 156293 h 189034"/>
                  <a:gd name="connsiteX10" fmla="*/ 80733 w 161998"/>
                  <a:gd name="connsiteY10" fmla="*/ 160239 h 189034"/>
                  <a:gd name="connsiteX11" fmla="*/ 56577 w 161998"/>
                  <a:gd name="connsiteY11" fmla="*/ 154586 h 189034"/>
                  <a:gd name="connsiteX12" fmla="*/ 41220 w 161998"/>
                  <a:gd name="connsiteY12" fmla="*/ 139229 h 189034"/>
                  <a:gd name="connsiteX13" fmla="*/ 33114 w 161998"/>
                  <a:gd name="connsiteY13" fmla="*/ 117366 h 189034"/>
                  <a:gd name="connsiteX14" fmla="*/ 30715 w 161998"/>
                  <a:gd name="connsiteY14" fmla="*/ 92304 h 189034"/>
                  <a:gd name="connsiteX15" fmla="*/ 30715 w 161998"/>
                  <a:gd name="connsiteY15" fmla="*/ 0 h 189034"/>
                  <a:gd name="connsiteX16" fmla="*/ 0 w 161998"/>
                  <a:gd name="connsiteY16" fmla="*/ 0 h 189034"/>
                  <a:gd name="connsiteX17" fmla="*/ 0 w 161998"/>
                  <a:gd name="connsiteY17" fmla="*/ 101849 h 189034"/>
                  <a:gd name="connsiteX18" fmla="*/ 1973 w 161998"/>
                  <a:gd name="connsiteY18" fmla="*/ 124191 h 189034"/>
                  <a:gd name="connsiteX19" fmla="*/ 8692 w 161998"/>
                  <a:gd name="connsiteY19" fmla="*/ 147547 h 189034"/>
                  <a:gd name="connsiteX20" fmla="*/ 21809 w 161998"/>
                  <a:gd name="connsiteY20" fmla="*/ 168344 h 189034"/>
                  <a:gd name="connsiteX21" fmla="*/ 42766 w 161998"/>
                  <a:gd name="connsiteY21" fmla="*/ 183381 h 189034"/>
                  <a:gd name="connsiteX22" fmla="*/ 73321 w 161998"/>
                  <a:gd name="connsiteY22" fmla="*/ 189034 h 189034"/>
                  <a:gd name="connsiteX23" fmla="*/ 114647 w 161998"/>
                  <a:gd name="connsiteY23" fmla="*/ 178795 h 189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1998" h="189034">
                    <a:moveTo>
                      <a:pt x="114647" y="178795"/>
                    </a:moveTo>
                    <a:cubicBezTo>
                      <a:pt x="122645" y="174049"/>
                      <a:pt x="129311" y="167864"/>
                      <a:pt x="134856" y="160292"/>
                    </a:cubicBezTo>
                    <a:lnTo>
                      <a:pt x="134856" y="184341"/>
                    </a:lnTo>
                    <a:lnTo>
                      <a:pt x="161998" y="184341"/>
                    </a:lnTo>
                    <a:lnTo>
                      <a:pt x="161998" y="107"/>
                    </a:lnTo>
                    <a:lnTo>
                      <a:pt x="131444" y="107"/>
                    </a:lnTo>
                    <a:lnTo>
                      <a:pt x="131444" y="97156"/>
                    </a:lnTo>
                    <a:cubicBezTo>
                      <a:pt x="131444" y="107714"/>
                      <a:pt x="130217" y="116993"/>
                      <a:pt x="127764" y="124938"/>
                    </a:cubicBezTo>
                    <a:cubicBezTo>
                      <a:pt x="125311" y="132883"/>
                      <a:pt x="121899" y="139442"/>
                      <a:pt x="117420" y="144615"/>
                    </a:cubicBezTo>
                    <a:cubicBezTo>
                      <a:pt x="112994" y="149787"/>
                      <a:pt x="107661" y="153680"/>
                      <a:pt x="101476" y="156293"/>
                    </a:cubicBezTo>
                    <a:cubicBezTo>
                      <a:pt x="95290" y="158905"/>
                      <a:pt x="88358" y="160239"/>
                      <a:pt x="80733" y="160239"/>
                    </a:cubicBezTo>
                    <a:cubicBezTo>
                      <a:pt x="71081" y="160239"/>
                      <a:pt x="63029" y="158372"/>
                      <a:pt x="56577" y="154586"/>
                    </a:cubicBezTo>
                    <a:cubicBezTo>
                      <a:pt x="50125" y="150800"/>
                      <a:pt x="45005" y="145734"/>
                      <a:pt x="41220" y="139229"/>
                    </a:cubicBezTo>
                    <a:cubicBezTo>
                      <a:pt x="37434" y="132723"/>
                      <a:pt x="34714" y="125471"/>
                      <a:pt x="33114" y="117366"/>
                    </a:cubicBezTo>
                    <a:cubicBezTo>
                      <a:pt x="31515" y="109314"/>
                      <a:pt x="30715" y="100942"/>
                      <a:pt x="30715" y="92304"/>
                    </a:cubicBezTo>
                    <a:lnTo>
                      <a:pt x="30715" y="0"/>
                    </a:lnTo>
                    <a:lnTo>
                      <a:pt x="0" y="0"/>
                    </a:lnTo>
                    <a:lnTo>
                      <a:pt x="0" y="101849"/>
                    </a:lnTo>
                    <a:cubicBezTo>
                      <a:pt x="0" y="108781"/>
                      <a:pt x="640" y="116246"/>
                      <a:pt x="1973" y="124191"/>
                    </a:cubicBezTo>
                    <a:cubicBezTo>
                      <a:pt x="3306" y="132137"/>
                      <a:pt x="5546" y="139922"/>
                      <a:pt x="8692" y="147547"/>
                    </a:cubicBezTo>
                    <a:cubicBezTo>
                      <a:pt x="11891" y="155173"/>
                      <a:pt x="16264" y="162105"/>
                      <a:pt x="21809" y="168344"/>
                    </a:cubicBezTo>
                    <a:cubicBezTo>
                      <a:pt x="27355" y="174583"/>
                      <a:pt x="34394" y="179595"/>
                      <a:pt x="42766" y="183381"/>
                    </a:cubicBezTo>
                    <a:cubicBezTo>
                      <a:pt x="51138" y="187167"/>
                      <a:pt x="61376" y="189034"/>
                      <a:pt x="73321" y="189034"/>
                    </a:cubicBezTo>
                    <a:cubicBezTo>
                      <a:pt x="89264" y="189087"/>
                      <a:pt x="103022" y="185674"/>
                      <a:pt x="114647" y="178795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" name="Gráfico 8">
                <a:extLst>
                  <a:ext uri="{FF2B5EF4-FFF2-40B4-BE49-F238E27FC236}">
                    <a16:creationId xmlns:a16="http://schemas.microsoft.com/office/drawing/2014/main" id="{D77C27BA-97FB-4256-BA02-6CE54969275A}"/>
                  </a:ext>
                </a:extLst>
              </p:cNvPr>
              <p:cNvSpPr/>
              <p:nvPr/>
            </p:nvSpPr>
            <p:spPr>
              <a:xfrm>
                <a:off x="3217153" y="5522793"/>
                <a:ext cx="174001" cy="194526"/>
              </a:xfrm>
              <a:custGeom>
                <a:avLst/>
                <a:gdLst>
                  <a:gd name="connsiteX0" fmla="*/ 42819 w 174001"/>
                  <a:gd name="connsiteY0" fmla="*/ 182475 h 194526"/>
                  <a:gd name="connsiteX1" fmla="*/ 90171 w 174001"/>
                  <a:gd name="connsiteY1" fmla="*/ 194526 h 194526"/>
                  <a:gd name="connsiteX2" fmla="*/ 138536 w 174001"/>
                  <a:gd name="connsiteY2" fmla="*/ 181142 h 194526"/>
                  <a:gd name="connsiteX3" fmla="*/ 170850 w 174001"/>
                  <a:gd name="connsiteY3" fmla="*/ 143335 h 194526"/>
                  <a:gd name="connsiteX4" fmla="*/ 141682 w 174001"/>
                  <a:gd name="connsiteY4" fmla="*/ 133257 h 194526"/>
                  <a:gd name="connsiteX5" fmla="*/ 120512 w 174001"/>
                  <a:gd name="connsiteY5" fmla="*/ 157306 h 194526"/>
                  <a:gd name="connsiteX6" fmla="*/ 88784 w 174001"/>
                  <a:gd name="connsiteY6" fmla="*/ 165678 h 194526"/>
                  <a:gd name="connsiteX7" fmla="*/ 46978 w 174001"/>
                  <a:gd name="connsiteY7" fmla="*/ 147761 h 194526"/>
                  <a:gd name="connsiteX8" fmla="*/ 32581 w 174001"/>
                  <a:gd name="connsiteY8" fmla="*/ 105795 h 194526"/>
                  <a:gd name="connsiteX9" fmla="*/ 143175 w 174001"/>
                  <a:gd name="connsiteY9" fmla="*/ 105795 h 194526"/>
                  <a:gd name="connsiteX10" fmla="*/ 158159 w 174001"/>
                  <a:gd name="connsiteY10" fmla="*/ 105795 h 194526"/>
                  <a:gd name="connsiteX11" fmla="*/ 173836 w 174001"/>
                  <a:gd name="connsiteY11" fmla="*/ 105795 h 194526"/>
                  <a:gd name="connsiteX12" fmla="*/ 165411 w 174001"/>
                  <a:gd name="connsiteY12" fmla="*/ 49325 h 194526"/>
                  <a:gd name="connsiteX13" fmla="*/ 136083 w 174001"/>
                  <a:gd name="connsiteY13" fmla="*/ 12798 h 194526"/>
                  <a:gd name="connsiteX14" fmla="*/ 88731 w 174001"/>
                  <a:gd name="connsiteY14" fmla="*/ 0 h 194526"/>
                  <a:gd name="connsiteX15" fmla="*/ 42073 w 174001"/>
                  <a:gd name="connsiteY15" fmla="*/ 12051 h 194526"/>
                  <a:gd name="connsiteX16" fmla="*/ 11091 w 174001"/>
                  <a:gd name="connsiteY16" fmla="*/ 46179 h 194526"/>
                  <a:gd name="connsiteX17" fmla="*/ 0 w 174001"/>
                  <a:gd name="connsiteY17" fmla="*/ 98489 h 194526"/>
                  <a:gd name="connsiteX18" fmla="*/ 11251 w 174001"/>
                  <a:gd name="connsiteY18" fmla="*/ 148881 h 194526"/>
                  <a:gd name="connsiteX19" fmla="*/ 42819 w 174001"/>
                  <a:gd name="connsiteY19" fmla="*/ 182475 h 194526"/>
                  <a:gd name="connsiteX20" fmla="*/ 47032 w 174001"/>
                  <a:gd name="connsiteY20" fmla="*/ 45379 h 194526"/>
                  <a:gd name="connsiteX21" fmla="*/ 89851 w 174001"/>
                  <a:gd name="connsiteY21" fmla="*/ 27302 h 194526"/>
                  <a:gd name="connsiteX22" fmla="*/ 129417 w 174001"/>
                  <a:gd name="connsiteY22" fmla="*/ 44099 h 194526"/>
                  <a:gd name="connsiteX23" fmla="*/ 142428 w 174001"/>
                  <a:gd name="connsiteY23" fmla="*/ 81372 h 194526"/>
                  <a:gd name="connsiteX24" fmla="*/ 33274 w 174001"/>
                  <a:gd name="connsiteY24" fmla="*/ 81372 h 194526"/>
                  <a:gd name="connsiteX25" fmla="*/ 47032 w 174001"/>
                  <a:gd name="connsiteY25" fmla="*/ 45379 h 19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4001" h="194526">
                    <a:moveTo>
                      <a:pt x="42819" y="182475"/>
                    </a:moveTo>
                    <a:cubicBezTo>
                      <a:pt x="56310" y="190473"/>
                      <a:pt x="72094" y="194526"/>
                      <a:pt x="90171" y="194526"/>
                    </a:cubicBezTo>
                    <a:cubicBezTo>
                      <a:pt x="108034" y="194526"/>
                      <a:pt x="124138" y="190047"/>
                      <a:pt x="138536" y="181142"/>
                    </a:cubicBezTo>
                    <a:cubicBezTo>
                      <a:pt x="152933" y="172236"/>
                      <a:pt x="163705" y="159599"/>
                      <a:pt x="170850" y="143335"/>
                    </a:cubicBezTo>
                    <a:lnTo>
                      <a:pt x="141682" y="133257"/>
                    </a:lnTo>
                    <a:cubicBezTo>
                      <a:pt x="136563" y="143708"/>
                      <a:pt x="129524" y="151760"/>
                      <a:pt x="120512" y="157306"/>
                    </a:cubicBezTo>
                    <a:cubicBezTo>
                      <a:pt x="111500" y="162905"/>
                      <a:pt x="100942" y="165678"/>
                      <a:pt x="88784" y="165678"/>
                    </a:cubicBezTo>
                    <a:cubicBezTo>
                      <a:pt x="70708" y="165678"/>
                      <a:pt x="56790" y="159705"/>
                      <a:pt x="46978" y="147761"/>
                    </a:cubicBezTo>
                    <a:cubicBezTo>
                      <a:pt x="38500" y="137416"/>
                      <a:pt x="33754" y="123445"/>
                      <a:pt x="32581" y="105795"/>
                    </a:cubicBezTo>
                    <a:lnTo>
                      <a:pt x="143175" y="105795"/>
                    </a:lnTo>
                    <a:lnTo>
                      <a:pt x="158159" y="105795"/>
                    </a:lnTo>
                    <a:lnTo>
                      <a:pt x="173836" y="105795"/>
                    </a:lnTo>
                    <a:cubicBezTo>
                      <a:pt x="174743" y="83985"/>
                      <a:pt x="171917" y="65109"/>
                      <a:pt x="165411" y="49325"/>
                    </a:cubicBezTo>
                    <a:cubicBezTo>
                      <a:pt x="158852" y="33541"/>
                      <a:pt x="149094" y="21330"/>
                      <a:pt x="136083" y="12798"/>
                    </a:cubicBezTo>
                    <a:cubicBezTo>
                      <a:pt x="123072" y="4266"/>
                      <a:pt x="107288" y="0"/>
                      <a:pt x="88731" y="0"/>
                    </a:cubicBezTo>
                    <a:cubicBezTo>
                      <a:pt x="70867" y="0"/>
                      <a:pt x="55350" y="3999"/>
                      <a:pt x="42073" y="12051"/>
                    </a:cubicBezTo>
                    <a:cubicBezTo>
                      <a:pt x="28795" y="20050"/>
                      <a:pt x="18503" y="31461"/>
                      <a:pt x="11091" y="46179"/>
                    </a:cubicBezTo>
                    <a:cubicBezTo>
                      <a:pt x="3679" y="60896"/>
                      <a:pt x="0" y="78333"/>
                      <a:pt x="0" y="98489"/>
                    </a:cubicBezTo>
                    <a:cubicBezTo>
                      <a:pt x="0" y="117686"/>
                      <a:pt x="3733" y="134537"/>
                      <a:pt x="11251" y="148881"/>
                    </a:cubicBezTo>
                    <a:cubicBezTo>
                      <a:pt x="18877" y="163278"/>
                      <a:pt x="29381" y="174476"/>
                      <a:pt x="42819" y="182475"/>
                    </a:cubicBezTo>
                    <a:close/>
                    <a:moveTo>
                      <a:pt x="47032" y="45379"/>
                    </a:moveTo>
                    <a:cubicBezTo>
                      <a:pt x="56790" y="33328"/>
                      <a:pt x="71081" y="27302"/>
                      <a:pt x="89851" y="27302"/>
                    </a:cubicBezTo>
                    <a:cubicBezTo>
                      <a:pt x="107341" y="27302"/>
                      <a:pt x="120565" y="32901"/>
                      <a:pt x="129417" y="44099"/>
                    </a:cubicBezTo>
                    <a:cubicBezTo>
                      <a:pt x="136403" y="52951"/>
                      <a:pt x="140722" y="65428"/>
                      <a:pt x="142428" y="81372"/>
                    </a:cubicBezTo>
                    <a:lnTo>
                      <a:pt x="33274" y="81372"/>
                    </a:lnTo>
                    <a:cubicBezTo>
                      <a:pt x="35087" y="66442"/>
                      <a:pt x="39673" y="54444"/>
                      <a:pt x="47032" y="45379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" name="Gráfico 8">
                <a:extLst>
                  <a:ext uri="{FF2B5EF4-FFF2-40B4-BE49-F238E27FC236}">
                    <a16:creationId xmlns:a16="http://schemas.microsoft.com/office/drawing/2014/main" id="{AE91EB24-425D-4C45-9ADE-67893F50C637}"/>
                  </a:ext>
                </a:extLst>
              </p:cNvPr>
              <p:cNvSpPr/>
              <p:nvPr/>
            </p:nvSpPr>
            <p:spPr>
              <a:xfrm>
                <a:off x="1558456" y="5910778"/>
                <a:ext cx="167330" cy="276378"/>
              </a:xfrm>
              <a:custGeom>
                <a:avLst/>
                <a:gdLst>
                  <a:gd name="connsiteX0" fmla="*/ 140189 w 167330"/>
                  <a:gd name="connsiteY0" fmla="*/ 25915 h 276378"/>
                  <a:gd name="connsiteX1" fmla="*/ 126218 w 167330"/>
                  <a:gd name="connsiteY1" fmla="*/ 12691 h 276378"/>
                  <a:gd name="connsiteX2" fmla="*/ 82386 w 167330"/>
                  <a:gd name="connsiteY2" fmla="*/ 0 h 276378"/>
                  <a:gd name="connsiteX3" fmla="*/ 38393 w 167330"/>
                  <a:gd name="connsiteY3" fmla="*/ 12691 h 276378"/>
                  <a:gd name="connsiteX4" fmla="*/ 9972 w 167330"/>
                  <a:gd name="connsiteY4" fmla="*/ 47405 h 276378"/>
                  <a:gd name="connsiteX5" fmla="*/ 0 w 167330"/>
                  <a:gd name="connsiteY5" fmla="*/ 97050 h 276378"/>
                  <a:gd name="connsiteX6" fmla="*/ 9972 w 167330"/>
                  <a:gd name="connsiteY6" fmla="*/ 146801 h 276378"/>
                  <a:gd name="connsiteX7" fmla="*/ 38393 w 167330"/>
                  <a:gd name="connsiteY7" fmla="*/ 181675 h 276378"/>
                  <a:gd name="connsiteX8" fmla="*/ 82599 w 167330"/>
                  <a:gd name="connsiteY8" fmla="*/ 194473 h 276378"/>
                  <a:gd name="connsiteX9" fmla="*/ 126271 w 167330"/>
                  <a:gd name="connsiteY9" fmla="*/ 181568 h 276378"/>
                  <a:gd name="connsiteX10" fmla="*/ 136669 w 167330"/>
                  <a:gd name="connsiteY10" fmla="*/ 172236 h 276378"/>
                  <a:gd name="connsiteX11" fmla="*/ 136669 w 167330"/>
                  <a:gd name="connsiteY11" fmla="*/ 190207 h 276378"/>
                  <a:gd name="connsiteX12" fmla="*/ 131230 w 167330"/>
                  <a:gd name="connsiteY12" fmla="*/ 221615 h 276378"/>
                  <a:gd name="connsiteX13" fmla="*/ 114113 w 167330"/>
                  <a:gd name="connsiteY13" fmla="*/ 240651 h 276378"/>
                  <a:gd name="connsiteX14" fmla="*/ 85052 w 167330"/>
                  <a:gd name="connsiteY14" fmla="*/ 247050 h 276378"/>
                  <a:gd name="connsiteX15" fmla="*/ 59190 w 167330"/>
                  <a:gd name="connsiteY15" fmla="*/ 240918 h 276378"/>
                  <a:gd name="connsiteX16" fmla="*/ 39833 w 167330"/>
                  <a:gd name="connsiteY16" fmla="*/ 221295 h 276378"/>
                  <a:gd name="connsiteX17" fmla="*/ 12051 w 167330"/>
                  <a:gd name="connsiteY17" fmla="*/ 235959 h 276378"/>
                  <a:gd name="connsiteX18" fmla="*/ 31248 w 167330"/>
                  <a:gd name="connsiteY18" fmla="*/ 258568 h 276378"/>
                  <a:gd name="connsiteX19" fmla="*/ 56577 w 167330"/>
                  <a:gd name="connsiteY19" fmla="*/ 271952 h 276378"/>
                  <a:gd name="connsiteX20" fmla="*/ 84892 w 167330"/>
                  <a:gd name="connsiteY20" fmla="*/ 276378 h 276378"/>
                  <a:gd name="connsiteX21" fmla="*/ 123605 w 167330"/>
                  <a:gd name="connsiteY21" fmla="*/ 270139 h 276378"/>
                  <a:gd name="connsiteX22" fmla="*/ 150907 w 167330"/>
                  <a:gd name="connsiteY22" fmla="*/ 251209 h 276378"/>
                  <a:gd name="connsiteX23" fmla="*/ 165091 w 167330"/>
                  <a:gd name="connsiteY23" fmla="*/ 218895 h 276378"/>
                  <a:gd name="connsiteX24" fmla="*/ 166904 w 167330"/>
                  <a:gd name="connsiteY24" fmla="*/ 205137 h 276378"/>
                  <a:gd name="connsiteX25" fmla="*/ 167331 w 167330"/>
                  <a:gd name="connsiteY25" fmla="*/ 190527 h 276378"/>
                  <a:gd name="connsiteX26" fmla="*/ 167331 w 167330"/>
                  <a:gd name="connsiteY26" fmla="*/ 5066 h 276378"/>
                  <a:gd name="connsiteX27" fmla="*/ 140402 w 167330"/>
                  <a:gd name="connsiteY27" fmla="*/ 5066 h 276378"/>
                  <a:gd name="connsiteX28" fmla="*/ 140402 w 167330"/>
                  <a:gd name="connsiteY28" fmla="*/ 25915 h 276378"/>
                  <a:gd name="connsiteX29" fmla="*/ 134483 w 167330"/>
                  <a:gd name="connsiteY29" fmla="*/ 132937 h 276378"/>
                  <a:gd name="connsiteX30" fmla="*/ 116833 w 167330"/>
                  <a:gd name="connsiteY30" fmla="*/ 157679 h 276378"/>
                  <a:gd name="connsiteX31" fmla="*/ 86278 w 167330"/>
                  <a:gd name="connsiteY31" fmla="*/ 166638 h 276378"/>
                  <a:gd name="connsiteX32" fmla="*/ 56150 w 167330"/>
                  <a:gd name="connsiteY32" fmla="*/ 157412 h 276378"/>
                  <a:gd name="connsiteX33" fmla="*/ 38127 w 167330"/>
                  <a:gd name="connsiteY33" fmla="*/ 132403 h 276378"/>
                  <a:gd name="connsiteX34" fmla="*/ 32154 w 167330"/>
                  <a:gd name="connsiteY34" fmla="*/ 96996 h 276378"/>
                  <a:gd name="connsiteX35" fmla="*/ 38020 w 167330"/>
                  <a:gd name="connsiteY35" fmla="*/ 61856 h 276378"/>
                  <a:gd name="connsiteX36" fmla="*/ 56097 w 167330"/>
                  <a:gd name="connsiteY36" fmla="*/ 36953 h 276378"/>
                  <a:gd name="connsiteX37" fmla="*/ 87078 w 167330"/>
                  <a:gd name="connsiteY37" fmla="*/ 27728 h 276378"/>
                  <a:gd name="connsiteX38" fmla="*/ 116833 w 167330"/>
                  <a:gd name="connsiteY38" fmla="*/ 36527 h 276378"/>
                  <a:gd name="connsiteX39" fmla="*/ 134323 w 167330"/>
                  <a:gd name="connsiteY39" fmla="*/ 61003 h 276378"/>
                  <a:gd name="connsiteX40" fmla="*/ 140135 w 167330"/>
                  <a:gd name="connsiteY40" fmla="*/ 96996 h 276378"/>
                  <a:gd name="connsiteX41" fmla="*/ 134483 w 167330"/>
                  <a:gd name="connsiteY41" fmla="*/ 132937 h 276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67330" h="276378">
                    <a:moveTo>
                      <a:pt x="140189" y="25915"/>
                    </a:moveTo>
                    <a:cubicBezTo>
                      <a:pt x="136083" y="20956"/>
                      <a:pt x="131444" y="16477"/>
                      <a:pt x="126218" y="12691"/>
                    </a:cubicBezTo>
                    <a:cubicBezTo>
                      <a:pt x="114380" y="4212"/>
                      <a:pt x="99769" y="0"/>
                      <a:pt x="82386" y="0"/>
                    </a:cubicBezTo>
                    <a:cubicBezTo>
                      <a:pt x="65322" y="0"/>
                      <a:pt x="50658" y="4212"/>
                      <a:pt x="38393" y="12691"/>
                    </a:cubicBezTo>
                    <a:cubicBezTo>
                      <a:pt x="26129" y="21170"/>
                      <a:pt x="16637" y="32741"/>
                      <a:pt x="9972" y="47405"/>
                    </a:cubicBezTo>
                    <a:cubicBezTo>
                      <a:pt x="3306" y="62069"/>
                      <a:pt x="0" y="78600"/>
                      <a:pt x="0" y="97050"/>
                    </a:cubicBezTo>
                    <a:cubicBezTo>
                      <a:pt x="0" y="115500"/>
                      <a:pt x="3306" y="132030"/>
                      <a:pt x="9972" y="146801"/>
                    </a:cubicBezTo>
                    <a:cubicBezTo>
                      <a:pt x="16637" y="161518"/>
                      <a:pt x="26075" y="173143"/>
                      <a:pt x="38393" y="181675"/>
                    </a:cubicBezTo>
                    <a:cubicBezTo>
                      <a:pt x="50658" y="190207"/>
                      <a:pt x="65429" y="194473"/>
                      <a:pt x="82599" y="194473"/>
                    </a:cubicBezTo>
                    <a:cubicBezTo>
                      <a:pt x="99876" y="194473"/>
                      <a:pt x="114433" y="190153"/>
                      <a:pt x="126271" y="181568"/>
                    </a:cubicBezTo>
                    <a:cubicBezTo>
                      <a:pt x="130057" y="178795"/>
                      <a:pt x="133470" y="175596"/>
                      <a:pt x="136669" y="172236"/>
                    </a:cubicBezTo>
                    <a:lnTo>
                      <a:pt x="136669" y="190207"/>
                    </a:lnTo>
                    <a:cubicBezTo>
                      <a:pt x="136776" y="202738"/>
                      <a:pt x="134963" y="213189"/>
                      <a:pt x="131230" y="221615"/>
                    </a:cubicBezTo>
                    <a:cubicBezTo>
                      <a:pt x="127498" y="230040"/>
                      <a:pt x="121739" y="236385"/>
                      <a:pt x="114113" y="240651"/>
                    </a:cubicBezTo>
                    <a:cubicBezTo>
                      <a:pt x="106435" y="244917"/>
                      <a:pt x="96730" y="247050"/>
                      <a:pt x="85052" y="247050"/>
                    </a:cubicBezTo>
                    <a:cubicBezTo>
                      <a:pt x="76200" y="247050"/>
                      <a:pt x="67562" y="245024"/>
                      <a:pt x="59190" y="240918"/>
                    </a:cubicBezTo>
                    <a:cubicBezTo>
                      <a:pt x="50818" y="236812"/>
                      <a:pt x="44366" y="230306"/>
                      <a:pt x="39833" y="221295"/>
                    </a:cubicBezTo>
                    <a:lnTo>
                      <a:pt x="12051" y="235959"/>
                    </a:lnTo>
                    <a:cubicBezTo>
                      <a:pt x="17170" y="245077"/>
                      <a:pt x="23569" y="252596"/>
                      <a:pt x="31248" y="258568"/>
                    </a:cubicBezTo>
                    <a:cubicBezTo>
                      <a:pt x="38927" y="264540"/>
                      <a:pt x="47352" y="269020"/>
                      <a:pt x="56577" y="271952"/>
                    </a:cubicBezTo>
                    <a:cubicBezTo>
                      <a:pt x="65802" y="274885"/>
                      <a:pt x="75240" y="276378"/>
                      <a:pt x="84892" y="276378"/>
                    </a:cubicBezTo>
                    <a:cubicBezTo>
                      <a:pt x="99556" y="276378"/>
                      <a:pt x="112460" y="274299"/>
                      <a:pt x="123605" y="270139"/>
                    </a:cubicBezTo>
                    <a:cubicBezTo>
                      <a:pt x="134750" y="265980"/>
                      <a:pt x="143868" y="259688"/>
                      <a:pt x="150907" y="251209"/>
                    </a:cubicBezTo>
                    <a:cubicBezTo>
                      <a:pt x="157946" y="242731"/>
                      <a:pt x="162692" y="231959"/>
                      <a:pt x="165091" y="218895"/>
                    </a:cubicBezTo>
                    <a:cubicBezTo>
                      <a:pt x="165998" y="214362"/>
                      <a:pt x="166584" y="209777"/>
                      <a:pt x="166904" y="205137"/>
                    </a:cubicBezTo>
                    <a:cubicBezTo>
                      <a:pt x="167171" y="200552"/>
                      <a:pt x="167331" y="195646"/>
                      <a:pt x="167331" y="190527"/>
                    </a:cubicBezTo>
                    <a:lnTo>
                      <a:pt x="167331" y="5066"/>
                    </a:lnTo>
                    <a:lnTo>
                      <a:pt x="140402" y="5066"/>
                    </a:lnTo>
                    <a:lnTo>
                      <a:pt x="140402" y="25915"/>
                    </a:lnTo>
                    <a:close/>
                    <a:moveTo>
                      <a:pt x="134483" y="132937"/>
                    </a:moveTo>
                    <a:cubicBezTo>
                      <a:pt x="130697" y="143442"/>
                      <a:pt x="124778" y="151707"/>
                      <a:pt x="116833" y="157679"/>
                    </a:cubicBezTo>
                    <a:cubicBezTo>
                      <a:pt x="108888" y="163651"/>
                      <a:pt x="98703" y="166638"/>
                      <a:pt x="86278" y="166638"/>
                    </a:cubicBezTo>
                    <a:cubicBezTo>
                      <a:pt x="74227" y="166638"/>
                      <a:pt x="64202" y="163545"/>
                      <a:pt x="56150" y="157412"/>
                    </a:cubicBezTo>
                    <a:cubicBezTo>
                      <a:pt x="48098" y="151280"/>
                      <a:pt x="42126" y="142962"/>
                      <a:pt x="38127" y="132403"/>
                    </a:cubicBezTo>
                    <a:cubicBezTo>
                      <a:pt x="34127" y="121899"/>
                      <a:pt x="32154" y="110061"/>
                      <a:pt x="32154" y="96996"/>
                    </a:cubicBezTo>
                    <a:cubicBezTo>
                      <a:pt x="32154" y="84039"/>
                      <a:pt x="34127" y="72307"/>
                      <a:pt x="38020" y="61856"/>
                    </a:cubicBezTo>
                    <a:cubicBezTo>
                      <a:pt x="41913" y="51404"/>
                      <a:pt x="47992" y="43086"/>
                      <a:pt x="56097" y="36953"/>
                    </a:cubicBezTo>
                    <a:cubicBezTo>
                      <a:pt x="64202" y="30821"/>
                      <a:pt x="74547" y="27728"/>
                      <a:pt x="87078" y="27728"/>
                    </a:cubicBezTo>
                    <a:cubicBezTo>
                      <a:pt x="99129" y="27728"/>
                      <a:pt x="109048" y="30661"/>
                      <a:pt x="116833" y="36527"/>
                    </a:cubicBezTo>
                    <a:cubicBezTo>
                      <a:pt x="124618" y="42392"/>
                      <a:pt x="130431" y="50551"/>
                      <a:pt x="134323" y="61003"/>
                    </a:cubicBezTo>
                    <a:cubicBezTo>
                      <a:pt x="138216" y="71454"/>
                      <a:pt x="140135" y="83452"/>
                      <a:pt x="140135" y="96996"/>
                    </a:cubicBezTo>
                    <a:cubicBezTo>
                      <a:pt x="140189" y="110434"/>
                      <a:pt x="138322" y="122432"/>
                      <a:pt x="134483" y="132937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" name="Gráfico 8">
                <a:extLst>
                  <a:ext uri="{FF2B5EF4-FFF2-40B4-BE49-F238E27FC236}">
                    <a16:creationId xmlns:a16="http://schemas.microsoft.com/office/drawing/2014/main" id="{38860304-829C-41E8-8300-7936D64250CA}"/>
                  </a:ext>
                </a:extLst>
              </p:cNvPr>
              <p:cNvSpPr/>
              <p:nvPr/>
            </p:nvSpPr>
            <p:spPr>
              <a:xfrm>
                <a:off x="1763114" y="5910725"/>
                <a:ext cx="173894" cy="194526"/>
              </a:xfrm>
              <a:custGeom>
                <a:avLst/>
                <a:gdLst>
                  <a:gd name="connsiteX0" fmla="*/ 136083 w 173894"/>
                  <a:gd name="connsiteY0" fmla="*/ 12798 h 194526"/>
                  <a:gd name="connsiteX1" fmla="*/ 88731 w 173894"/>
                  <a:gd name="connsiteY1" fmla="*/ 0 h 194526"/>
                  <a:gd name="connsiteX2" fmla="*/ 42073 w 173894"/>
                  <a:gd name="connsiteY2" fmla="*/ 12051 h 194526"/>
                  <a:gd name="connsiteX3" fmla="*/ 11091 w 173894"/>
                  <a:gd name="connsiteY3" fmla="*/ 46179 h 194526"/>
                  <a:gd name="connsiteX4" fmla="*/ 0 w 173894"/>
                  <a:gd name="connsiteY4" fmla="*/ 98489 h 194526"/>
                  <a:gd name="connsiteX5" fmla="*/ 11251 w 173894"/>
                  <a:gd name="connsiteY5" fmla="*/ 148881 h 194526"/>
                  <a:gd name="connsiteX6" fmla="*/ 42713 w 173894"/>
                  <a:gd name="connsiteY6" fmla="*/ 182475 h 194526"/>
                  <a:gd name="connsiteX7" fmla="*/ 90064 w 173894"/>
                  <a:gd name="connsiteY7" fmla="*/ 194526 h 194526"/>
                  <a:gd name="connsiteX8" fmla="*/ 138429 w 173894"/>
                  <a:gd name="connsiteY8" fmla="*/ 181142 h 194526"/>
                  <a:gd name="connsiteX9" fmla="*/ 170743 w 173894"/>
                  <a:gd name="connsiteY9" fmla="*/ 143335 h 194526"/>
                  <a:gd name="connsiteX10" fmla="*/ 141575 w 173894"/>
                  <a:gd name="connsiteY10" fmla="*/ 133257 h 194526"/>
                  <a:gd name="connsiteX11" fmla="*/ 120406 w 173894"/>
                  <a:gd name="connsiteY11" fmla="*/ 157306 h 194526"/>
                  <a:gd name="connsiteX12" fmla="*/ 88678 w 173894"/>
                  <a:gd name="connsiteY12" fmla="*/ 165678 h 194526"/>
                  <a:gd name="connsiteX13" fmla="*/ 46872 w 173894"/>
                  <a:gd name="connsiteY13" fmla="*/ 147761 h 194526"/>
                  <a:gd name="connsiteX14" fmla="*/ 32474 w 173894"/>
                  <a:gd name="connsiteY14" fmla="*/ 105795 h 194526"/>
                  <a:gd name="connsiteX15" fmla="*/ 143068 w 173894"/>
                  <a:gd name="connsiteY15" fmla="*/ 105795 h 194526"/>
                  <a:gd name="connsiteX16" fmla="*/ 158052 w 173894"/>
                  <a:gd name="connsiteY16" fmla="*/ 105795 h 194526"/>
                  <a:gd name="connsiteX17" fmla="*/ 173730 w 173894"/>
                  <a:gd name="connsiteY17" fmla="*/ 105795 h 194526"/>
                  <a:gd name="connsiteX18" fmla="*/ 165304 w 173894"/>
                  <a:gd name="connsiteY18" fmla="*/ 49325 h 194526"/>
                  <a:gd name="connsiteX19" fmla="*/ 136083 w 173894"/>
                  <a:gd name="connsiteY19" fmla="*/ 12798 h 194526"/>
                  <a:gd name="connsiteX20" fmla="*/ 46925 w 173894"/>
                  <a:gd name="connsiteY20" fmla="*/ 45379 h 194526"/>
                  <a:gd name="connsiteX21" fmla="*/ 89744 w 173894"/>
                  <a:gd name="connsiteY21" fmla="*/ 27302 h 194526"/>
                  <a:gd name="connsiteX22" fmla="*/ 129311 w 173894"/>
                  <a:gd name="connsiteY22" fmla="*/ 44099 h 194526"/>
                  <a:gd name="connsiteX23" fmla="*/ 142322 w 173894"/>
                  <a:gd name="connsiteY23" fmla="*/ 81372 h 194526"/>
                  <a:gd name="connsiteX24" fmla="*/ 33168 w 173894"/>
                  <a:gd name="connsiteY24" fmla="*/ 81372 h 194526"/>
                  <a:gd name="connsiteX25" fmla="*/ 46925 w 173894"/>
                  <a:gd name="connsiteY25" fmla="*/ 45379 h 19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3894" h="194526">
                    <a:moveTo>
                      <a:pt x="136083" y="12798"/>
                    </a:moveTo>
                    <a:cubicBezTo>
                      <a:pt x="123072" y="4266"/>
                      <a:pt x="107288" y="0"/>
                      <a:pt x="88731" y="0"/>
                    </a:cubicBezTo>
                    <a:cubicBezTo>
                      <a:pt x="70868" y="0"/>
                      <a:pt x="55297" y="3999"/>
                      <a:pt x="42073" y="12051"/>
                    </a:cubicBezTo>
                    <a:cubicBezTo>
                      <a:pt x="28848" y="20050"/>
                      <a:pt x="18503" y="31461"/>
                      <a:pt x="11091" y="46179"/>
                    </a:cubicBezTo>
                    <a:cubicBezTo>
                      <a:pt x="3679" y="60896"/>
                      <a:pt x="0" y="78333"/>
                      <a:pt x="0" y="98489"/>
                    </a:cubicBezTo>
                    <a:cubicBezTo>
                      <a:pt x="0" y="117686"/>
                      <a:pt x="3733" y="134537"/>
                      <a:pt x="11251" y="148881"/>
                    </a:cubicBezTo>
                    <a:cubicBezTo>
                      <a:pt x="18770" y="163225"/>
                      <a:pt x="29275" y="174476"/>
                      <a:pt x="42713" y="182475"/>
                    </a:cubicBezTo>
                    <a:cubicBezTo>
                      <a:pt x="56203" y="190473"/>
                      <a:pt x="71987" y="194526"/>
                      <a:pt x="90064" y="194526"/>
                    </a:cubicBezTo>
                    <a:cubicBezTo>
                      <a:pt x="107928" y="194526"/>
                      <a:pt x="124032" y="190047"/>
                      <a:pt x="138429" y="181142"/>
                    </a:cubicBezTo>
                    <a:cubicBezTo>
                      <a:pt x="152827" y="172236"/>
                      <a:pt x="163598" y="159599"/>
                      <a:pt x="170743" y="143335"/>
                    </a:cubicBezTo>
                    <a:lnTo>
                      <a:pt x="141575" y="133257"/>
                    </a:lnTo>
                    <a:cubicBezTo>
                      <a:pt x="136456" y="143708"/>
                      <a:pt x="129417" y="151760"/>
                      <a:pt x="120406" y="157306"/>
                    </a:cubicBezTo>
                    <a:cubicBezTo>
                      <a:pt x="111394" y="162905"/>
                      <a:pt x="100836" y="165678"/>
                      <a:pt x="88678" y="165678"/>
                    </a:cubicBezTo>
                    <a:cubicBezTo>
                      <a:pt x="70601" y="165678"/>
                      <a:pt x="56683" y="159705"/>
                      <a:pt x="46872" y="147761"/>
                    </a:cubicBezTo>
                    <a:cubicBezTo>
                      <a:pt x="38393" y="137416"/>
                      <a:pt x="33647" y="123445"/>
                      <a:pt x="32474" y="105795"/>
                    </a:cubicBezTo>
                    <a:lnTo>
                      <a:pt x="143068" y="105795"/>
                    </a:lnTo>
                    <a:lnTo>
                      <a:pt x="158052" y="105795"/>
                    </a:lnTo>
                    <a:lnTo>
                      <a:pt x="173730" y="105795"/>
                    </a:lnTo>
                    <a:cubicBezTo>
                      <a:pt x="174636" y="83985"/>
                      <a:pt x="171810" y="65109"/>
                      <a:pt x="165304" y="49325"/>
                    </a:cubicBezTo>
                    <a:cubicBezTo>
                      <a:pt x="158852" y="33487"/>
                      <a:pt x="149094" y="21330"/>
                      <a:pt x="136083" y="12798"/>
                    </a:cubicBezTo>
                    <a:close/>
                    <a:moveTo>
                      <a:pt x="46925" y="45379"/>
                    </a:moveTo>
                    <a:cubicBezTo>
                      <a:pt x="56683" y="33328"/>
                      <a:pt x="70974" y="27302"/>
                      <a:pt x="89744" y="27302"/>
                    </a:cubicBezTo>
                    <a:cubicBezTo>
                      <a:pt x="107235" y="27302"/>
                      <a:pt x="120459" y="32901"/>
                      <a:pt x="129311" y="44099"/>
                    </a:cubicBezTo>
                    <a:cubicBezTo>
                      <a:pt x="136296" y="52951"/>
                      <a:pt x="140615" y="65428"/>
                      <a:pt x="142322" y="81372"/>
                    </a:cubicBezTo>
                    <a:lnTo>
                      <a:pt x="33168" y="81372"/>
                    </a:lnTo>
                    <a:cubicBezTo>
                      <a:pt x="35034" y="66442"/>
                      <a:pt x="39620" y="54444"/>
                      <a:pt x="46925" y="45379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" name="Gráfico 8">
                <a:extLst>
                  <a:ext uri="{FF2B5EF4-FFF2-40B4-BE49-F238E27FC236}">
                    <a16:creationId xmlns:a16="http://schemas.microsoft.com/office/drawing/2014/main" id="{80D9349F-C7E6-4289-AA65-E3034A55DCB6}"/>
                  </a:ext>
                </a:extLst>
              </p:cNvPr>
              <p:cNvSpPr/>
              <p:nvPr/>
            </p:nvSpPr>
            <p:spPr>
              <a:xfrm>
                <a:off x="1974810" y="5914583"/>
                <a:ext cx="95076" cy="185495"/>
              </a:xfrm>
              <a:custGeom>
                <a:avLst/>
                <a:gdLst>
                  <a:gd name="connsiteX0" fmla="*/ 77480 w 95076"/>
                  <a:gd name="connsiteY0" fmla="*/ 141 h 185495"/>
                  <a:gd name="connsiteX1" fmla="*/ 59030 w 95076"/>
                  <a:gd name="connsiteY1" fmla="*/ 3713 h 185495"/>
                  <a:gd name="connsiteX2" fmla="*/ 42819 w 95076"/>
                  <a:gd name="connsiteY2" fmla="*/ 12512 h 185495"/>
                  <a:gd name="connsiteX3" fmla="*/ 31141 w 95076"/>
                  <a:gd name="connsiteY3" fmla="*/ 24297 h 185495"/>
                  <a:gd name="connsiteX4" fmla="*/ 27142 w 95076"/>
                  <a:gd name="connsiteY4" fmla="*/ 30696 h 185495"/>
                  <a:gd name="connsiteX5" fmla="*/ 27142 w 95076"/>
                  <a:gd name="connsiteY5" fmla="*/ 1261 h 185495"/>
                  <a:gd name="connsiteX6" fmla="*/ 0 w 95076"/>
                  <a:gd name="connsiteY6" fmla="*/ 1261 h 185495"/>
                  <a:gd name="connsiteX7" fmla="*/ 0 w 95076"/>
                  <a:gd name="connsiteY7" fmla="*/ 185495 h 185495"/>
                  <a:gd name="connsiteX8" fmla="*/ 30555 w 95076"/>
                  <a:gd name="connsiteY8" fmla="*/ 185495 h 185495"/>
                  <a:gd name="connsiteX9" fmla="*/ 30555 w 95076"/>
                  <a:gd name="connsiteY9" fmla="*/ 93031 h 185495"/>
                  <a:gd name="connsiteX10" fmla="*/ 32421 w 95076"/>
                  <a:gd name="connsiteY10" fmla="*/ 71648 h 185495"/>
                  <a:gd name="connsiteX11" fmla="*/ 39140 w 95076"/>
                  <a:gd name="connsiteY11" fmla="*/ 52185 h 185495"/>
                  <a:gd name="connsiteX12" fmla="*/ 52897 w 95076"/>
                  <a:gd name="connsiteY12" fmla="*/ 36721 h 185495"/>
                  <a:gd name="connsiteX13" fmla="*/ 74067 w 95076"/>
                  <a:gd name="connsiteY13" fmla="*/ 28509 h 185495"/>
                  <a:gd name="connsiteX14" fmla="*/ 95077 w 95076"/>
                  <a:gd name="connsiteY14" fmla="*/ 29682 h 185495"/>
                  <a:gd name="connsiteX15" fmla="*/ 95077 w 95076"/>
                  <a:gd name="connsiteY15" fmla="*/ 1207 h 185495"/>
                  <a:gd name="connsiteX16" fmla="*/ 77480 w 95076"/>
                  <a:gd name="connsiteY16" fmla="*/ 141 h 18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5076" h="185495">
                    <a:moveTo>
                      <a:pt x="77480" y="141"/>
                    </a:moveTo>
                    <a:cubicBezTo>
                      <a:pt x="71241" y="567"/>
                      <a:pt x="65109" y="1740"/>
                      <a:pt x="59030" y="3713"/>
                    </a:cubicBezTo>
                    <a:cubicBezTo>
                      <a:pt x="53004" y="5687"/>
                      <a:pt x="47618" y="8619"/>
                      <a:pt x="42819" y="12512"/>
                    </a:cubicBezTo>
                    <a:cubicBezTo>
                      <a:pt x="38500" y="15605"/>
                      <a:pt x="34607" y="19497"/>
                      <a:pt x="31141" y="24297"/>
                    </a:cubicBezTo>
                    <a:cubicBezTo>
                      <a:pt x="29648" y="26323"/>
                      <a:pt x="28368" y="28509"/>
                      <a:pt x="27142" y="30696"/>
                    </a:cubicBezTo>
                    <a:lnTo>
                      <a:pt x="27142" y="1261"/>
                    </a:lnTo>
                    <a:lnTo>
                      <a:pt x="0" y="1261"/>
                    </a:lnTo>
                    <a:lnTo>
                      <a:pt x="0" y="185495"/>
                    </a:lnTo>
                    <a:lnTo>
                      <a:pt x="30555" y="185495"/>
                    </a:lnTo>
                    <a:lnTo>
                      <a:pt x="30555" y="93031"/>
                    </a:lnTo>
                    <a:cubicBezTo>
                      <a:pt x="30555" y="85779"/>
                      <a:pt x="31194" y="78634"/>
                      <a:pt x="32421" y="71648"/>
                    </a:cubicBezTo>
                    <a:cubicBezTo>
                      <a:pt x="33647" y="64663"/>
                      <a:pt x="35940" y="58157"/>
                      <a:pt x="39140" y="52185"/>
                    </a:cubicBezTo>
                    <a:cubicBezTo>
                      <a:pt x="42393" y="46213"/>
                      <a:pt x="46978" y="41094"/>
                      <a:pt x="52897" y="36721"/>
                    </a:cubicBezTo>
                    <a:cubicBezTo>
                      <a:pt x="59403" y="32082"/>
                      <a:pt x="66442" y="29309"/>
                      <a:pt x="74067" y="28509"/>
                    </a:cubicBezTo>
                    <a:cubicBezTo>
                      <a:pt x="81692" y="27709"/>
                      <a:pt x="88678" y="28136"/>
                      <a:pt x="95077" y="29682"/>
                    </a:cubicBezTo>
                    <a:lnTo>
                      <a:pt x="95077" y="1207"/>
                    </a:lnTo>
                    <a:cubicBezTo>
                      <a:pt x="89584" y="141"/>
                      <a:pt x="83719" y="-232"/>
                      <a:pt x="77480" y="141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" name="Gráfico 8">
                <a:extLst>
                  <a:ext uri="{FF2B5EF4-FFF2-40B4-BE49-F238E27FC236}">
                    <a16:creationId xmlns:a16="http://schemas.microsoft.com/office/drawing/2014/main" id="{36475623-1922-4BE4-8597-00D8FF74C7C8}"/>
                  </a:ext>
                </a:extLst>
              </p:cNvPr>
              <p:cNvSpPr/>
              <p:nvPr/>
            </p:nvSpPr>
            <p:spPr>
              <a:xfrm>
                <a:off x="2086044" y="5910725"/>
                <a:ext cx="157785" cy="194419"/>
              </a:xfrm>
              <a:custGeom>
                <a:avLst/>
                <a:gdLst>
                  <a:gd name="connsiteX0" fmla="*/ 151867 w 157785"/>
                  <a:gd name="connsiteY0" fmla="*/ 35994 h 194419"/>
                  <a:gd name="connsiteX1" fmla="*/ 126005 w 157785"/>
                  <a:gd name="connsiteY1" fmla="*/ 8958 h 194419"/>
                  <a:gd name="connsiteX2" fmla="*/ 82919 w 157785"/>
                  <a:gd name="connsiteY2" fmla="*/ 0 h 194419"/>
                  <a:gd name="connsiteX3" fmla="*/ 32581 w 157785"/>
                  <a:gd name="connsiteY3" fmla="*/ 13811 h 194419"/>
                  <a:gd name="connsiteX4" fmla="*/ 6825 w 157785"/>
                  <a:gd name="connsiteY4" fmla="*/ 51831 h 194419"/>
                  <a:gd name="connsiteX5" fmla="*/ 35674 w 157785"/>
                  <a:gd name="connsiteY5" fmla="*/ 60523 h 194419"/>
                  <a:gd name="connsiteX6" fmla="*/ 53324 w 157785"/>
                  <a:gd name="connsiteY6" fmla="*/ 35940 h 194419"/>
                  <a:gd name="connsiteX7" fmla="*/ 82599 w 157785"/>
                  <a:gd name="connsiteY7" fmla="*/ 28262 h 194419"/>
                  <a:gd name="connsiteX8" fmla="*/ 118059 w 157785"/>
                  <a:gd name="connsiteY8" fmla="*/ 40100 h 194419"/>
                  <a:gd name="connsiteX9" fmla="*/ 127871 w 157785"/>
                  <a:gd name="connsiteY9" fmla="*/ 71561 h 194419"/>
                  <a:gd name="connsiteX10" fmla="*/ 107448 w 157785"/>
                  <a:gd name="connsiteY10" fmla="*/ 74334 h 194419"/>
                  <a:gd name="connsiteX11" fmla="*/ 74547 w 157785"/>
                  <a:gd name="connsiteY11" fmla="*/ 79186 h 194419"/>
                  <a:gd name="connsiteX12" fmla="*/ 45219 w 157785"/>
                  <a:gd name="connsiteY12" fmla="*/ 85425 h 194419"/>
                  <a:gd name="connsiteX13" fmla="*/ 21063 w 157785"/>
                  <a:gd name="connsiteY13" fmla="*/ 96676 h 194419"/>
                  <a:gd name="connsiteX14" fmla="*/ 5439 w 157785"/>
                  <a:gd name="connsiteY14" fmla="*/ 114433 h 194419"/>
                  <a:gd name="connsiteX15" fmla="*/ 0 w 157785"/>
                  <a:gd name="connsiteY15" fmla="*/ 139496 h 194419"/>
                  <a:gd name="connsiteX16" fmla="*/ 7092 w 157785"/>
                  <a:gd name="connsiteY16" fmla="*/ 166797 h 194419"/>
                  <a:gd name="connsiteX17" fmla="*/ 28048 w 157785"/>
                  <a:gd name="connsiteY17" fmla="*/ 186847 h 194419"/>
                  <a:gd name="connsiteX18" fmla="*/ 62602 w 157785"/>
                  <a:gd name="connsiteY18" fmla="*/ 194419 h 194419"/>
                  <a:gd name="connsiteX19" fmla="*/ 107981 w 157785"/>
                  <a:gd name="connsiteY19" fmla="*/ 183061 h 194419"/>
                  <a:gd name="connsiteX20" fmla="*/ 130857 w 157785"/>
                  <a:gd name="connsiteY20" fmla="*/ 160612 h 194419"/>
                  <a:gd name="connsiteX21" fmla="*/ 130857 w 157785"/>
                  <a:gd name="connsiteY21" fmla="*/ 189300 h 194419"/>
                  <a:gd name="connsiteX22" fmla="*/ 157786 w 157785"/>
                  <a:gd name="connsiteY22" fmla="*/ 189300 h 194419"/>
                  <a:gd name="connsiteX23" fmla="*/ 157786 w 157785"/>
                  <a:gd name="connsiteY23" fmla="*/ 75347 h 194419"/>
                  <a:gd name="connsiteX24" fmla="*/ 156773 w 157785"/>
                  <a:gd name="connsiteY24" fmla="*/ 54444 h 194419"/>
                  <a:gd name="connsiteX25" fmla="*/ 151867 w 157785"/>
                  <a:gd name="connsiteY25" fmla="*/ 35994 h 194419"/>
                  <a:gd name="connsiteX26" fmla="*/ 124565 w 157785"/>
                  <a:gd name="connsiteY26" fmla="*/ 126591 h 194419"/>
                  <a:gd name="connsiteX27" fmla="*/ 115020 w 157785"/>
                  <a:gd name="connsiteY27" fmla="*/ 147654 h 194419"/>
                  <a:gd name="connsiteX28" fmla="*/ 95663 w 157785"/>
                  <a:gd name="connsiteY28" fmla="*/ 163171 h 194419"/>
                  <a:gd name="connsiteX29" fmla="*/ 67242 w 157785"/>
                  <a:gd name="connsiteY29" fmla="*/ 169037 h 194419"/>
                  <a:gd name="connsiteX30" fmla="*/ 46019 w 157785"/>
                  <a:gd name="connsiteY30" fmla="*/ 164771 h 194419"/>
                  <a:gd name="connsiteX31" fmla="*/ 34074 w 157785"/>
                  <a:gd name="connsiteY31" fmla="*/ 153680 h 194419"/>
                  <a:gd name="connsiteX32" fmla="*/ 30235 w 157785"/>
                  <a:gd name="connsiteY32" fmla="*/ 139336 h 194419"/>
                  <a:gd name="connsiteX33" fmla="*/ 34234 w 157785"/>
                  <a:gd name="connsiteY33" fmla="*/ 124938 h 194419"/>
                  <a:gd name="connsiteX34" fmla="*/ 44792 w 157785"/>
                  <a:gd name="connsiteY34" fmla="*/ 115233 h 194419"/>
                  <a:gd name="connsiteX35" fmla="*/ 58870 w 157785"/>
                  <a:gd name="connsiteY35" fmla="*/ 108994 h 194419"/>
                  <a:gd name="connsiteX36" fmla="*/ 81799 w 157785"/>
                  <a:gd name="connsiteY36" fmla="*/ 104035 h 194419"/>
                  <a:gd name="connsiteX37" fmla="*/ 108941 w 157785"/>
                  <a:gd name="connsiteY37" fmla="*/ 100089 h 194419"/>
                  <a:gd name="connsiteX38" fmla="*/ 127551 w 157785"/>
                  <a:gd name="connsiteY38" fmla="*/ 97476 h 194419"/>
                  <a:gd name="connsiteX39" fmla="*/ 127284 w 157785"/>
                  <a:gd name="connsiteY39" fmla="*/ 107608 h 194419"/>
                  <a:gd name="connsiteX40" fmla="*/ 124565 w 157785"/>
                  <a:gd name="connsiteY40" fmla="*/ 126591 h 19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57785" h="194419">
                    <a:moveTo>
                      <a:pt x="151867" y="35994"/>
                    </a:moveTo>
                    <a:cubicBezTo>
                      <a:pt x="146641" y="23942"/>
                      <a:pt x="138002" y="14931"/>
                      <a:pt x="126005" y="8958"/>
                    </a:cubicBezTo>
                    <a:cubicBezTo>
                      <a:pt x="114007" y="2986"/>
                      <a:pt x="99663" y="0"/>
                      <a:pt x="82919" y="0"/>
                    </a:cubicBezTo>
                    <a:cubicBezTo>
                      <a:pt x="62122" y="0"/>
                      <a:pt x="45325" y="4586"/>
                      <a:pt x="32581" y="13811"/>
                    </a:cubicBezTo>
                    <a:cubicBezTo>
                      <a:pt x="19837" y="23036"/>
                      <a:pt x="11251" y="35727"/>
                      <a:pt x="6825" y="51831"/>
                    </a:cubicBezTo>
                    <a:lnTo>
                      <a:pt x="35674" y="60523"/>
                    </a:lnTo>
                    <a:cubicBezTo>
                      <a:pt x="39087" y="49271"/>
                      <a:pt x="44952" y="41060"/>
                      <a:pt x="53324" y="35940"/>
                    </a:cubicBezTo>
                    <a:cubicBezTo>
                      <a:pt x="61696" y="30821"/>
                      <a:pt x="71454" y="28262"/>
                      <a:pt x="82599" y="28262"/>
                    </a:cubicBezTo>
                    <a:cubicBezTo>
                      <a:pt x="99449" y="28262"/>
                      <a:pt x="111234" y="32208"/>
                      <a:pt x="118059" y="40100"/>
                    </a:cubicBezTo>
                    <a:cubicBezTo>
                      <a:pt x="124192" y="47192"/>
                      <a:pt x="127444" y="57697"/>
                      <a:pt x="127871" y="71561"/>
                    </a:cubicBezTo>
                    <a:cubicBezTo>
                      <a:pt x="121312" y="72467"/>
                      <a:pt x="114593" y="73374"/>
                      <a:pt x="107448" y="74334"/>
                    </a:cubicBezTo>
                    <a:cubicBezTo>
                      <a:pt x="96303" y="75827"/>
                      <a:pt x="85318" y="77426"/>
                      <a:pt x="74547" y="79186"/>
                    </a:cubicBezTo>
                    <a:cubicBezTo>
                      <a:pt x="63722" y="80946"/>
                      <a:pt x="53964" y="83026"/>
                      <a:pt x="45219" y="85425"/>
                    </a:cubicBezTo>
                    <a:cubicBezTo>
                      <a:pt x="35887" y="88145"/>
                      <a:pt x="27835" y="91877"/>
                      <a:pt x="21063" y="96676"/>
                    </a:cubicBezTo>
                    <a:cubicBezTo>
                      <a:pt x="14291" y="101476"/>
                      <a:pt x="9065" y="107341"/>
                      <a:pt x="5439" y="114433"/>
                    </a:cubicBezTo>
                    <a:cubicBezTo>
                      <a:pt x="1813" y="121472"/>
                      <a:pt x="0" y="129844"/>
                      <a:pt x="0" y="139496"/>
                    </a:cubicBezTo>
                    <a:cubicBezTo>
                      <a:pt x="0" y="149414"/>
                      <a:pt x="2346" y="158479"/>
                      <a:pt x="7092" y="166797"/>
                    </a:cubicBezTo>
                    <a:cubicBezTo>
                      <a:pt x="11785" y="175116"/>
                      <a:pt x="18823" y="181782"/>
                      <a:pt x="28048" y="186847"/>
                    </a:cubicBezTo>
                    <a:cubicBezTo>
                      <a:pt x="37273" y="191913"/>
                      <a:pt x="48845" y="194419"/>
                      <a:pt x="62602" y="194419"/>
                    </a:cubicBezTo>
                    <a:cubicBezTo>
                      <a:pt x="80359" y="194419"/>
                      <a:pt x="95450" y="190633"/>
                      <a:pt x="107981" y="183061"/>
                    </a:cubicBezTo>
                    <a:cubicBezTo>
                      <a:pt x="117099" y="177569"/>
                      <a:pt x="124671" y="170050"/>
                      <a:pt x="130857" y="160612"/>
                    </a:cubicBezTo>
                    <a:lnTo>
                      <a:pt x="130857" y="189300"/>
                    </a:lnTo>
                    <a:lnTo>
                      <a:pt x="157786" y="189300"/>
                    </a:lnTo>
                    <a:lnTo>
                      <a:pt x="157786" y="75347"/>
                    </a:lnTo>
                    <a:cubicBezTo>
                      <a:pt x="157786" y="68041"/>
                      <a:pt x="157466" y="61109"/>
                      <a:pt x="156773" y="54444"/>
                    </a:cubicBezTo>
                    <a:cubicBezTo>
                      <a:pt x="156133" y="47832"/>
                      <a:pt x="154480" y="41699"/>
                      <a:pt x="151867" y="35994"/>
                    </a:cubicBezTo>
                    <a:close/>
                    <a:moveTo>
                      <a:pt x="124565" y="126591"/>
                    </a:moveTo>
                    <a:cubicBezTo>
                      <a:pt x="123072" y="134216"/>
                      <a:pt x="119926" y="141255"/>
                      <a:pt x="115020" y="147654"/>
                    </a:cubicBezTo>
                    <a:cubicBezTo>
                      <a:pt x="110114" y="154106"/>
                      <a:pt x="103662" y="159279"/>
                      <a:pt x="95663" y="163171"/>
                    </a:cubicBezTo>
                    <a:cubicBezTo>
                      <a:pt x="87665" y="167117"/>
                      <a:pt x="78173" y="169037"/>
                      <a:pt x="67242" y="169037"/>
                    </a:cubicBezTo>
                    <a:cubicBezTo>
                      <a:pt x="58496" y="169037"/>
                      <a:pt x="51404" y="167597"/>
                      <a:pt x="46019" y="164771"/>
                    </a:cubicBezTo>
                    <a:cubicBezTo>
                      <a:pt x="40633" y="161945"/>
                      <a:pt x="36634" y="158212"/>
                      <a:pt x="34074" y="153680"/>
                    </a:cubicBezTo>
                    <a:cubicBezTo>
                      <a:pt x="31515" y="149147"/>
                      <a:pt x="30235" y="144348"/>
                      <a:pt x="30235" y="139336"/>
                    </a:cubicBezTo>
                    <a:cubicBezTo>
                      <a:pt x="30235" y="133630"/>
                      <a:pt x="31568" y="128831"/>
                      <a:pt x="34234" y="124938"/>
                    </a:cubicBezTo>
                    <a:cubicBezTo>
                      <a:pt x="36900" y="120992"/>
                      <a:pt x="40420" y="117793"/>
                      <a:pt x="44792" y="115233"/>
                    </a:cubicBezTo>
                    <a:cubicBezTo>
                      <a:pt x="49165" y="112674"/>
                      <a:pt x="53857" y="110594"/>
                      <a:pt x="58870" y="108994"/>
                    </a:cubicBezTo>
                    <a:cubicBezTo>
                      <a:pt x="65695" y="107075"/>
                      <a:pt x="73321" y="105422"/>
                      <a:pt x="81799" y="104035"/>
                    </a:cubicBezTo>
                    <a:cubicBezTo>
                      <a:pt x="90278" y="102649"/>
                      <a:pt x="99289" y="101369"/>
                      <a:pt x="108941" y="100089"/>
                    </a:cubicBezTo>
                    <a:cubicBezTo>
                      <a:pt x="115073" y="99289"/>
                      <a:pt x="121312" y="98383"/>
                      <a:pt x="127551" y="97476"/>
                    </a:cubicBezTo>
                    <a:cubicBezTo>
                      <a:pt x="127498" y="100409"/>
                      <a:pt x="127391" y="103715"/>
                      <a:pt x="127284" y="107608"/>
                    </a:cubicBezTo>
                    <a:cubicBezTo>
                      <a:pt x="127071" y="114593"/>
                      <a:pt x="126165" y="120885"/>
                      <a:pt x="124565" y="126591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" name="Gráfico 8">
                <a:extLst>
                  <a:ext uri="{FF2B5EF4-FFF2-40B4-BE49-F238E27FC236}">
                    <a16:creationId xmlns:a16="http://schemas.microsoft.com/office/drawing/2014/main" id="{317F570D-F7FB-4E6A-8436-705F339E8527}"/>
                  </a:ext>
                </a:extLst>
              </p:cNvPr>
              <p:cNvSpPr/>
              <p:nvPr/>
            </p:nvSpPr>
            <p:spPr>
              <a:xfrm>
                <a:off x="2288035" y="5911098"/>
                <a:ext cx="250942" cy="189086"/>
              </a:xfrm>
              <a:custGeom>
                <a:avLst/>
                <a:gdLst>
                  <a:gd name="connsiteX0" fmla="*/ 189034 w 250942"/>
                  <a:gd name="connsiteY0" fmla="*/ 0 h 189086"/>
                  <a:gd name="connsiteX1" fmla="*/ 155920 w 250942"/>
                  <a:gd name="connsiteY1" fmla="*/ 8212 h 189086"/>
                  <a:gd name="connsiteX2" fmla="*/ 133257 w 250942"/>
                  <a:gd name="connsiteY2" fmla="*/ 30501 h 189086"/>
                  <a:gd name="connsiteX3" fmla="*/ 133257 w 250942"/>
                  <a:gd name="connsiteY3" fmla="*/ 30501 h 189086"/>
                  <a:gd name="connsiteX4" fmla="*/ 111927 w 250942"/>
                  <a:gd name="connsiteY4" fmla="*/ 7999 h 189086"/>
                  <a:gd name="connsiteX5" fmla="*/ 79506 w 250942"/>
                  <a:gd name="connsiteY5" fmla="*/ 53 h 189086"/>
                  <a:gd name="connsiteX6" fmla="*/ 46232 w 250942"/>
                  <a:gd name="connsiteY6" fmla="*/ 8265 h 189086"/>
                  <a:gd name="connsiteX7" fmla="*/ 27142 w 250942"/>
                  <a:gd name="connsiteY7" fmla="*/ 24636 h 189086"/>
                  <a:gd name="connsiteX8" fmla="*/ 27142 w 250942"/>
                  <a:gd name="connsiteY8" fmla="*/ 4853 h 189086"/>
                  <a:gd name="connsiteX9" fmla="*/ 0 w 250942"/>
                  <a:gd name="connsiteY9" fmla="*/ 4853 h 189086"/>
                  <a:gd name="connsiteX10" fmla="*/ 0 w 250942"/>
                  <a:gd name="connsiteY10" fmla="*/ 189087 h 189086"/>
                  <a:gd name="connsiteX11" fmla="*/ 30555 w 250942"/>
                  <a:gd name="connsiteY11" fmla="*/ 189087 h 189086"/>
                  <a:gd name="connsiteX12" fmla="*/ 30555 w 250942"/>
                  <a:gd name="connsiteY12" fmla="*/ 72041 h 189086"/>
                  <a:gd name="connsiteX13" fmla="*/ 41646 w 250942"/>
                  <a:gd name="connsiteY13" fmla="*/ 39566 h 189086"/>
                  <a:gd name="connsiteX14" fmla="*/ 70654 w 250942"/>
                  <a:gd name="connsiteY14" fmla="*/ 27195 h 189086"/>
                  <a:gd name="connsiteX15" fmla="*/ 99663 w 250942"/>
                  <a:gd name="connsiteY15" fmla="*/ 39300 h 189086"/>
                  <a:gd name="connsiteX16" fmla="*/ 110594 w 250942"/>
                  <a:gd name="connsiteY16" fmla="*/ 72414 h 189086"/>
                  <a:gd name="connsiteX17" fmla="*/ 110434 w 250942"/>
                  <a:gd name="connsiteY17" fmla="*/ 189087 h 189086"/>
                  <a:gd name="connsiteX18" fmla="*/ 140615 w 250942"/>
                  <a:gd name="connsiteY18" fmla="*/ 189087 h 189086"/>
                  <a:gd name="connsiteX19" fmla="*/ 140775 w 250942"/>
                  <a:gd name="connsiteY19" fmla="*/ 72041 h 189086"/>
                  <a:gd name="connsiteX20" fmla="*/ 140775 w 250942"/>
                  <a:gd name="connsiteY20" fmla="*/ 72041 h 189086"/>
                  <a:gd name="connsiteX21" fmla="*/ 146588 w 250942"/>
                  <a:gd name="connsiteY21" fmla="*/ 46605 h 189086"/>
                  <a:gd name="connsiteX22" fmla="*/ 161572 w 250942"/>
                  <a:gd name="connsiteY22" fmla="*/ 31941 h 189086"/>
                  <a:gd name="connsiteX23" fmla="*/ 181035 w 250942"/>
                  <a:gd name="connsiteY23" fmla="*/ 27142 h 189086"/>
                  <a:gd name="connsiteX24" fmla="*/ 209617 w 250942"/>
                  <a:gd name="connsiteY24" fmla="*/ 38820 h 189086"/>
                  <a:gd name="connsiteX25" fmla="*/ 220601 w 250942"/>
                  <a:gd name="connsiteY25" fmla="*/ 71134 h 189086"/>
                  <a:gd name="connsiteX26" fmla="*/ 220441 w 250942"/>
                  <a:gd name="connsiteY26" fmla="*/ 189034 h 189086"/>
                  <a:gd name="connsiteX27" fmla="*/ 250783 w 250942"/>
                  <a:gd name="connsiteY27" fmla="*/ 189034 h 189086"/>
                  <a:gd name="connsiteX28" fmla="*/ 250943 w 250942"/>
                  <a:gd name="connsiteY28" fmla="*/ 64522 h 189086"/>
                  <a:gd name="connsiteX29" fmla="*/ 234412 w 250942"/>
                  <a:gd name="connsiteY29" fmla="*/ 17597 h 189086"/>
                  <a:gd name="connsiteX30" fmla="*/ 189034 w 250942"/>
                  <a:gd name="connsiteY30" fmla="*/ 0 h 18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50942" h="189086">
                    <a:moveTo>
                      <a:pt x="189034" y="0"/>
                    </a:moveTo>
                    <a:cubicBezTo>
                      <a:pt x="176769" y="0"/>
                      <a:pt x="165731" y="2719"/>
                      <a:pt x="155920" y="8212"/>
                    </a:cubicBezTo>
                    <a:cubicBezTo>
                      <a:pt x="146374" y="13544"/>
                      <a:pt x="138856" y="21010"/>
                      <a:pt x="133257" y="30501"/>
                    </a:cubicBezTo>
                    <a:cubicBezTo>
                      <a:pt x="133257" y="30501"/>
                      <a:pt x="133257" y="30501"/>
                      <a:pt x="133257" y="30501"/>
                    </a:cubicBezTo>
                    <a:cubicBezTo>
                      <a:pt x="128244" y="20796"/>
                      <a:pt x="121152" y="13278"/>
                      <a:pt x="111927" y="7999"/>
                    </a:cubicBezTo>
                    <a:cubicBezTo>
                      <a:pt x="102702" y="2719"/>
                      <a:pt x="91931" y="53"/>
                      <a:pt x="79506" y="53"/>
                    </a:cubicBezTo>
                    <a:cubicBezTo>
                      <a:pt x="67082" y="53"/>
                      <a:pt x="56044" y="2773"/>
                      <a:pt x="46232" y="8265"/>
                    </a:cubicBezTo>
                    <a:cubicBezTo>
                      <a:pt x="38607" y="12531"/>
                      <a:pt x="32261" y="18024"/>
                      <a:pt x="27142" y="24636"/>
                    </a:cubicBezTo>
                    <a:lnTo>
                      <a:pt x="27142" y="4853"/>
                    </a:lnTo>
                    <a:lnTo>
                      <a:pt x="0" y="4853"/>
                    </a:lnTo>
                    <a:lnTo>
                      <a:pt x="0" y="189087"/>
                    </a:lnTo>
                    <a:lnTo>
                      <a:pt x="30555" y="189087"/>
                    </a:lnTo>
                    <a:lnTo>
                      <a:pt x="30555" y="72041"/>
                    </a:lnTo>
                    <a:cubicBezTo>
                      <a:pt x="30555" y="58603"/>
                      <a:pt x="34234" y="47778"/>
                      <a:pt x="41646" y="39566"/>
                    </a:cubicBezTo>
                    <a:cubicBezTo>
                      <a:pt x="49058" y="31301"/>
                      <a:pt x="58710" y="27195"/>
                      <a:pt x="70654" y="27195"/>
                    </a:cubicBezTo>
                    <a:cubicBezTo>
                      <a:pt x="82706" y="27195"/>
                      <a:pt x="92357" y="31248"/>
                      <a:pt x="99663" y="39300"/>
                    </a:cubicBezTo>
                    <a:cubicBezTo>
                      <a:pt x="106915" y="47352"/>
                      <a:pt x="110594" y="58390"/>
                      <a:pt x="110594" y="72414"/>
                    </a:cubicBezTo>
                    <a:lnTo>
                      <a:pt x="110434" y="189087"/>
                    </a:lnTo>
                    <a:lnTo>
                      <a:pt x="140615" y="189087"/>
                    </a:lnTo>
                    <a:lnTo>
                      <a:pt x="140775" y="72041"/>
                    </a:lnTo>
                    <a:lnTo>
                      <a:pt x="140775" y="72041"/>
                    </a:lnTo>
                    <a:cubicBezTo>
                      <a:pt x="140775" y="61696"/>
                      <a:pt x="142695" y="53217"/>
                      <a:pt x="146588" y="46605"/>
                    </a:cubicBezTo>
                    <a:cubicBezTo>
                      <a:pt x="150427" y="39993"/>
                      <a:pt x="155439" y="35141"/>
                      <a:pt x="161572" y="31941"/>
                    </a:cubicBezTo>
                    <a:cubicBezTo>
                      <a:pt x="167704" y="28742"/>
                      <a:pt x="174210" y="27142"/>
                      <a:pt x="181035" y="27142"/>
                    </a:cubicBezTo>
                    <a:cubicBezTo>
                      <a:pt x="192766" y="27142"/>
                      <a:pt x="202258" y="31034"/>
                      <a:pt x="209617" y="38820"/>
                    </a:cubicBezTo>
                    <a:cubicBezTo>
                      <a:pt x="216975" y="46605"/>
                      <a:pt x="220601" y="57377"/>
                      <a:pt x="220601" y="71134"/>
                    </a:cubicBezTo>
                    <a:lnTo>
                      <a:pt x="220441" y="189034"/>
                    </a:lnTo>
                    <a:lnTo>
                      <a:pt x="250783" y="189034"/>
                    </a:lnTo>
                    <a:lnTo>
                      <a:pt x="250943" y="64522"/>
                    </a:lnTo>
                    <a:cubicBezTo>
                      <a:pt x="250943" y="44952"/>
                      <a:pt x="245450" y="29328"/>
                      <a:pt x="234412" y="17597"/>
                    </a:cubicBezTo>
                    <a:cubicBezTo>
                      <a:pt x="223374" y="5812"/>
                      <a:pt x="208230" y="0"/>
                      <a:pt x="189034" y="0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" name="Gráfico 8">
                <a:extLst>
                  <a:ext uri="{FF2B5EF4-FFF2-40B4-BE49-F238E27FC236}">
                    <a16:creationId xmlns:a16="http://schemas.microsoft.com/office/drawing/2014/main" id="{14244CDF-2F96-4DC4-9800-5C5F757A8656}"/>
                  </a:ext>
                </a:extLst>
              </p:cNvPr>
              <p:cNvSpPr/>
              <p:nvPr/>
            </p:nvSpPr>
            <p:spPr>
              <a:xfrm>
                <a:off x="2634535" y="5915844"/>
                <a:ext cx="164771" cy="184234"/>
              </a:xfrm>
              <a:custGeom>
                <a:avLst/>
                <a:gdLst>
                  <a:gd name="connsiteX0" fmla="*/ 82385 w 164771"/>
                  <a:gd name="connsiteY0" fmla="*/ 145521 h 184234"/>
                  <a:gd name="connsiteX1" fmla="*/ 30715 w 164771"/>
                  <a:gd name="connsiteY1" fmla="*/ 0 h 184234"/>
                  <a:gd name="connsiteX2" fmla="*/ 0 w 164771"/>
                  <a:gd name="connsiteY2" fmla="*/ 0 h 184234"/>
                  <a:gd name="connsiteX3" fmla="*/ 66868 w 164771"/>
                  <a:gd name="connsiteY3" fmla="*/ 184235 h 184234"/>
                  <a:gd name="connsiteX4" fmla="*/ 97903 w 164771"/>
                  <a:gd name="connsiteY4" fmla="*/ 184235 h 184234"/>
                  <a:gd name="connsiteX5" fmla="*/ 164771 w 164771"/>
                  <a:gd name="connsiteY5" fmla="*/ 0 h 184234"/>
                  <a:gd name="connsiteX6" fmla="*/ 133897 w 164771"/>
                  <a:gd name="connsiteY6" fmla="*/ 0 h 18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771" h="184234">
                    <a:moveTo>
                      <a:pt x="82385" y="145521"/>
                    </a:moveTo>
                    <a:lnTo>
                      <a:pt x="30715" y="0"/>
                    </a:lnTo>
                    <a:lnTo>
                      <a:pt x="0" y="0"/>
                    </a:lnTo>
                    <a:lnTo>
                      <a:pt x="66868" y="184235"/>
                    </a:lnTo>
                    <a:lnTo>
                      <a:pt x="97903" y="184235"/>
                    </a:lnTo>
                    <a:lnTo>
                      <a:pt x="164771" y="0"/>
                    </a:lnTo>
                    <a:lnTo>
                      <a:pt x="133897" y="0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" name="Gráfico 8">
                <a:extLst>
                  <a:ext uri="{FF2B5EF4-FFF2-40B4-BE49-F238E27FC236}">
                    <a16:creationId xmlns:a16="http://schemas.microsoft.com/office/drawing/2014/main" id="{EF5FFD40-D549-4C59-88D0-54BAE69A4822}"/>
                  </a:ext>
                </a:extLst>
              </p:cNvPr>
              <p:cNvSpPr/>
              <p:nvPr/>
            </p:nvSpPr>
            <p:spPr>
              <a:xfrm>
                <a:off x="2809491" y="5910725"/>
                <a:ext cx="157785" cy="194419"/>
              </a:xfrm>
              <a:custGeom>
                <a:avLst/>
                <a:gdLst>
                  <a:gd name="connsiteX0" fmla="*/ 151867 w 157785"/>
                  <a:gd name="connsiteY0" fmla="*/ 35994 h 194419"/>
                  <a:gd name="connsiteX1" fmla="*/ 126005 w 157785"/>
                  <a:gd name="connsiteY1" fmla="*/ 8958 h 194419"/>
                  <a:gd name="connsiteX2" fmla="*/ 82919 w 157785"/>
                  <a:gd name="connsiteY2" fmla="*/ 0 h 194419"/>
                  <a:gd name="connsiteX3" fmla="*/ 32581 w 157785"/>
                  <a:gd name="connsiteY3" fmla="*/ 13811 h 194419"/>
                  <a:gd name="connsiteX4" fmla="*/ 6825 w 157785"/>
                  <a:gd name="connsiteY4" fmla="*/ 51831 h 194419"/>
                  <a:gd name="connsiteX5" fmla="*/ 35674 w 157785"/>
                  <a:gd name="connsiteY5" fmla="*/ 60523 h 194419"/>
                  <a:gd name="connsiteX6" fmla="*/ 53324 w 157785"/>
                  <a:gd name="connsiteY6" fmla="*/ 35940 h 194419"/>
                  <a:gd name="connsiteX7" fmla="*/ 82599 w 157785"/>
                  <a:gd name="connsiteY7" fmla="*/ 28262 h 194419"/>
                  <a:gd name="connsiteX8" fmla="*/ 118059 w 157785"/>
                  <a:gd name="connsiteY8" fmla="*/ 40100 h 194419"/>
                  <a:gd name="connsiteX9" fmla="*/ 127871 w 157785"/>
                  <a:gd name="connsiteY9" fmla="*/ 71561 h 194419"/>
                  <a:gd name="connsiteX10" fmla="*/ 107448 w 157785"/>
                  <a:gd name="connsiteY10" fmla="*/ 74334 h 194419"/>
                  <a:gd name="connsiteX11" fmla="*/ 74547 w 157785"/>
                  <a:gd name="connsiteY11" fmla="*/ 79186 h 194419"/>
                  <a:gd name="connsiteX12" fmla="*/ 45219 w 157785"/>
                  <a:gd name="connsiteY12" fmla="*/ 85425 h 194419"/>
                  <a:gd name="connsiteX13" fmla="*/ 21063 w 157785"/>
                  <a:gd name="connsiteY13" fmla="*/ 96676 h 194419"/>
                  <a:gd name="connsiteX14" fmla="*/ 5439 w 157785"/>
                  <a:gd name="connsiteY14" fmla="*/ 114433 h 194419"/>
                  <a:gd name="connsiteX15" fmla="*/ 0 w 157785"/>
                  <a:gd name="connsiteY15" fmla="*/ 139496 h 194419"/>
                  <a:gd name="connsiteX16" fmla="*/ 7092 w 157785"/>
                  <a:gd name="connsiteY16" fmla="*/ 166797 h 194419"/>
                  <a:gd name="connsiteX17" fmla="*/ 28048 w 157785"/>
                  <a:gd name="connsiteY17" fmla="*/ 186847 h 194419"/>
                  <a:gd name="connsiteX18" fmla="*/ 62602 w 157785"/>
                  <a:gd name="connsiteY18" fmla="*/ 194419 h 194419"/>
                  <a:gd name="connsiteX19" fmla="*/ 107981 w 157785"/>
                  <a:gd name="connsiteY19" fmla="*/ 183061 h 194419"/>
                  <a:gd name="connsiteX20" fmla="*/ 130857 w 157785"/>
                  <a:gd name="connsiteY20" fmla="*/ 160612 h 194419"/>
                  <a:gd name="connsiteX21" fmla="*/ 130857 w 157785"/>
                  <a:gd name="connsiteY21" fmla="*/ 189300 h 194419"/>
                  <a:gd name="connsiteX22" fmla="*/ 157786 w 157785"/>
                  <a:gd name="connsiteY22" fmla="*/ 189300 h 194419"/>
                  <a:gd name="connsiteX23" fmla="*/ 157786 w 157785"/>
                  <a:gd name="connsiteY23" fmla="*/ 75347 h 194419"/>
                  <a:gd name="connsiteX24" fmla="*/ 156773 w 157785"/>
                  <a:gd name="connsiteY24" fmla="*/ 54444 h 194419"/>
                  <a:gd name="connsiteX25" fmla="*/ 151867 w 157785"/>
                  <a:gd name="connsiteY25" fmla="*/ 35994 h 194419"/>
                  <a:gd name="connsiteX26" fmla="*/ 124565 w 157785"/>
                  <a:gd name="connsiteY26" fmla="*/ 126591 h 194419"/>
                  <a:gd name="connsiteX27" fmla="*/ 115020 w 157785"/>
                  <a:gd name="connsiteY27" fmla="*/ 147654 h 194419"/>
                  <a:gd name="connsiteX28" fmla="*/ 95663 w 157785"/>
                  <a:gd name="connsiteY28" fmla="*/ 163171 h 194419"/>
                  <a:gd name="connsiteX29" fmla="*/ 67241 w 157785"/>
                  <a:gd name="connsiteY29" fmla="*/ 169037 h 194419"/>
                  <a:gd name="connsiteX30" fmla="*/ 46019 w 157785"/>
                  <a:gd name="connsiteY30" fmla="*/ 164771 h 194419"/>
                  <a:gd name="connsiteX31" fmla="*/ 34074 w 157785"/>
                  <a:gd name="connsiteY31" fmla="*/ 153680 h 194419"/>
                  <a:gd name="connsiteX32" fmla="*/ 30235 w 157785"/>
                  <a:gd name="connsiteY32" fmla="*/ 139336 h 194419"/>
                  <a:gd name="connsiteX33" fmla="*/ 34234 w 157785"/>
                  <a:gd name="connsiteY33" fmla="*/ 124938 h 194419"/>
                  <a:gd name="connsiteX34" fmla="*/ 44792 w 157785"/>
                  <a:gd name="connsiteY34" fmla="*/ 115233 h 194419"/>
                  <a:gd name="connsiteX35" fmla="*/ 58870 w 157785"/>
                  <a:gd name="connsiteY35" fmla="*/ 108994 h 194419"/>
                  <a:gd name="connsiteX36" fmla="*/ 81799 w 157785"/>
                  <a:gd name="connsiteY36" fmla="*/ 104035 h 194419"/>
                  <a:gd name="connsiteX37" fmla="*/ 108941 w 157785"/>
                  <a:gd name="connsiteY37" fmla="*/ 100089 h 194419"/>
                  <a:gd name="connsiteX38" fmla="*/ 127551 w 157785"/>
                  <a:gd name="connsiteY38" fmla="*/ 97476 h 194419"/>
                  <a:gd name="connsiteX39" fmla="*/ 127284 w 157785"/>
                  <a:gd name="connsiteY39" fmla="*/ 107608 h 194419"/>
                  <a:gd name="connsiteX40" fmla="*/ 124565 w 157785"/>
                  <a:gd name="connsiteY40" fmla="*/ 126591 h 19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57785" h="194419">
                    <a:moveTo>
                      <a:pt x="151867" y="35994"/>
                    </a:moveTo>
                    <a:cubicBezTo>
                      <a:pt x="146641" y="23942"/>
                      <a:pt x="138003" y="14931"/>
                      <a:pt x="126005" y="8958"/>
                    </a:cubicBezTo>
                    <a:cubicBezTo>
                      <a:pt x="114007" y="2986"/>
                      <a:pt x="99663" y="0"/>
                      <a:pt x="82919" y="0"/>
                    </a:cubicBezTo>
                    <a:cubicBezTo>
                      <a:pt x="62122" y="0"/>
                      <a:pt x="45325" y="4586"/>
                      <a:pt x="32581" y="13811"/>
                    </a:cubicBezTo>
                    <a:cubicBezTo>
                      <a:pt x="19837" y="23036"/>
                      <a:pt x="11251" y="35727"/>
                      <a:pt x="6825" y="51831"/>
                    </a:cubicBezTo>
                    <a:lnTo>
                      <a:pt x="35674" y="60523"/>
                    </a:lnTo>
                    <a:cubicBezTo>
                      <a:pt x="39086" y="49271"/>
                      <a:pt x="44952" y="41060"/>
                      <a:pt x="53324" y="35940"/>
                    </a:cubicBezTo>
                    <a:cubicBezTo>
                      <a:pt x="61696" y="30821"/>
                      <a:pt x="71454" y="28262"/>
                      <a:pt x="82599" y="28262"/>
                    </a:cubicBezTo>
                    <a:cubicBezTo>
                      <a:pt x="99449" y="28262"/>
                      <a:pt x="111287" y="32208"/>
                      <a:pt x="118059" y="40100"/>
                    </a:cubicBezTo>
                    <a:cubicBezTo>
                      <a:pt x="124192" y="47192"/>
                      <a:pt x="127444" y="57697"/>
                      <a:pt x="127871" y="71561"/>
                    </a:cubicBezTo>
                    <a:cubicBezTo>
                      <a:pt x="121312" y="72467"/>
                      <a:pt x="114593" y="73374"/>
                      <a:pt x="107448" y="74334"/>
                    </a:cubicBezTo>
                    <a:cubicBezTo>
                      <a:pt x="96303" y="75827"/>
                      <a:pt x="85318" y="77426"/>
                      <a:pt x="74547" y="79186"/>
                    </a:cubicBezTo>
                    <a:cubicBezTo>
                      <a:pt x="63775" y="80946"/>
                      <a:pt x="53964" y="83026"/>
                      <a:pt x="45219" y="85425"/>
                    </a:cubicBezTo>
                    <a:cubicBezTo>
                      <a:pt x="35887" y="88145"/>
                      <a:pt x="27835" y="91877"/>
                      <a:pt x="21063" y="96676"/>
                    </a:cubicBezTo>
                    <a:cubicBezTo>
                      <a:pt x="14291" y="101476"/>
                      <a:pt x="9065" y="107341"/>
                      <a:pt x="5439" y="114433"/>
                    </a:cubicBezTo>
                    <a:cubicBezTo>
                      <a:pt x="1813" y="121472"/>
                      <a:pt x="0" y="129844"/>
                      <a:pt x="0" y="139496"/>
                    </a:cubicBezTo>
                    <a:cubicBezTo>
                      <a:pt x="0" y="149414"/>
                      <a:pt x="2346" y="158479"/>
                      <a:pt x="7092" y="166797"/>
                    </a:cubicBezTo>
                    <a:cubicBezTo>
                      <a:pt x="11785" y="175116"/>
                      <a:pt x="18823" y="181782"/>
                      <a:pt x="28048" y="186847"/>
                    </a:cubicBezTo>
                    <a:cubicBezTo>
                      <a:pt x="37273" y="191913"/>
                      <a:pt x="48845" y="194419"/>
                      <a:pt x="62602" y="194419"/>
                    </a:cubicBezTo>
                    <a:cubicBezTo>
                      <a:pt x="80359" y="194419"/>
                      <a:pt x="95450" y="190633"/>
                      <a:pt x="107981" y="183061"/>
                    </a:cubicBezTo>
                    <a:cubicBezTo>
                      <a:pt x="117099" y="177569"/>
                      <a:pt x="124672" y="170050"/>
                      <a:pt x="130857" y="160612"/>
                    </a:cubicBezTo>
                    <a:lnTo>
                      <a:pt x="130857" y="189300"/>
                    </a:lnTo>
                    <a:lnTo>
                      <a:pt x="157786" y="189300"/>
                    </a:lnTo>
                    <a:lnTo>
                      <a:pt x="157786" y="75347"/>
                    </a:lnTo>
                    <a:cubicBezTo>
                      <a:pt x="157786" y="68041"/>
                      <a:pt x="157466" y="61109"/>
                      <a:pt x="156773" y="54444"/>
                    </a:cubicBezTo>
                    <a:cubicBezTo>
                      <a:pt x="156133" y="47832"/>
                      <a:pt x="154480" y="41699"/>
                      <a:pt x="151867" y="35994"/>
                    </a:cubicBezTo>
                    <a:close/>
                    <a:moveTo>
                      <a:pt x="124565" y="126591"/>
                    </a:moveTo>
                    <a:cubicBezTo>
                      <a:pt x="123072" y="134216"/>
                      <a:pt x="119872" y="141255"/>
                      <a:pt x="115020" y="147654"/>
                    </a:cubicBezTo>
                    <a:cubicBezTo>
                      <a:pt x="110114" y="154106"/>
                      <a:pt x="103662" y="159279"/>
                      <a:pt x="95663" y="163171"/>
                    </a:cubicBezTo>
                    <a:cubicBezTo>
                      <a:pt x="87665" y="167117"/>
                      <a:pt x="78173" y="169037"/>
                      <a:pt x="67241" y="169037"/>
                    </a:cubicBezTo>
                    <a:cubicBezTo>
                      <a:pt x="58496" y="169037"/>
                      <a:pt x="51404" y="167597"/>
                      <a:pt x="46019" y="164771"/>
                    </a:cubicBezTo>
                    <a:cubicBezTo>
                      <a:pt x="40633" y="161945"/>
                      <a:pt x="36634" y="158212"/>
                      <a:pt x="34074" y="153680"/>
                    </a:cubicBezTo>
                    <a:cubicBezTo>
                      <a:pt x="31515" y="149147"/>
                      <a:pt x="30235" y="144348"/>
                      <a:pt x="30235" y="139336"/>
                    </a:cubicBezTo>
                    <a:cubicBezTo>
                      <a:pt x="30235" y="133630"/>
                      <a:pt x="31568" y="128831"/>
                      <a:pt x="34234" y="124938"/>
                    </a:cubicBezTo>
                    <a:cubicBezTo>
                      <a:pt x="36900" y="120992"/>
                      <a:pt x="40420" y="117793"/>
                      <a:pt x="44792" y="115233"/>
                    </a:cubicBezTo>
                    <a:cubicBezTo>
                      <a:pt x="49165" y="112674"/>
                      <a:pt x="53857" y="110594"/>
                      <a:pt x="58870" y="108994"/>
                    </a:cubicBezTo>
                    <a:cubicBezTo>
                      <a:pt x="65695" y="107075"/>
                      <a:pt x="73321" y="105422"/>
                      <a:pt x="81799" y="104035"/>
                    </a:cubicBezTo>
                    <a:cubicBezTo>
                      <a:pt x="90278" y="102649"/>
                      <a:pt x="99289" y="101369"/>
                      <a:pt x="108941" y="100089"/>
                    </a:cubicBezTo>
                    <a:cubicBezTo>
                      <a:pt x="115073" y="99289"/>
                      <a:pt x="121312" y="98383"/>
                      <a:pt x="127551" y="97476"/>
                    </a:cubicBezTo>
                    <a:cubicBezTo>
                      <a:pt x="127498" y="100409"/>
                      <a:pt x="127391" y="103715"/>
                      <a:pt x="127284" y="107608"/>
                    </a:cubicBezTo>
                    <a:cubicBezTo>
                      <a:pt x="127071" y="114593"/>
                      <a:pt x="126165" y="120885"/>
                      <a:pt x="124565" y="126591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" name="Gráfico 8">
                <a:extLst>
                  <a:ext uri="{FF2B5EF4-FFF2-40B4-BE49-F238E27FC236}">
                    <a16:creationId xmlns:a16="http://schemas.microsoft.com/office/drawing/2014/main" id="{E590DB0A-5B92-4CC4-8106-8CF5C48FB6F5}"/>
                  </a:ext>
                </a:extLst>
              </p:cNvPr>
              <p:cNvSpPr/>
              <p:nvPr/>
            </p:nvSpPr>
            <p:spPr>
              <a:xfrm>
                <a:off x="3015108" y="5849295"/>
                <a:ext cx="30341" cy="250782"/>
              </a:xfrm>
              <a:custGeom>
                <a:avLst/>
                <a:gdLst>
                  <a:gd name="connsiteX0" fmla="*/ 0 w 30341"/>
                  <a:gd name="connsiteY0" fmla="*/ 0 h 250782"/>
                  <a:gd name="connsiteX1" fmla="*/ 30341 w 30341"/>
                  <a:gd name="connsiteY1" fmla="*/ 0 h 250782"/>
                  <a:gd name="connsiteX2" fmla="*/ 30341 w 30341"/>
                  <a:gd name="connsiteY2" fmla="*/ 250783 h 250782"/>
                  <a:gd name="connsiteX3" fmla="*/ 0 w 30341"/>
                  <a:gd name="connsiteY3" fmla="*/ 250783 h 250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341" h="250782">
                    <a:moveTo>
                      <a:pt x="0" y="0"/>
                    </a:moveTo>
                    <a:lnTo>
                      <a:pt x="30341" y="0"/>
                    </a:lnTo>
                    <a:lnTo>
                      <a:pt x="30341" y="250783"/>
                    </a:lnTo>
                    <a:lnTo>
                      <a:pt x="0" y="250783"/>
                    </a:ln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" name="Gráfico 8">
                <a:extLst>
                  <a:ext uri="{FF2B5EF4-FFF2-40B4-BE49-F238E27FC236}">
                    <a16:creationId xmlns:a16="http://schemas.microsoft.com/office/drawing/2014/main" id="{3019B6AF-DBEE-46EA-9530-FB5A4B2A84A5}"/>
                  </a:ext>
                </a:extLst>
              </p:cNvPr>
              <p:cNvSpPr/>
              <p:nvPr/>
            </p:nvSpPr>
            <p:spPr>
              <a:xfrm>
                <a:off x="3086349" y="5910725"/>
                <a:ext cx="177568" cy="194579"/>
              </a:xfrm>
              <a:custGeom>
                <a:avLst/>
                <a:gdLst>
                  <a:gd name="connsiteX0" fmla="*/ 136349 w 177568"/>
                  <a:gd name="connsiteY0" fmla="*/ 12478 h 194579"/>
                  <a:gd name="connsiteX1" fmla="*/ 88731 w 177568"/>
                  <a:gd name="connsiteY1" fmla="*/ 0 h 194579"/>
                  <a:gd name="connsiteX2" fmla="*/ 41806 w 177568"/>
                  <a:gd name="connsiteY2" fmla="*/ 12211 h 194579"/>
                  <a:gd name="connsiteX3" fmla="*/ 10931 w 177568"/>
                  <a:gd name="connsiteY3" fmla="*/ 46339 h 194579"/>
                  <a:gd name="connsiteX4" fmla="*/ 0 w 177568"/>
                  <a:gd name="connsiteY4" fmla="*/ 97103 h 194579"/>
                  <a:gd name="connsiteX5" fmla="*/ 10718 w 177568"/>
                  <a:gd name="connsiteY5" fmla="*/ 147708 h 194579"/>
                  <a:gd name="connsiteX6" fmla="*/ 41326 w 177568"/>
                  <a:gd name="connsiteY6" fmla="*/ 182101 h 194579"/>
                  <a:gd name="connsiteX7" fmla="*/ 88678 w 177568"/>
                  <a:gd name="connsiteY7" fmla="*/ 194579 h 194579"/>
                  <a:gd name="connsiteX8" fmla="*/ 136083 w 177568"/>
                  <a:gd name="connsiteY8" fmla="*/ 182208 h 194579"/>
                  <a:gd name="connsiteX9" fmla="*/ 166797 w 177568"/>
                  <a:gd name="connsiteY9" fmla="*/ 147921 h 194579"/>
                  <a:gd name="connsiteX10" fmla="*/ 177569 w 177568"/>
                  <a:gd name="connsiteY10" fmla="*/ 97156 h 194579"/>
                  <a:gd name="connsiteX11" fmla="*/ 166904 w 177568"/>
                  <a:gd name="connsiteY11" fmla="*/ 46818 h 194579"/>
                  <a:gd name="connsiteX12" fmla="*/ 136349 w 177568"/>
                  <a:gd name="connsiteY12" fmla="*/ 12478 h 194579"/>
                  <a:gd name="connsiteX13" fmla="*/ 131337 w 177568"/>
                  <a:gd name="connsiteY13" fmla="*/ 146534 h 194579"/>
                  <a:gd name="connsiteX14" fmla="*/ 88784 w 177568"/>
                  <a:gd name="connsiteY14" fmla="*/ 165624 h 194579"/>
                  <a:gd name="connsiteX15" fmla="*/ 46659 w 177568"/>
                  <a:gd name="connsiteY15" fmla="*/ 146854 h 194579"/>
                  <a:gd name="connsiteX16" fmla="*/ 32314 w 177568"/>
                  <a:gd name="connsiteY16" fmla="*/ 97050 h 194579"/>
                  <a:gd name="connsiteX17" fmla="*/ 38447 w 177568"/>
                  <a:gd name="connsiteY17" fmla="*/ 61589 h 194579"/>
                  <a:gd name="connsiteX18" fmla="*/ 57057 w 177568"/>
                  <a:gd name="connsiteY18" fmla="*/ 37540 h 194579"/>
                  <a:gd name="connsiteX19" fmla="*/ 88784 w 177568"/>
                  <a:gd name="connsiteY19" fmla="*/ 28848 h 194579"/>
                  <a:gd name="connsiteX20" fmla="*/ 131284 w 177568"/>
                  <a:gd name="connsiteY20" fmla="*/ 47458 h 194579"/>
                  <a:gd name="connsiteX21" fmla="*/ 145468 w 177568"/>
                  <a:gd name="connsiteY21" fmla="*/ 97103 h 194579"/>
                  <a:gd name="connsiteX22" fmla="*/ 131337 w 177568"/>
                  <a:gd name="connsiteY22" fmla="*/ 146534 h 194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7568" h="194579">
                    <a:moveTo>
                      <a:pt x="136349" y="12478"/>
                    </a:moveTo>
                    <a:cubicBezTo>
                      <a:pt x="123018" y="4159"/>
                      <a:pt x="107181" y="0"/>
                      <a:pt x="88731" y="0"/>
                    </a:cubicBezTo>
                    <a:cubicBezTo>
                      <a:pt x="70761" y="0"/>
                      <a:pt x="55137" y="4053"/>
                      <a:pt x="41806" y="12211"/>
                    </a:cubicBezTo>
                    <a:cubicBezTo>
                      <a:pt x="28475" y="20370"/>
                      <a:pt x="18183" y="31728"/>
                      <a:pt x="10931" y="46339"/>
                    </a:cubicBezTo>
                    <a:cubicBezTo>
                      <a:pt x="3626" y="60949"/>
                      <a:pt x="0" y="77853"/>
                      <a:pt x="0" y="97103"/>
                    </a:cubicBezTo>
                    <a:cubicBezTo>
                      <a:pt x="0" y="116193"/>
                      <a:pt x="3573" y="133097"/>
                      <a:pt x="10718" y="147708"/>
                    </a:cubicBezTo>
                    <a:cubicBezTo>
                      <a:pt x="17863" y="162318"/>
                      <a:pt x="28102" y="173783"/>
                      <a:pt x="41326" y="182101"/>
                    </a:cubicBezTo>
                    <a:cubicBezTo>
                      <a:pt x="54550" y="190420"/>
                      <a:pt x="70334" y="194579"/>
                      <a:pt x="88678" y="194579"/>
                    </a:cubicBezTo>
                    <a:cubicBezTo>
                      <a:pt x="107021" y="194579"/>
                      <a:pt x="122805" y="190473"/>
                      <a:pt x="136083" y="182208"/>
                    </a:cubicBezTo>
                    <a:cubicBezTo>
                      <a:pt x="149414" y="173943"/>
                      <a:pt x="159652" y="162532"/>
                      <a:pt x="166797" y="147921"/>
                    </a:cubicBezTo>
                    <a:cubicBezTo>
                      <a:pt x="173943" y="133310"/>
                      <a:pt x="177569" y="116406"/>
                      <a:pt x="177569" y="97156"/>
                    </a:cubicBezTo>
                    <a:cubicBezTo>
                      <a:pt x="177569" y="78173"/>
                      <a:pt x="173996" y="61376"/>
                      <a:pt x="166904" y="46818"/>
                    </a:cubicBezTo>
                    <a:cubicBezTo>
                      <a:pt x="159865" y="32208"/>
                      <a:pt x="149680" y="20743"/>
                      <a:pt x="136349" y="12478"/>
                    </a:cubicBezTo>
                    <a:close/>
                    <a:moveTo>
                      <a:pt x="131337" y="146534"/>
                    </a:moveTo>
                    <a:cubicBezTo>
                      <a:pt x="121952" y="159279"/>
                      <a:pt x="107768" y="165624"/>
                      <a:pt x="88784" y="165624"/>
                    </a:cubicBezTo>
                    <a:cubicBezTo>
                      <a:pt x="70228" y="165624"/>
                      <a:pt x="56203" y="159385"/>
                      <a:pt x="46659" y="146854"/>
                    </a:cubicBezTo>
                    <a:cubicBezTo>
                      <a:pt x="37113" y="134323"/>
                      <a:pt x="32314" y="117739"/>
                      <a:pt x="32314" y="97050"/>
                    </a:cubicBezTo>
                    <a:cubicBezTo>
                      <a:pt x="32314" y="83612"/>
                      <a:pt x="34341" y="71827"/>
                      <a:pt x="38447" y="61589"/>
                    </a:cubicBezTo>
                    <a:cubicBezTo>
                      <a:pt x="42552" y="51351"/>
                      <a:pt x="48738" y="43352"/>
                      <a:pt x="57057" y="37540"/>
                    </a:cubicBezTo>
                    <a:cubicBezTo>
                      <a:pt x="65375" y="31728"/>
                      <a:pt x="75933" y="28848"/>
                      <a:pt x="88784" y="28848"/>
                    </a:cubicBezTo>
                    <a:cubicBezTo>
                      <a:pt x="107661" y="28848"/>
                      <a:pt x="121845" y="35034"/>
                      <a:pt x="131284" y="47458"/>
                    </a:cubicBezTo>
                    <a:cubicBezTo>
                      <a:pt x="140722" y="59883"/>
                      <a:pt x="145468" y="76413"/>
                      <a:pt x="145468" y="97103"/>
                    </a:cubicBezTo>
                    <a:cubicBezTo>
                      <a:pt x="145415" y="117313"/>
                      <a:pt x="140722" y="133790"/>
                      <a:pt x="131337" y="146534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" name="Gráfico 8">
                <a:extLst>
                  <a:ext uri="{FF2B5EF4-FFF2-40B4-BE49-F238E27FC236}">
                    <a16:creationId xmlns:a16="http://schemas.microsoft.com/office/drawing/2014/main" id="{84A41B51-6150-468C-8246-6D0E7676D4A2}"/>
                  </a:ext>
                </a:extLst>
              </p:cNvPr>
              <p:cNvSpPr/>
              <p:nvPr/>
            </p:nvSpPr>
            <p:spPr>
              <a:xfrm>
                <a:off x="3301511" y="5914583"/>
                <a:ext cx="95076" cy="185495"/>
              </a:xfrm>
              <a:custGeom>
                <a:avLst/>
                <a:gdLst>
                  <a:gd name="connsiteX0" fmla="*/ 77480 w 95076"/>
                  <a:gd name="connsiteY0" fmla="*/ 141 h 185495"/>
                  <a:gd name="connsiteX1" fmla="*/ 59030 w 95076"/>
                  <a:gd name="connsiteY1" fmla="*/ 3713 h 185495"/>
                  <a:gd name="connsiteX2" fmla="*/ 42819 w 95076"/>
                  <a:gd name="connsiteY2" fmla="*/ 12512 h 185495"/>
                  <a:gd name="connsiteX3" fmla="*/ 31141 w 95076"/>
                  <a:gd name="connsiteY3" fmla="*/ 24297 h 185495"/>
                  <a:gd name="connsiteX4" fmla="*/ 27142 w 95076"/>
                  <a:gd name="connsiteY4" fmla="*/ 30696 h 185495"/>
                  <a:gd name="connsiteX5" fmla="*/ 27142 w 95076"/>
                  <a:gd name="connsiteY5" fmla="*/ 1261 h 185495"/>
                  <a:gd name="connsiteX6" fmla="*/ 0 w 95076"/>
                  <a:gd name="connsiteY6" fmla="*/ 1261 h 185495"/>
                  <a:gd name="connsiteX7" fmla="*/ 0 w 95076"/>
                  <a:gd name="connsiteY7" fmla="*/ 185495 h 185495"/>
                  <a:gd name="connsiteX8" fmla="*/ 30555 w 95076"/>
                  <a:gd name="connsiteY8" fmla="*/ 185495 h 185495"/>
                  <a:gd name="connsiteX9" fmla="*/ 30555 w 95076"/>
                  <a:gd name="connsiteY9" fmla="*/ 93031 h 185495"/>
                  <a:gd name="connsiteX10" fmla="*/ 32421 w 95076"/>
                  <a:gd name="connsiteY10" fmla="*/ 71648 h 185495"/>
                  <a:gd name="connsiteX11" fmla="*/ 39140 w 95076"/>
                  <a:gd name="connsiteY11" fmla="*/ 52185 h 185495"/>
                  <a:gd name="connsiteX12" fmla="*/ 52897 w 95076"/>
                  <a:gd name="connsiteY12" fmla="*/ 36721 h 185495"/>
                  <a:gd name="connsiteX13" fmla="*/ 74067 w 95076"/>
                  <a:gd name="connsiteY13" fmla="*/ 28509 h 185495"/>
                  <a:gd name="connsiteX14" fmla="*/ 95077 w 95076"/>
                  <a:gd name="connsiteY14" fmla="*/ 29682 h 185495"/>
                  <a:gd name="connsiteX15" fmla="*/ 95077 w 95076"/>
                  <a:gd name="connsiteY15" fmla="*/ 1207 h 185495"/>
                  <a:gd name="connsiteX16" fmla="*/ 77480 w 95076"/>
                  <a:gd name="connsiteY16" fmla="*/ 141 h 18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5076" h="185495">
                    <a:moveTo>
                      <a:pt x="77480" y="141"/>
                    </a:moveTo>
                    <a:cubicBezTo>
                      <a:pt x="71241" y="567"/>
                      <a:pt x="65109" y="1740"/>
                      <a:pt x="59030" y="3713"/>
                    </a:cubicBezTo>
                    <a:cubicBezTo>
                      <a:pt x="52951" y="5687"/>
                      <a:pt x="47618" y="8619"/>
                      <a:pt x="42819" y="12512"/>
                    </a:cubicBezTo>
                    <a:cubicBezTo>
                      <a:pt x="38500" y="15605"/>
                      <a:pt x="34607" y="19497"/>
                      <a:pt x="31141" y="24297"/>
                    </a:cubicBezTo>
                    <a:cubicBezTo>
                      <a:pt x="29648" y="26323"/>
                      <a:pt x="28368" y="28509"/>
                      <a:pt x="27142" y="30696"/>
                    </a:cubicBezTo>
                    <a:lnTo>
                      <a:pt x="27142" y="1261"/>
                    </a:lnTo>
                    <a:lnTo>
                      <a:pt x="0" y="1261"/>
                    </a:lnTo>
                    <a:lnTo>
                      <a:pt x="0" y="185495"/>
                    </a:lnTo>
                    <a:lnTo>
                      <a:pt x="30555" y="185495"/>
                    </a:lnTo>
                    <a:lnTo>
                      <a:pt x="30555" y="93031"/>
                    </a:lnTo>
                    <a:cubicBezTo>
                      <a:pt x="30555" y="85779"/>
                      <a:pt x="31195" y="78634"/>
                      <a:pt x="32421" y="71648"/>
                    </a:cubicBezTo>
                    <a:cubicBezTo>
                      <a:pt x="33647" y="64663"/>
                      <a:pt x="35940" y="58157"/>
                      <a:pt x="39140" y="52185"/>
                    </a:cubicBezTo>
                    <a:cubicBezTo>
                      <a:pt x="42393" y="46213"/>
                      <a:pt x="46978" y="41094"/>
                      <a:pt x="52897" y="36721"/>
                    </a:cubicBezTo>
                    <a:cubicBezTo>
                      <a:pt x="59403" y="32082"/>
                      <a:pt x="66442" y="29309"/>
                      <a:pt x="74067" y="28509"/>
                    </a:cubicBezTo>
                    <a:cubicBezTo>
                      <a:pt x="81692" y="27709"/>
                      <a:pt x="88678" y="28136"/>
                      <a:pt x="95077" y="29682"/>
                    </a:cubicBezTo>
                    <a:lnTo>
                      <a:pt x="95077" y="1207"/>
                    </a:lnTo>
                    <a:cubicBezTo>
                      <a:pt x="89584" y="141"/>
                      <a:pt x="83719" y="-232"/>
                      <a:pt x="77480" y="141"/>
                    </a:cubicBezTo>
                    <a:close/>
                  </a:path>
                </a:pathLst>
              </a:custGeom>
              <a:grpFill/>
              <a:ln w="5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pic>
        <p:nvPicPr>
          <p:cNvPr id="5" name="Imagem 4" descr="Pessoa sorrindo com camisa branca&#10;&#10;Descrição gerada automaticamente">
            <a:extLst>
              <a:ext uri="{FF2B5EF4-FFF2-40B4-BE49-F238E27FC236}">
                <a16:creationId xmlns:a16="http://schemas.microsoft.com/office/drawing/2014/main" id="{15ED768B-5B6B-267B-A11B-643E04803A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038" y="725041"/>
            <a:ext cx="4732769" cy="613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1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AC366BA-D499-9B61-CBDB-C982FC5EF6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3990"/>
          <a:stretch/>
        </p:blipFill>
        <p:spPr>
          <a:xfrm rot="16200000">
            <a:off x="6215554" y="2119804"/>
            <a:ext cx="6150261" cy="3326129"/>
          </a:xfrm>
          <a:prstGeom prst="rect">
            <a:avLst/>
          </a:prstGeom>
        </p:spPr>
      </p:pic>
      <p:sp>
        <p:nvSpPr>
          <p:cNvPr id="2" name="Corda 29">
            <a:extLst>
              <a:ext uri="{FF2B5EF4-FFF2-40B4-BE49-F238E27FC236}">
                <a16:creationId xmlns:a16="http://schemas.microsoft.com/office/drawing/2014/main" id="{0769F920-9C78-3BF0-C85F-CF25BB8F4C93}"/>
              </a:ext>
            </a:extLst>
          </p:cNvPr>
          <p:cNvSpPr/>
          <p:nvPr/>
        </p:nvSpPr>
        <p:spPr>
          <a:xfrm flipH="1">
            <a:off x="-453593" y="1463126"/>
            <a:ext cx="968145" cy="968145"/>
          </a:xfrm>
          <a:prstGeom prst="chord">
            <a:avLst>
              <a:gd name="adj1" fmla="val 5164157"/>
              <a:gd name="adj2" fmla="val 1643835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aixaDeTexto 1">
            <a:extLst>
              <a:ext uri="{FF2B5EF4-FFF2-40B4-BE49-F238E27FC236}">
                <a16:creationId xmlns:a16="http://schemas.microsoft.com/office/drawing/2014/main" id="{0767A2DF-F656-873A-803E-38AE22E4DDDB}"/>
              </a:ext>
            </a:extLst>
          </p:cNvPr>
          <p:cNvSpPr txBox="1"/>
          <p:nvPr/>
        </p:nvSpPr>
        <p:spPr>
          <a:xfrm>
            <a:off x="455856" y="65808"/>
            <a:ext cx="53696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Segurança como compromisso da VLI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rgbClr val="0074C0"/>
              </a:solidFill>
              <a:effectLst/>
              <a:uLnTx/>
              <a:uFillTx/>
              <a:latin typeface="Manrope ExtraLight" pitchFamily="2" charset="0"/>
              <a:ea typeface="+mn-ea"/>
              <a:cs typeface="+mn-cs"/>
            </a:endParaRPr>
          </a:p>
        </p:txBody>
      </p:sp>
      <p:sp>
        <p:nvSpPr>
          <p:cNvPr id="4" name="CaixaDeTexto 1">
            <a:extLst>
              <a:ext uri="{FF2B5EF4-FFF2-40B4-BE49-F238E27FC236}">
                <a16:creationId xmlns:a16="http://schemas.microsoft.com/office/drawing/2014/main" id="{F84D9A02-39B0-66A6-6EC2-8ADEE25D5DC3}"/>
              </a:ext>
            </a:extLst>
          </p:cNvPr>
          <p:cNvSpPr txBox="1"/>
          <p:nvPr/>
        </p:nvSpPr>
        <p:spPr>
          <a:xfrm>
            <a:off x="349907" y="4758176"/>
            <a:ext cx="502673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37A19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segurança como elemento fundamental para as operaçõ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Tratada no Plano Diretor de Sustentabilidade e tema presente nos Compromissos ESG da companhia.</a:t>
            </a: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0074C0"/>
              </a:solidFill>
              <a:effectLst/>
              <a:uLnTx/>
              <a:uFillTx/>
              <a:latin typeface="Manrope ExtraLight" pitchFamily="2" charset="0"/>
              <a:ea typeface="+mn-ea"/>
              <a:cs typeface="+mn-cs"/>
            </a:endParaRPr>
          </a:p>
        </p:txBody>
      </p:sp>
      <p:pic>
        <p:nvPicPr>
          <p:cNvPr id="6" name="Picture 5" descr="A person wearing a hard hat and glasses&#10;&#10;Description automatically generated">
            <a:extLst>
              <a:ext uri="{FF2B5EF4-FFF2-40B4-BE49-F238E27FC236}">
                <a16:creationId xmlns:a16="http://schemas.microsoft.com/office/drawing/2014/main" id="{CAEF9960-5077-83FF-E440-21F18599BA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641" y="0"/>
            <a:ext cx="5934517" cy="6858000"/>
          </a:xfrm>
          <a:prstGeom prst="rect">
            <a:avLst/>
          </a:prstGeom>
        </p:spPr>
      </p:pic>
      <p:sp>
        <p:nvSpPr>
          <p:cNvPr id="7" name="TextBox 11">
            <a:extLst>
              <a:ext uri="{FF2B5EF4-FFF2-40B4-BE49-F238E27FC236}">
                <a16:creationId xmlns:a16="http://schemas.microsoft.com/office/drawing/2014/main" id="{FBF87C98-4EDB-B432-0DA0-6FBAD350A356}"/>
              </a:ext>
            </a:extLst>
          </p:cNvPr>
          <p:cNvSpPr txBox="1"/>
          <p:nvPr/>
        </p:nvSpPr>
        <p:spPr>
          <a:xfrm>
            <a:off x="1462028" y="1463126"/>
            <a:ext cx="3044331" cy="126188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pt-BR" sz="2000" b="1" cap="all" spc="150" dirty="0">
                <a:solidFill>
                  <a:srgbClr val="0681E5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CUIDADO Genuíno: </a:t>
            </a:r>
          </a:p>
          <a:p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É um valor para VLI.</a:t>
            </a:r>
          </a:p>
          <a:p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P</a:t>
            </a:r>
            <a:r>
              <a:rPr lang="pt-BR" sz="14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anrope" pitchFamily="2" charset="0"/>
              </a:rPr>
              <a:t>raticamos</a:t>
            </a:r>
            <a:r>
              <a:rPr lang="pt-B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Manrope" pitchFamily="2" charset="0"/>
              </a:rPr>
              <a:t> segurança e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 cultivamos o respeito e o bem-estar de todos.</a:t>
            </a:r>
            <a:endParaRPr lang="pt-BR" sz="2000" b="1" i="1" cap="all" spc="150" dirty="0">
              <a:solidFill>
                <a:schemeClr val="tx1">
                  <a:lumMod val="65000"/>
                  <a:lumOff val="35000"/>
                </a:schemeClr>
              </a:solidFill>
              <a:latin typeface="Manrope ExtraBold" pitchFamily="2" charset="0"/>
              <a:ea typeface="Open Sans ExtraBold" panose="020B09060308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7919DA44-9212-07E0-A3AD-63F7A1E2536A}"/>
              </a:ext>
            </a:extLst>
          </p:cNvPr>
          <p:cNvSpPr txBox="1"/>
          <p:nvPr/>
        </p:nvSpPr>
        <p:spPr>
          <a:xfrm>
            <a:off x="1459486" y="3221616"/>
            <a:ext cx="3244768" cy="126188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cap="all" spc="150" dirty="0">
                <a:solidFill>
                  <a:srgbClr val="0681E5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AÇÕES ODS 3 </a:t>
            </a:r>
          </a:p>
          <a:p>
            <a:pPr lvl="0">
              <a:defRPr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Manrope" pitchFamily="2" charset="0"/>
              </a:rPr>
              <a:t>Medidas como pontos de passagem seguros e outras formas de ordenamento do trânsito são fundamentais para reduzir o risco de lesões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CF3109E4-C96A-AFBB-3004-1D7A2AD8C182}"/>
              </a:ext>
            </a:extLst>
          </p:cNvPr>
          <p:cNvSpPr/>
          <p:nvPr/>
        </p:nvSpPr>
        <p:spPr>
          <a:xfrm>
            <a:off x="1152144" y="1266137"/>
            <a:ext cx="309884" cy="168080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1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F3F205FE-D879-86B0-D1A6-E707FD1DA6B9}"/>
              </a:ext>
            </a:extLst>
          </p:cNvPr>
          <p:cNvSpPr/>
          <p:nvPr/>
        </p:nvSpPr>
        <p:spPr>
          <a:xfrm>
            <a:off x="1149602" y="3012156"/>
            <a:ext cx="309884" cy="168080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8175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1.85185E-6 L -2.91667E-6 0.0618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7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3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3" grpId="1"/>
      <p:bldP spid="4" grpId="0"/>
      <p:bldP spid="4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1B8766-5CEB-A6CB-1FD2-FD9C6C04D7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E27547E-F24F-65E2-A31E-428B4F69D55E}"/>
              </a:ext>
            </a:extLst>
          </p:cNvPr>
          <p:cNvSpPr/>
          <p:nvPr/>
        </p:nvSpPr>
        <p:spPr>
          <a:xfrm>
            <a:off x="0" y="-48126"/>
            <a:ext cx="12192000" cy="6906126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94B6B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Agrupar 2" hidden="1">
            <a:extLst>
              <a:ext uri="{FF2B5EF4-FFF2-40B4-BE49-F238E27FC236}">
                <a16:creationId xmlns:a16="http://schemas.microsoft.com/office/drawing/2014/main" id="{E368797E-F55B-1928-C56B-8F232BFEFF9B}"/>
              </a:ext>
            </a:extLst>
          </p:cNvPr>
          <p:cNvGrpSpPr/>
          <p:nvPr/>
        </p:nvGrpSpPr>
        <p:grpSpPr>
          <a:xfrm rot="18900000" flipH="1" flipV="1">
            <a:off x="-8644907" y="8951072"/>
            <a:ext cx="11241948" cy="3550089"/>
            <a:chOff x="-6096000" y="1143000"/>
            <a:chExt cx="14478000" cy="4572000"/>
          </a:xfrm>
        </p:grpSpPr>
        <p:sp>
          <p:nvSpPr>
            <p:cNvPr id="4" name="Gráfico 6">
              <a:extLst>
                <a:ext uri="{FF2B5EF4-FFF2-40B4-BE49-F238E27FC236}">
                  <a16:creationId xmlns:a16="http://schemas.microsoft.com/office/drawing/2014/main" id="{0CDA607C-D7EF-5900-79F4-A10812DDFA38}"/>
                </a:ext>
              </a:extLst>
            </p:cNvPr>
            <p:cNvSpPr/>
            <p:nvPr/>
          </p:nvSpPr>
          <p:spPr>
            <a:xfrm>
              <a:off x="-6096000" y="1167732"/>
              <a:ext cx="12194071" cy="4522535"/>
            </a:xfrm>
            <a:custGeom>
              <a:avLst/>
              <a:gdLst>
                <a:gd name="connsiteX0" fmla="*/ 0 w 12194072"/>
                <a:gd name="connsiteY0" fmla="*/ 0 h 4522535"/>
                <a:gd name="connsiteX1" fmla="*/ 12194073 w 12194072"/>
                <a:gd name="connsiteY1" fmla="*/ 0 h 4522535"/>
                <a:gd name="connsiteX2" fmla="*/ 12194073 w 12194072"/>
                <a:gd name="connsiteY2" fmla="*/ 4522535 h 4522535"/>
                <a:gd name="connsiteX3" fmla="*/ 0 w 12194072"/>
                <a:gd name="connsiteY3" fmla="*/ 4522535 h 452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4072" h="4522535">
                  <a:moveTo>
                    <a:pt x="0" y="0"/>
                  </a:moveTo>
                  <a:lnTo>
                    <a:pt x="12194073" y="0"/>
                  </a:lnTo>
                  <a:lnTo>
                    <a:pt x="12194073" y="4522535"/>
                  </a:lnTo>
                  <a:lnTo>
                    <a:pt x="0" y="4522535"/>
                  </a:lnTo>
                  <a:close/>
                </a:path>
              </a:pathLst>
            </a:custGeom>
            <a:gradFill flip="none" rotWithShape="1">
              <a:gsLst>
                <a:gs pos="85000">
                  <a:srgbClr val="94B6BC"/>
                </a:gs>
                <a:gs pos="24000">
                  <a:schemeClr val="bg1">
                    <a:alpha val="0"/>
                  </a:schemeClr>
                </a:gs>
              </a:gsLst>
              <a:lin ang="600000" scaled="0"/>
              <a:tileRect/>
            </a:gradFill>
            <a:ln w="730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" name="Gráfico 4">
              <a:extLst>
                <a:ext uri="{FF2B5EF4-FFF2-40B4-BE49-F238E27FC236}">
                  <a16:creationId xmlns:a16="http://schemas.microsoft.com/office/drawing/2014/main" id="{BB93EFB8-8090-BB6F-070C-5678D285F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10000" y="1143000"/>
              <a:ext cx="4572000" cy="4572000"/>
            </a:xfrm>
            <a:prstGeom prst="rect">
              <a:avLst/>
            </a:prstGeom>
          </p:spPr>
        </p:pic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75BD8E9-B503-746B-1BB1-357A3EB6F1B0}"/>
              </a:ext>
            </a:extLst>
          </p:cNvPr>
          <p:cNvGrpSpPr/>
          <p:nvPr/>
        </p:nvGrpSpPr>
        <p:grpSpPr>
          <a:xfrm>
            <a:off x="2742932" y="677377"/>
            <a:ext cx="6248310" cy="6180623"/>
            <a:chOff x="2421394" y="140237"/>
            <a:chExt cx="6287328" cy="6420209"/>
          </a:xfrm>
        </p:grpSpPr>
        <p:sp>
          <p:nvSpPr>
            <p:cNvPr id="7" name="Freeform: MA">
              <a:hlinkClick r:id="" action="ppaction://noaction"/>
              <a:extLst>
                <a:ext uri="{FF2B5EF4-FFF2-40B4-BE49-F238E27FC236}">
                  <a16:creationId xmlns:a16="http://schemas.microsoft.com/office/drawing/2014/main" id="{BB652D14-07BB-D3AB-AA2D-D98BE070E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0237" y="1235965"/>
              <a:ext cx="1101466" cy="1492745"/>
            </a:xfrm>
            <a:custGeom>
              <a:avLst/>
              <a:gdLst>
                <a:gd name="connsiteX0" fmla="*/ 421864 w 1101222"/>
                <a:gd name="connsiteY0" fmla="*/ 0 h 1551875"/>
                <a:gd name="connsiteX1" fmla="*/ 457415 w 1101222"/>
                <a:gd name="connsiteY1" fmla="*/ 10299 h 1551875"/>
                <a:gd name="connsiteX2" fmla="*/ 500032 w 1101222"/>
                <a:gd name="connsiteY2" fmla="*/ 23980 h 1551875"/>
                <a:gd name="connsiteX3" fmla="*/ 525095 w 1101222"/>
                <a:gd name="connsiteY3" fmla="*/ 35816 h 1551875"/>
                <a:gd name="connsiteX4" fmla="*/ 540110 w 1101222"/>
                <a:gd name="connsiteY4" fmla="*/ 31205 h 1551875"/>
                <a:gd name="connsiteX5" fmla="*/ 545741 w 1101222"/>
                <a:gd name="connsiteY5" fmla="*/ 46115 h 1551875"/>
                <a:gd name="connsiteX6" fmla="*/ 553580 w 1101222"/>
                <a:gd name="connsiteY6" fmla="*/ 82392 h 1551875"/>
                <a:gd name="connsiteX7" fmla="*/ 568153 w 1101222"/>
                <a:gd name="connsiteY7" fmla="*/ 82392 h 1551875"/>
                <a:gd name="connsiteX8" fmla="*/ 585708 w 1101222"/>
                <a:gd name="connsiteY8" fmla="*/ 59796 h 1551875"/>
                <a:gd name="connsiteX9" fmla="*/ 641905 w 1101222"/>
                <a:gd name="connsiteY9" fmla="*/ 77781 h 1551875"/>
                <a:gd name="connsiteX10" fmla="*/ 684522 w 1101222"/>
                <a:gd name="connsiteY10" fmla="*/ 125740 h 1551875"/>
                <a:gd name="connsiteX11" fmla="*/ 681541 w 1101222"/>
                <a:gd name="connsiteY11" fmla="*/ 154331 h 1551875"/>
                <a:gd name="connsiteX12" fmla="*/ 659128 w 1101222"/>
                <a:gd name="connsiteY12" fmla="*/ 182923 h 1551875"/>
                <a:gd name="connsiteX13" fmla="*/ 691698 w 1101222"/>
                <a:gd name="connsiteY13" fmla="*/ 179848 h 1551875"/>
                <a:gd name="connsiteX14" fmla="*/ 702187 w 1101222"/>
                <a:gd name="connsiteY14" fmla="*/ 193222 h 1551875"/>
                <a:gd name="connsiteX15" fmla="*/ 674475 w 1101222"/>
                <a:gd name="connsiteY15" fmla="*/ 233956 h 1551875"/>
                <a:gd name="connsiteX16" fmla="*/ 659128 w 1101222"/>
                <a:gd name="connsiteY16" fmla="*/ 283146 h 1551875"/>
                <a:gd name="connsiteX17" fmla="*/ 677125 w 1101222"/>
                <a:gd name="connsiteY17" fmla="*/ 294213 h 1551875"/>
                <a:gd name="connsiteX18" fmla="*/ 681541 w 1101222"/>
                <a:gd name="connsiteY18" fmla="*/ 306050 h 1551875"/>
                <a:gd name="connsiteX19" fmla="*/ 666636 w 1101222"/>
                <a:gd name="connsiteY19" fmla="*/ 337715 h 1551875"/>
                <a:gd name="connsiteX20" fmla="*/ 677125 w 1101222"/>
                <a:gd name="connsiteY20" fmla="*/ 344940 h 1551875"/>
                <a:gd name="connsiteX21" fmla="*/ 730230 w 1101222"/>
                <a:gd name="connsiteY21" fmla="*/ 287757 h 1551875"/>
                <a:gd name="connsiteX22" fmla="*/ 762800 w 1101222"/>
                <a:gd name="connsiteY22" fmla="*/ 280533 h 1551875"/>
                <a:gd name="connsiteX23" fmla="*/ 797910 w 1101222"/>
                <a:gd name="connsiteY23" fmla="*/ 247330 h 1551875"/>
                <a:gd name="connsiteX24" fmla="*/ 861615 w 1101222"/>
                <a:gd name="connsiteY24" fmla="*/ 237031 h 1551875"/>
                <a:gd name="connsiteX25" fmla="*/ 879169 w 1101222"/>
                <a:gd name="connsiteY25" fmla="*/ 211206 h 1551875"/>
                <a:gd name="connsiteX26" fmla="*/ 1035616 w 1101222"/>
                <a:gd name="connsiteY26" fmla="*/ 272847 h 1551875"/>
                <a:gd name="connsiteX27" fmla="*/ 1091702 w 1101222"/>
                <a:gd name="connsiteY27" fmla="*/ 301438 h 1551875"/>
                <a:gd name="connsiteX28" fmla="*/ 1099751 w 1101222"/>
                <a:gd name="connsiteY28" fmla="*/ 299203 h 1551875"/>
                <a:gd name="connsiteX29" fmla="*/ 1101222 w 1101222"/>
                <a:gd name="connsiteY29" fmla="*/ 365765 h 1551875"/>
                <a:gd name="connsiteX30" fmla="*/ 1041188 w 1101222"/>
                <a:gd name="connsiteY30" fmla="*/ 409581 h 1551875"/>
                <a:gd name="connsiteX31" fmla="*/ 1011525 w 1101222"/>
                <a:gd name="connsiteY31" fmla="*/ 412294 h 1551875"/>
                <a:gd name="connsiteX32" fmla="*/ 953261 w 1101222"/>
                <a:gd name="connsiteY32" fmla="*/ 493956 h 1551875"/>
                <a:gd name="connsiteX33" fmla="*/ 930151 w 1101222"/>
                <a:gd name="connsiteY33" fmla="*/ 543198 h 1551875"/>
                <a:gd name="connsiteX34" fmla="*/ 926078 w 1101222"/>
                <a:gd name="connsiteY34" fmla="*/ 617263 h 1551875"/>
                <a:gd name="connsiteX35" fmla="*/ 929885 w 1101222"/>
                <a:gd name="connsiteY35" fmla="*/ 661757 h 1551875"/>
                <a:gd name="connsiteX36" fmla="*/ 939537 w 1101222"/>
                <a:gd name="connsiteY36" fmla="*/ 712219 h 1551875"/>
                <a:gd name="connsiteX37" fmla="*/ 923156 w 1101222"/>
                <a:gd name="connsiteY37" fmla="*/ 752508 h 1551875"/>
                <a:gd name="connsiteX38" fmla="*/ 901196 w 1101222"/>
                <a:gd name="connsiteY38" fmla="*/ 776789 h 1551875"/>
                <a:gd name="connsiteX39" fmla="*/ 907837 w 1101222"/>
                <a:gd name="connsiteY39" fmla="*/ 848820 h 1551875"/>
                <a:gd name="connsiteX40" fmla="*/ 946620 w 1101222"/>
                <a:gd name="connsiteY40" fmla="*/ 871338 h 1551875"/>
                <a:gd name="connsiteX41" fmla="*/ 934489 w 1101222"/>
                <a:gd name="connsiteY41" fmla="*/ 953136 h 1551875"/>
                <a:gd name="connsiteX42" fmla="*/ 883664 w 1101222"/>
                <a:gd name="connsiteY42" fmla="*/ 969821 h 1551875"/>
                <a:gd name="connsiteX43" fmla="*/ 818317 w 1101222"/>
                <a:gd name="connsiteY43" fmla="*/ 955307 h 1551875"/>
                <a:gd name="connsiteX44" fmla="*/ 758283 w 1101222"/>
                <a:gd name="connsiteY44" fmla="*/ 976468 h 1551875"/>
                <a:gd name="connsiteX45" fmla="*/ 673278 w 1101222"/>
                <a:gd name="connsiteY45" fmla="*/ 1053790 h 1551875"/>
                <a:gd name="connsiteX46" fmla="*/ 548251 w 1101222"/>
                <a:gd name="connsiteY46" fmla="*/ 1103845 h 1551875"/>
                <a:gd name="connsiteX47" fmla="*/ 493264 w 1101222"/>
                <a:gd name="connsiteY47" fmla="*/ 1193375 h 1551875"/>
                <a:gd name="connsiteX48" fmla="*/ 439693 w 1101222"/>
                <a:gd name="connsiteY48" fmla="*/ 1345711 h 1551875"/>
                <a:gd name="connsiteX49" fmla="*/ 461741 w 1101222"/>
                <a:gd name="connsiteY49" fmla="*/ 1423982 h 1551875"/>
                <a:gd name="connsiteX50" fmla="*/ 421187 w 1101222"/>
                <a:gd name="connsiteY50" fmla="*/ 1523483 h 1551875"/>
                <a:gd name="connsiteX51" fmla="*/ 407566 w 1101222"/>
                <a:gd name="connsiteY51" fmla="*/ 1551875 h 1551875"/>
                <a:gd name="connsiteX52" fmla="*/ 375651 w 1101222"/>
                <a:gd name="connsiteY52" fmla="*/ 1542691 h 1551875"/>
                <a:gd name="connsiteX53" fmla="*/ 340018 w 1101222"/>
                <a:gd name="connsiteY53" fmla="*/ 1463338 h 1551875"/>
                <a:gd name="connsiteX54" fmla="*/ 350145 w 1101222"/>
                <a:gd name="connsiteY54" fmla="*/ 1445873 h 1551875"/>
                <a:gd name="connsiteX55" fmla="*/ 311887 w 1101222"/>
                <a:gd name="connsiteY55" fmla="*/ 1406765 h 1551875"/>
                <a:gd name="connsiteX56" fmla="*/ 271753 w 1101222"/>
                <a:gd name="connsiteY56" fmla="*/ 1345257 h 1551875"/>
                <a:gd name="connsiteX57" fmla="*/ 311887 w 1101222"/>
                <a:gd name="connsiteY57" fmla="*/ 1255652 h 1551875"/>
                <a:gd name="connsiteX58" fmla="*/ 365524 w 1101222"/>
                <a:gd name="connsiteY58" fmla="*/ 1230213 h 1551875"/>
                <a:gd name="connsiteX59" fmla="*/ 365524 w 1101222"/>
                <a:gd name="connsiteY59" fmla="*/ 1181234 h 1551875"/>
                <a:gd name="connsiteX60" fmla="*/ 335517 w 1101222"/>
                <a:gd name="connsiteY60" fmla="*/ 1163009 h 1551875"/>
                <a:gd name="connsiteX61" fmla="*/ 279629 w 1101222"/>
                <a:gd name="connsiteY61" fmla="*/ 1176678 h 1551875"/>
                <a:gd name="connsiteX62" fmla="*/ 208738 w 1101222"/>
                <a:gd name="connsiteY62" fmla="*/ 1087073 h 1551875"/>
                <a:gd name="connsiteX63" fmla="*/ 201237 w 1101222"/>
                <a:gd name="connsiteY63" fmla="*/ 1051003 h 1551875"/>
                <a:gd name="connsiteX64" fmla="*/ 165979 w 1101222"/>
                <a:gd name="connsiteY64" fmla="*/ 1030120 h 1551875"/>
                <a:gd name="connsiteX65" fmla="*/ 190734 w 1101222"/>
                <a:gd name="connsiteY65" fmla="*/ 1004302 h 1551875"/>
                <a:gd name="connsiteX66" fmla="*/ 215865 w 1101222"/>
                <a:gd name="connsiteY66" fmla="*/ 935959 h 1551875"/>
                <a:gd name="connsiteX67" fmla="*/ 208738 w 1101222"/>
                <a:gd name="connsiteY67" fmla="*/ 771177 h 1551875"/>
                <a:gd name="connsiteX68" fmla="*/ 147975 w 1101222"/>
                <a:gd name="connsiteY68" fmla="*/ 710048 h 1551875"/>
                <a:gd name="connsiteX69" fmla="*/ 104840 w 1101222"/>
                <a:gd name="connsiteY69" fmla="*/ 710048 h 1551875"/>
                <a:gd name="connsiteX70" fmla="*/ 52704 w 1101222"/>
                <a:gd name="connsiteY70" fmla="*/ 682711 h 1551875"/>
                <a:gd name="connsiteX71" fmla="*/ 14370 w 1101222"/>
                <a:gd name="connsiteY71" fmla="*/ 720829 h 1551875"/>
                <a:gd name="connsiteX72" fmla="*/ 0 w 1101222"/>
                <a:gd name="connsiteY72" fmla="*/ 719239 h 1551875"/>
                <a:gd name="connsiteX73" fmla="*/ 127189 w 1101222"/>
                <a:gd name="connsiteY73" fmla="*/ 590732 h 1551875"/>
                <a:gd name="connsiteX74" fmla="*/ 178197 w 1101222"/>
                <a:gd name="connsiteY74" fmla="*/ 579357 h 1551875"/>
                <a:gd name="connsiteX75" fmla="*/ 286395 w 1101222"/>
                <a:gd name="connsiteY75" fmla="*/ 430560 h 1551875"/>
                <a:gd name="connsiteX76" fmla="*/ 312230 w 1101222"/>
                <a:gd name="connsiteY76" fmla="*/ 362310 h 1551875"/>
                <a:gd name="connsiteX77" fmla="*/ 340936 w 1101222"/>
                <a:gd name="connsiteY77" fmla="*/ 301438 h 1551875"/>
                <a:gd name="connsiteX78" fmla="*/ 340936 w 1101222"/>
                <a:gd name="connsiteY78" fmla="*/ 247330 h 1551875"/>
                <a:gd name="connsiteX79" fmla="*/ 373506 w 1101222"/>
                <a:gd name="connsiteY79" fmla="*/ 203982 h 1551875"/>
                <a:gd name="connsiteX80" fmla="*/ 376156 w 1101222"/>
                <a:gd name="connsiteY80" fmla="*/ 167705 h 1551875"/>
                <a:gd name="connsiteX81" fmla="*/ 408395 w 1101222"/>
                <a:gd name="connsiteY81" fmla="*/ 118515 h 1551875"/>
                <a:gd name="connsiteX82" fmla="*/ 408395 w 1101222"/>
                <a:gd name="connsiteY82" fmla="*/ 53801 h 1551875"/>
                <a:gd name="connsiteX83" fmla="*/ 421864 w 1101222"/>
                <a:gd name="connsiteY83" fmla="*/ 0 h 155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101222" h="1551875">
                  <a:moveTo>
                    <a:pt x="421864" y="0"/>
                  </a:moveTo>
                  <a:lnTo>
                    <a:pt x="457415" y="10299"/>
                  </a:lnTo>
                  <a:lnTo>
                    <a:pt x="500032" y="23980"/>
                  </a:lnTo>
                  <a:lnTo>
                    <a:pt x="525095" y="35816"/>
                  </a:lnTo>
                  <a:lnTo>
                    <a:pt x="540110" y="31205"/>
                  </a:lnTo>
                  <a:cubicBezTo>
                    <a:pt x="541987" y="36123"/>
                    <a:pt x="543864" y="41196"/>
                    <a:pt x="545741" y="46115"/>
                  </a:cubicBezTo>
                  <a:cubicBezTo>
                    <a:pt x="548390" y="58259"/>
                    <a:pt x="550930" y="70248"/>
                    <a:pt x="553580" y="82392"/>
                  </a:cubicBezTo>
                  <a:lnTo>
                    <a:pt x="568153" y="82392"/>
                  </a:lnTo>
                  <a:lnTo>
                    <a:pt x="585708" y="59796"/>
                  </a:lnTo>
                  <a:lnTo>
                    <a:pt x="641905" y="77781"/>
                  </a:lnTo>
                  <a:lnTo>
                    <a:pt x="684522" y="125740"/>
                  </a:lnTo>
                  <a:lnTo>
                    <a:pt x="681541" y="154331"/>
                  </a:lnTo>
                  <a:lnTo>
                    <a:pt x="659128" y="182923"/>
                  </a:lnTo>
                  <a:lnTo>
                    <a:pt x="691698" y="179848"/>
                  </a:lnTo>
                  <a:lnTo>
                    <a:pt x="702187" y="193222"/>
                  </a:lnTo>
                  <a:lnTo>
                    <a:pt x="674475" y="233956"/>
                  </a:lnTo>
                  <a:cubicBezTo>
                    <a:pt x="669396" y="250404"/>
                    <a:pt x="664207" y="266698"/>
                    <a:pt x="659128" y="283146"/>
                  </a:cubicBezTo>
                  <a:lnTo>
                    <a:pt x="677125" y="294213"/>
                  </a:lnTo>
                  <a:cubicBezTo>
                    <a:pt x="678560" y="298210"/>
                    <a:pt x="680106" y="302053"/>
                    <a:pt x="681541" y="306050"/>
                  </a:cubicBezTo>
                  <a:lnTo>
                    <a:pt x="666636" y="337715"/>
                  </a:lnTo>
                  <a:lnTo>
                    <a:pt x="677125" y="344940"/>
                  </a:lnTo>
                  <a:lnTo>
                    <a:pt x="730230" y="287757"/>
                  </a:lnTo>
                  <a:lnTo>
                    <a:pt x="762800" y="280533"/>
                  </a:lnTo>
                  <a:lnTo>
                    <a:pt x="797910" y="247330"/>
                  </a:lnTo>
                  <a:lnTo>
                    <a:pt x="861615" y="237031"/>
                  </a:lnTo>
                  <a:lnTo>
                    <a:pt x="879169" y="211206"/>
                  </a:lnTo>
                  <a:lnTo>
                    <a:pt x="1035616" y="272847"/>
                  </a:lnTo>
                  <a:lnTo>
                    <a:pt x="1091702" y="301438"/>
                  </a:lnTo>
                  <a:lnTo>
                    <a:pt x="1099751" y="299203"/>
                  </a:lnTo>
                  <a:lnTo>
                    <a:pt x="1101222" y="365765"/>
                  </a:lnTo>
                  <a:lnTo>
                    <a:pt x="1041188" y="409581"/>
                  </a:lnTo>
                  <a:lnTo>
                    <a:pt x="1011525" y="412294"/>
                  </a:lnTo>
                  <a:lnTo>
                    <a:pt x="953261" y="493956"/>
                  </a:lnTo>
                  <a:lnTo>
                    <a:pt x="930151" y="543198"/>
                  </a:lnTo>
                  <a:cubicBezTo>
                    <a:pt x="928823" y="567886"/>
                    <a:pt x="927406" y="592575"/>
                    <a:pt x="926078" y="617263"/>
                  </a:cubicBezTo>
                  <a:cubicBezTo>
                    <a:pt x="927317" y="632049"/>
                    <a:pt x="928645" y="646971"/>
                    <a:pt x="929885" y="661757"/>
                  </a:cubicBezTo>
                  <a:cubicBezTo>
                    <a:pt x="933073" y="678578"/>
                    <a:pt x="936349" y="695398"/>
                    <a:pt x="939537" y="712219"/>
                  </a:cubicBezTo>
                  <a:cubicBezTo>
                    <a:pt x="937234" y="723207"/>
                    <a:pt x="925458" y="741520"/>
                    <a:pt x="923156" y="752508"/>
                  </a:cubicBezTo>
                  <a:cubicBezTo>
                    <a:pt x="922978" y="762953"/>
                    <a:pt x="901373" y="766344"/>
                    <a:pt x="901196" y="776789"/>
                  </a:cubicBezTo>
                  <a:cubicBezTo>
                    <a:pt x="902613" y="797544"/>
                    <a:pt x="906420" y="828066"/>
                    <a:pt x="907837" y="848820"/>
                  </a:cubicBezTo>
                  <a:lnTo>
                    <a:pt x="946620" y="871338"/>
                  </a:lnTo>
                  <a:cubicBezTo>
                    <a:pt x="942547" y="896976"/>
                    <a:pt x="938563" y="927498"/>
                    <a:pt x="934489" y="953136"/>
                  </a:cubicBezTo>
                  <a:lnTo>
                    <a:pt x="883664" y="969821"/>
                  </a:lnTo>
                  <a:lnTo>
                    <a:pt x="818317" y="955307"/>
                  </a:lnTo>
                  <a:lnTo>
                    <a:pt x="758283" y="976468"/>
                  </a:lnTo>
                  <a:lnTo>
                    <a:pt x="673278" y="1053790"/>
                  </a:lnTo>
                  <a:lnTo>
                    <a:pt x="548251" y="1103845"/>
                  </a:lnTo>
                  <a:lnTo>
                    <a:pt x="493264" y="1193375"/>
                  </a:lnTo>
                  <a:lnTo>
                    <a:pt x="439693" y="1345711"/>
                  </a:lnTo>
                  <a:lnTo>
                    <a:pt x="461741" y="1423982"/>
                  </a:lnTo>
                  <a:cubicBezTo>
                    <a:pt x="459749" y="1446433"/>
                    <a:pt x="440468" y="1484958"/>
                    <a:pt x="421187" y="1523483"/>
                  </a:cubicBezTo>
                  <a:lnTo>
                    <a:pt x="407566" y="1551875"/>
                  </a:lnTo>
                  <a:lnTo>
                    <a:pt x="375651" y="1542691"/>
                  </a:lnTo>
                  <a:lnTo>
                    <a:pt x="340018" y="1463338"/>
                  </a:lnTo>
                  <a:lnTo>
                    <a:pt x="350145" y="1445873"/>
                  </a:lnTo>
                  <a:lnTo>
                    <a:pt x="311887" y="1406765"/>
                  </a:lnTo>
                  <a:lnTo>
                    <a:pt x="271753" y="1345257"/>
                  </a:lnTo>
                  <a:lnTo>
                    <a:pt x="311887" y="1255652"/>
                  </a:lnTo>
                  <a:lnTo>
                    <a:pt x="365524" y="1230213"/>
                  </a:lnTo>
                  <a:lnTo>
                    <a:pt x="365524" y="1181234"/>
                  </a:lnTo>
                  <a:lnTo>
                    <a:pt x="335517" y="1163009"/>
                  </a:lnTo>
                  <a:lnTo>
                    <a:pt x="279629" y="1176678"/>
                  </a:lnTo>
                  <a:lnTo>
                    <a:pt x="208738" y="1087073"/>
                  </a:lnTo>
                  <a:lnTo>
                    <a:pt x="201237" y="1051003"/>
                  </a:lnTo>
                  <a:lnTo>
                    <a:pt x="165979" y="1030120"/>
                  </a:lnTo>
                  <a:lnTo>
                    <a:pt x="190734" y="1004302"/>
                  </a:lnTo>
                  <a:lnTo>
                    <a:pt x="215865" y="935959"/>
                  </a:lnTo>
                  <a:lnTo>
                    <a:pt x="208738" y="771177"/>
                  </a:lnTo>
                  <a:lnTo>
                    <a:pt x="147975" y="710048"/>
                  </a:lnTo>
                  <a:lnTo>
                    <a:pt x="104840" y="710048"/>
                  </a:lnTo>
                  <a:lnTo>
                    <a:pt x="52704" y="682711"/>
                  </a:lnTo>
                  <a:lnTo>
                    <a:pt x="14370" y="720829"/>
                  </a:lnTo>
                  <a:lnTo>
                    <a:pt x="0" y="719239"/>
                  </a:lnTo>
                  <a:lnTo>
                    <a:pt x="127189" y="590732"/>
                  </a:lnTo>
                  <a:lnTo>
                    <a:pt x="178197" y="579357"/>
                  </a:lnTo>
                  <a:lnTo>
                    <a:pt x="286395" y="430560"/>
                  </a:lnTo>
                  <a:lnTo>
                    <a:pt x="312230" y="362310"/>
                  </a:lnTo>
                  <a:lnTo>
                    <a:pt x="340936" y="301438"/>
                  </a:lnTo>
                  <a:lnTo>
                    <a:pt x="340936" y="247330"/>
                  </a:lnTo>
                  <a:lnTo>
                    <a:pt x="373506" y="203982"/>
                  </a:lnTo>
                  <a:cubicBezTo>
                    <a:pt x="374389" y="191838"/>
                    <a:pt x="375273" y="179848"/>
                    <a:pt x="376156" y="167705"/>
                  </a:cubicBezTo>
                  <a:lnTo>
                    <a:pt x="408395" y="118515"/>
                  </a:lnTo>
                  <a:lnTo>
                    <a:pt x="408395" y="53801"/>
                  </a:lnTo>
                  <a:cubicBezTo>
                    <a:pt x="412921" y="35816"/>
                    <a:pt x="417338" y="17985"/>
                    <a:pt x="421864" y="0"/>
                  </a:cubicBezTo>
                  <a:close/>
                </a:path>
              </a:pathLst>
            </a:custGeom>
            <a:solidFill>
              <a:schemeClr val="accent2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square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8E32A566-07F9-9B0F-73CF-210B428EB970}"/>
                </a:ext>
              </a:extLst>
            </p:cNvPr>
            <p:cNvGrpSpPr/>
            <p:nvPr/>
          </p:nvGrpSpPr>
          <p:grpSpPr>
            <a:xfrm>
              <a:off x="2421394" y="140237"/>
              <a:ext cx="6287328" cy="6420209"/>
              <a:chOff x="2421394" y="140237"/>
              <a:chExt cx="6287328" cy="6420209"/>
            </a:xfrm>
          </p:grpSpPr>
          <p:sp>
            <p:nvSpPr>
              <p:cNvPr id="12" name="Freeform PR">
                <a:extLst>
                  <a:ext uri="{FF2B5EF4-FFF2-40B4-BE49-F238E27FC236}">
                    <a16:creationId xmlns:a16="http://schemas.microsoft.com/office/drawing/2014/main" id="{D5E33977-8658-3967-1DA0-E057DEEC73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82105" y="4699983"/>
                <a:ext cx="1056195" cy="687091"/>
              </a:xfrm>
              <a:custGeom>
                <a:avLst/>
                <a:gdLst>
                  <a:gd name="T0" fmla="*/ 0 w 2641"/>
                  <a:gd name="T1" fmla="*/ 0 h 1881"/>
                  <a:gd name="T2" fmla="*/ 0 w 2641"/>
                  <a:gd name="T3" fmla="*/ 0 h 1881"/>
                  <a:gd name="T4" fmla="*/ 0 w 2641"/>
                  <a:gd name="T5" fmla="*/ 0 h 1881"/>
                  <a:gd name="T6" fmla="*/ 0 w 2641"/>
                  <a:gd name="T7" fmla="*/ 0 h 1881"/>
                  <a:gd name="T8" fmla="*/ 0 w 2641"/>
                  <a:gd name="T9" fmla="*/ 0 h 1881"/>
                  <a:gd name="T10" fmla="*/ 0 w 2641"/>
                  <a:gd name="T11" fmla="*/ 0 h 1881"/>
                  <a:gd name="T12" fmla="*/ 0 w 2641"/>
                  <a:gd name="T13" fmla="*/ 0 h 1881"/>
                  <a:gd name="T14" fmla="*/ 0 w 2641"/>
                  <a:gd name="T15" fmla="*/ 0 h 1881"/>
                  <a:gd name="T16" fmla="*/ 0 w 2641"/>
                  <a:gd name="T17" fmla="*/ 0 h 1881"/>
                  <a:gd name="T18" fmla="*/ 0 w 2641"/>
                  <a:gd name="T19" fmla="*/ 0 h 1881"/>
                  <a:gd name="T20" fmla="*/ 0 w 2641"/>
                  <a:gd name="T21" fmla="*/ 0 h 1881"/>
                  <a:gd name="T22" fmla="*/ 0 w 2641"/>
                  <a:gd name="T23" fmla="*/ 0 h 1881"/>
                  <a:gd name="T24" fmla="*/ 0 w 2641"/>
                  <a:gd name="T25" fmla="*/ 0 h 1881"/>
                  <a:gd name="T26" fmla="*/ 0 w 2641"/>
                  <a:gd name="T27" fmla="*/ 0 h 1881"/>
                  <a:gd name="T28" fmla="*/ 0 w 2641"/>
                  <a:gd name="T29" fmla="*/ 0 h 1881"/>
                  <a:gd name="T30" fmla="*/ 0 w 2641"/>
                  <a:gd name="T31" fmla="*/ 0 h 1881"/>
                  <a:gd name="T32" fmla="*/ 0 w 2641"/>
                  <a:gd name="T33" fmla="*/ 0 h 1881"/>
                  <a:gd name="T34" fmla="*/ 0 w 2641"/>
                  <a:gd name="T35" fmla="*/ 0 h 1881"/>
                  <a:gd name="T36" fmla="*/ 0 w 2641"/>
                  <a:gd name="T37" fmla="*/ 0 h 1881"/>
                  <a:gd name="T38" fmla="*/ 0 w 2641"/>
                  <a:gd name="T39" fmla="*/ 0 h 1881"/>
                  <a:gd name="T40" fmla="*/ 0 w 2641"/>
                  <a:gd name="T41" fmla="*/ 0 h 1881"/>
                  <a:gd name="T42" fmla="*/ 0 w 2641"/>
                  <a:gd name="T43" fmla="*/ 0 h 1881"/>
                  <a:gd name="T44" fmla="*/ 0 w 2641"/>
                  <a:gd name="T45" fmla="*/ 0 h 1881"/>
                  <a:gd name="T46" fmla="*/ 0 w 2641"/>
                  <a:gd name="T47" fmla="*/ 0 h 1881"/>
                  <a:gd name="T48" fmla="*/ 0 w 2641"/>
                  <a:gd name="T49" fmla="*/ 0 h 1881"/>
                  <a:gd name="T50" fmla="*/ 0 w 2641"/>
                  <a:gd name="T51" fmla="*/ 0 h 1881"/>
                  <a:gd name="T52" fmla="*/ 0 w 2641"/>
                  <a:gd name="T53" fmla="*/ 0 h 1881"/>
                  <a:gd name="T54" fmla="*/ 0 w 2641"/>
                  <a:gd name="T55" fmla="*/ 0 h 1881"/>
                  <a:gd name="T56" fmla="*/ 0 w 2641"/>
                  <a:gd name="T57" fmla="*/ 0 h 1881"/>
                  <a:gd name="T58" fmla="*/ 0 w 2641"/>
                  <a:gd name="T59" fmla="*/ 0 h 1881"/>
                  <a:gd name="T60" fmla="*/ 0 w 2641"/>
                  <a:gd name="T61" fmla="*/ 0 h 1881"/>
                  <a:gd name="T62" fmla="*/ 0 w 2641"/>
                  <a:gd name="T63" fmla="*/ 0 h 1881"/>
                  <a:gd name="T64" fmla="*/ 0 w 2641"/>
                  <a:gd name="T65" fmla="*/ 0 h 1881"/>
                  <a:gd name="T66" fmla="*/ 0 w 2641"/>
                  <a:gd name="T67" fmla="*/ 0 h 1881"/>
                  <a:gd name="T68" fmla="*/ 0 w 2641"/>
                  <a:gd name="T69" fmla="*/ 0 h 1881"/>
                  <a:gd name="T70" fmla="*/ 0 w 2641"/>
                  <a:gd name="T71" fmla="*/ 0 h 1881"/>
                  <a:gd name="T72" fmla="*/ 0 w 2641"/>
                  <a:gd name="T73" fmla="*/ 0 h 1881"/>
                  <a:gd name="T74" fmla="*/ 0 w 2641"/>
                  <a:gd name="T75" fmla="*/ 0 h 1881"/>
                  <a:gd name="T76" fmla="*/ 0 w 2641"/>
                  <a:gd name="T77" fmla="*/ 0 h 1881"/>
                  <a:gd name="T78" fmla="*/ 0 w 2641"/>
                  <a:gd name="T79" fmla="*/ 0 h 1881"/>
                  <a:gd name="T80" fmla="*/ 0 w 2641"/>
                  <a:gd name="T81" fmla="*/ 0 h 1881"/>
                  <a:gd name="T82" fmla="*/ 0 w 2641"/>
                  <a:gd name="T83" fmla="*/ 0 h 1881"/>
                  <a:gd name="T84" fmla="*/ 0 w 2641"/>
                  <a:gd name="T85" fmla="*/ 0 h 1881"/>
                  <a:gd name="T86" fmla="*/ 0 w 2641"/>
                  <a:gd name="T87" fmla="*/ 0 h 1881"/>
                  <a:gd name="T88" fmla="*/ 0 w 2641"/>
                  <a:gd name="T89" fmla="*/ 0 h 1881"/>
                  <a:gd name="T90" fmla="*/ 0 w 2641"/>
                  <a:gd name="T91" fmla="*/ 0 h 1881"/>
                  <a:gd name="T92" fmla="*/ 0 w 2641"/>
                  <a:gd name="T93" fmla="*/ 0 h 1881"/>
                  <a:gd name="T94" fmla="*/ 0 w 2641"/>
                  <a:gd name="T95" fmla="*/ 0 h 1881"/>
                  <a:gd name="T96" fmla="*/ 0 w 2641"/>
                  <a:gd name="T97" fmla="*/ 0 h 1881"/>
                  <a:gd name="T98" fmla="*/ 0 w 2641"/>
                  <a:gd name="T99" fmla="*/ 0 h 1881"/>
                  <a:gd name="T100" fmla="*/ 0 w 2641"/>
                  <a:gd name="T101" fmla="*/ 0 h 1881"/>
                  <a:gd name="T102" fmla="*/ 0 w 2641"/>
                  <a:gd name="T103" fmla="*/ 0 h 1881"/>
                  <a:gd name="T104" fmla="*/ 0 w 2641"/>
                  <a:gd name="T105" fmla="*/ 0 h 1881"/>
                  <a:gd name="T106" fmla="*/ 0 w 2641"/>
                  <a:gd name="T107" fmla="*/ 0 h 18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41"/>
                  <a:gd name="T163" fmla="*/ 0 h 1881"/>
                  <a:gd name="T164" fmla="*/ 2641 w 2641"/>
                  <a:gd name="T165" fmla="*/ 1881 h 1881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761 w 10313"/>
                  <a:gd name="connsiteY5" fmla="*/ 8596 h 10000"/>
                  <a:gd name="connsiteX6" fmla="*/ 6402 w 10313"/>
                  <a:gd name="connsiteY6" fmla="*/ 8490 h 10000"/>
                  <a:gd name="connsiteX7" fmla="*/ 6046 w 10313"/>
                  <a:gd name="connsiteY7" fmla="*/ 89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6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761 w 10313"/>
                  <a:gd name="connsiteY5" fmla="*/ 8596 h 10000"/>
                  <a:gd name="connsiteX6" fmla="*/ 6402 w 10313"/>
                  <a:gd name="connsiteY6" fmla="*/ 8490 h 10000"/>
                  <a:gd name="connsiteX7" fmla="*/ 6046 w 10313"/>
                  <a:gd name="connsiteY7" fmla="*/ 89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6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761 w 10313"/>
                  <a:gd name="connsiteY5" fmla="*/ 8596 h 10000"/>
                  <a:gd name="connsiteX6" fmla="*/ 6402 w 10313"/>
                  <a:gd name="connsiteY6" fmla="*/ 8490 h 10000"/>
                  <a:gd name="connsiteX7" fmla="*/ 6046 w 10313"/>
                  <a:gd name="connsiteY7" fmla="*/ 89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3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761 w 10313"/>
                  <a:gd name="connsiteY5" fmla="*/ 8596 h 10000"/>
                  <a:gd name="connsiteX6" fmla="*/ 6402 w 10313"/>
                  <a:gd name="connsiteY6" fmla="*/ 8490 h 10000"/>
                  <a:gd name="connsiteX7" fmla="*/ 6214 w 10313"/>
                  <a:gd name="connsiteY7" fmla="*/ 92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3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761 w 10313"/>
                  <a:gd name="connsiteY5" fmla="*/ 8596 h 10000"/>
                  <a:gd name="connsiteX6" fmla="*/ 6402 w 10313"/>
                  <a:gd name="connsiteY6" fmla="*/ 8790 h 10000"/>
                  <a:gd name="connsiteX7" fmla="*/ 6214 w 10313"/>
                  <a:gd name="connsiteY7" fmla="*/ 92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3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223 w 10313"/>
                  <a:gd name="connsiteY4" fmla="*/ 8426 h 10000"/>
                  <a:gd name="connsiteX5" fmla="*/ 6881 w 10313"/>
                  <a:gd name="connsiteY5" fmla="*/ 8763 h 10000"/>
                  <a:gd name="connsiteX6" fmla="*/ 6402 w 10313"/>
                  <a:gd name="connsiteY6" fmla="*/ 8790 h 10000"/>
                  <a:gd name="connsiteX7" fmla="*/ 6214 w 10313"/>
                  <a:gd name="connsiteY7" fmla="*/ 9295 h 10000"/>
                  <a:gd name="connsiteX8" fmla="*/ 5432 w 10313"/>
                  <a:gd name="connsiteY8" fmla="*/ 9096 h 10000"/>
                  <a:gd name="connsiteX9" fmla="*/ 5300 w 10313"/>
                  <a:gd name="connsiteY9" fmla="*/ 9394 h 10000"/>
                  <a:gd name="connsiteX10" fmla="*/ 5300 w 10313"/>
                  <a:gd name="connsiteY10" fmla="*/ 9793 h 10000"/>
                  <a:gd name="connsiteX11" fmla="*/ 5042 w 10313"/>
                  <a:gd name="connsiteY11" fmla="*/ 10000 h 10000"/>
                  <a:gd name="connsiteX12" fmla="*/ 4043 w 10313"/>
                  <a:gd name="connsiteY12" fmla="*/ 9638 h 10000"/>
                  <a:gd name="connsiteX13" fmla="*/ 3331 w 10313"/>
                  <a:gd name="connsiteY13" fmla="*/ 9288 h 10000"/>
                  <a:gd name="connsiteX14" fmla="*/ 2259 w 10313"/>
                  <a:gd name="connsiteY14" fmla="*/ 9096 h 10000"/>
                  <a:gd name="connsiteX15" fmla="*/ 1661 w 10313"/>
                  <a:gd name="connsiteY15" fmla="*/ 9032 h 10000"/>
                  <a:gd name="connsiteX16" fmla="*/ 1358 w 10313"/>
                  <a:gd name="connsiteY16" fmla="*/ 7884 h 10000"/>
                  <a:gd name="connsiteX17" fmla="*/ 1032 w 10313"/>
                  <a:gd name="connsiteY17" fmla="*/ 7334 h 10000"/>
                  <a:gd name="connsiteX18" fmla="*/ 491 w 10313"/>
                  <a:gd name="connsiteY18" fmla="*/ 7677 h 10000"/>
                  <a:gd name="connsiteX19" fmla="*/ 0 w 10313"/>
                  <a:gd name="connsiteY19" fmla="*/ 7323 h 10000"/>
                  <a:gd name="connsiteX20" fmla="*/ 521 w 10313"/>
                  <a:gd name="connsiteY20" fmla="*/ 5976 h 10000"/>
                  <a:gd name="connsiteX21" fmla="*/ 748 w 10313"/>
                  <a:gd name="connsiteY21" fmla="*/ 4912 h 10000"/>
                  <a:gd name="connsiteX22" fmla="*/ 703 w 10313"/>
                  <a:gd name="connsiteY22" fmla="*/ 4577 h 10000"/>
                  <a:gd name="connsiteX23" fmla="*/ 703 w 10313"/>
                  <a:gd name="connsiteY23" fmla="*/ 3817 h 10000"/>
                  <a:gd name="connsiteX24" fmla="*/ 1032 w 10313"/>
                  <a:gd name="connsiteY24" fmla="*/ 3509 h 10000"/>
                  <a:gd name="connsiteX25" fmla="*/ 1237 w 10313"/>
                  <a:gd name="connsiteY25" fmla="*/ 2313 h 10000"/>
                  <a:gd name="connsiteX26" fmla="*/ 1669 w 10313"/>
                  <a:gd name="connsiteY26" fmla="*/ 1701 h 10000"/>
                  <a:gd name="connsiteX27" fmla="*/ 1744 w 10313"/>
                  <a:gd name="connsiteY27" fmla="*/ 1095 h 10000"/>
                  <a:gd name="connsiteX28" fmla="*/ 2850 w 10313"/>
                  <a:gd name="connsiteY28" fmla="*/ 0 h 10000"/>
                  <a:gd name="connsiteX29" fmla="*/ 3179 w 10313"/>
                  <a:gd name="connsiteY29" fmla="*/ 303 h 10000"/>
                  <a:gd name="connsiteX30" fmla="*/ 3997 w 10313"/>
                  <a:gd name="connsiteY30" fmla="*/ 346 h 10000"/>
                  <a:gd name="connsiteX31" fmla="*/ 4584 w 10313"/>
                  <a:gd name="connsiteY31" fmla="*/ 346 h 10000"/>
                  <a:gd name="connsiteX32" fmla="*/ 5478 w 10313"/>
                  <a:gd name="connsiteY32" fmla="*/ 388 h 10000"/>
                  <a:gd name="connsiteX33" fmla="*/ 6553 w 10313"/>
                  <a:gd name="connsiteY33" fmla="*/ 1143 h 10000"/>
                  <a:gd name="connsiteX34" fmla="*/ 7371 w 10313"/>
                  <a:gd name="connsiteY34" fmla="*/ 1143 h 10000"/>
                  <a:gd name="connsiteX35" fmla="*/ 8015 w 10313"/>
                  <a:gd name="connsiteY35" fmla="*/ 2142 h 10000"/>
                  <a:gd name="connsiteX36" fmla="*/ 8117 w 10313"/>
                  <a:gd name="connsiteY36" fmla="*/ 3509 h 10000"/>
                  <a:gd name="connsiteX37" fmla="*/ 8583 w 10313"/>
                  <a:gd name="connsiteY37" fmla="*/ 4577 h 10000"/>
                  <a:gd name="connsiteX38" fmla="*/ 8446 w 10313"/>
                  <a:gd name="connsiteY38" fmla="*/ 4912 h 10000"/>
                  <a:gd name="connsiteX39" fmla="*/ 8583 w 10313"/>
                  <a:gd name="connsiteY39" fmla="*/ 5263 h 10000"/>
                  <a:gd name="connsiteX40" fmla="*/ 9522 w 10313"/>
                  <a:gd name="connsiteY40" fmla="*/ 5369 h 10000"/>
                  <a:gd name="connsiteX41" fmla="*/ 9597 w 10313"/>
                  <a:gd name="connsiteY41" fmla="*/ 6268 h 10000"/>
                  <a:gd name="connsiteX42" fmla="*/ 9908 w 10313"/>
                  <a:gd name="connsiteY42" fmla="*/ 6023 h 10000"/>
                  <a:gd name="connsiteX43" fmla="*/ 10165 w 10313"/>
                  <a:gd name="connsiteY43" fmla="*/ 6374 h 10000"/>
                  <a:gd name="connsiteX44" fmla="*/ 10165 w 10313"/>
                  <a:gd name="connsiteY44" fmla="*/ 6481 h 10000"/>
                  <a:gd name="connsiteX45" fmla="*/ 10313 w 10313"/>
                  <a:gd name="connsiteY45" fmla="*/ 6667 h 10000"/>
                  <a:gd name="connsiteX46" fmla="*/ 10086 w 10313"/>
                  <a:gd name="connsiteY46" fmla="*/ 7087 h 10000"/>
                  <a:gd name="connsiteX47" fmla="*/ 9654 w 10313"/>
                  <a:gd name="connsiteY47" fmla="*/ 7129 h 10000"/>
                  <a:gd name="connsiteX48" fmla="*/ 9374 w 10313"/>
                  <a:gd name="connsiteY48" fmla="*/ 7278 h 10000"/>
                  <a:gd name="connsiteX49" fmla="*/ 9294 w 10313"/>
                  <a:gd name="connsiteY49" fmla="*/ 7379 h 10000"/>
                  <a:gd name="connsiteX50" fmla="*/ 9654 w 10313"/>
                  <a:gd name="connsiteY50" fmla="*/ 7778 h 10000"/>
                  <a:gd name="connsiteX51" fmla="*/ 9480 w 10313"/>
                  <a:gd name="connsiteY51" fmla="*/ 8618 h 10000"/>
                  <a:gd name="connsiteX52" fmla="*/ 9484 w 10313"/>
                  <a:gd name="connsiteY52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366 w 10313"/>
                  <a:gd name="connsiteY4" fmla="*/ 8734 h 10000"/>
                  <a:gd name="connsiteX5" fmla="*/ 7223 w 10313"/>
                  <a:gd name="connsiteY5" fmla="*/ 8426 h 10000"/>
                  <a:gd name="connsiteX6" fmla="*/ 6881 w 10313"/>
                  <a:gd name="connsiteY6" fmla="*/ 8763 h 10000"/>
                  <a:gd name="connsiteX7" fmla="*/ 6402 w 10313"/>
                  <a:gd name="connsiteY7" fmla="*/ 8790 h 10000"/>
                  <a:gd name="connsiteX8" fmla="*/ 6214 w 10313"/>
                  <a:gd name="connsiteY8" fmla="*/ 9295 h 10000"/>
                  <a:gd name="connsiteX9" fmla="*/ 5432 w 10313"/>
                  <a:gd name="connsiteY9" fmla="*/ 9096 h 10000"/>
                  <a:gd name="connsiteX10" fmla="*/ 5300 w 10313"/>
                  <a:gd name="connsiteY10" fmla="*/ 9394 h 10000"/>
                  <a:gd name="connsiteX11" fmla="*/ 5300 w 10313"/>
                  <a:gd name="connsiteY11" fmla="*/ 9793 h 10000"/>
                  <a:gd name="connsiteX12" fmla="*/ 5042 w 10313"/>
                  <a:gd name="connsiteY12" fmla="*/ 10000 h 10000"/>
                  <a:gd name="connsiteX13" fmla="*/ 4043 w 10313"/>
                  <a:gd name="connsiteY13" fmla="*/ 9638 h 10000"/>
                  <a:gd name="connsiteX14" fmla="*/ 3331 w 10313"/>
                  <a:gd name="connsiteY14" fmla="*/ 9288 h 10000"/>
                  <a:gd name="connsiteX15" fmla="*/ 2259 w 10313"/>
                  <a:gd name="connsiteY15" fmla="*/ 9096 h 10000"/>
                  <a:gd name="connsiteX16" fmla="*/ 1661 w 10313"/>
                  <a:gd name="connsiteY16" fmla="*/ 9032 h 10000"/>
                  <a:gd name="connsiteX17" fmla="*/ 1358 w 10313"/>
                  <a:gd name="connsiteY17" fmla="*/ 7884 h 10000"/>
                  <a:gd name="connsiteX18" fmla="*/ 1032 w 10313"/>
                  <a:gd name="connsiteY18" fmla="*/ 7334 h 10000"/>
                  <a:gd name="connsiteX19" fmla="*/ 491 w 10313"/>
                  <a:gd name="connsiteY19" fmla="*/ 7677 h 10000"/>
                  <a:gd name="connsiteX20" fmla="*/ 0 w 10313"/>
                  <a:gd name="connsiteY20" fmla="*/ 7323 h 10000"/>
                  <a:gd name="connsiteX21" fmla="*/ 521 w 10313"/>
                  <a:gd name="connsiteY21" fmla="*/ 5976 h 10000"/>
                  <a:gd name="connsiteX22" fmla="*/ 748 w 10313"/>
                  <a:gd name="connsiteY22" fmla="*/ 4912 h 10000"/>
                  <a:gd name="connsiteX23" fmla="*/ 703 w 10313"/>
                  <a:gd name="connsiteY23" fmla="*/ 4577 h 10000"/>
                  <a:gd name="connsiteX24" fmla="*/ 703 w 10313"/>
                  <a:gd name="connsiteY24" fmla="*/ 3817 h 10000"/>
                  <a:gd name="connsiteX25" fmla="*/ 1032 w 10313"/>
                  <a:gd name="connsiteY25" fmla="*/ 3509 h 10000"/>
                  <a:gd name="connsiteX26" fmla="*/ 1237 w 10313"/>
                  <a:gd name="connsiteY26" fmla="*/ 2313 h 10000"/>
                  <a:gd name="connsiteX27" fmla="*/ 1669 w 10313"/>
                  <a:gd name="connsiteY27" fmla="*/ 1701 h 10000"/>
                  <a:gd name="connsiteX28" fmla="*/ 1744 w 10313"/>
                  <a:gd name="connsiteY28" fmla="*/ 1095 h 10000"/>
                  <a:gd name="connsiteX29" fmla="*/ 2850 w 10313"/>
                  <a:gd name="connsiteY29" fmla="*/ 0 h 10000"/>
                  <a:gd name="connsiteX30" fmla="*/ 3179 w 10313"/>
                  <a:gd name="connsiteY30" fmla="*/ 303 h 10000"/>
                  <a:gd name="connsiteX31" fmla="*/ 3997 w 10313"/>
                  <a:gd name="connsiteY31" fmla="*/ 346 h 10000"/>
                  <a:gd name="connsiteX32" fmla="*/ 4584 w 10313"/>
                  <a:gd name="connsiteY32" fmla="*/ 346 h 10000"/>
                  <a:gd name="connsiteX33" fmla="*/ 5478 w 10313"/>
                  <a:gd name="connsiteY33" fmla="*/ 388 h 10000"/>
                  <a:gd name="connsiteX34" fmla="*/ 6553 w 10313"/>
                  <a:gd name="connsiteY34" fmla="*/ 1143 h 10000"/>
                  <a:gd name="connsiteX35" fmla="*/ 7371 w 10313"/>
                  <a:gd name="connsiteY35" fmla="*/ 1143 h 10000"/>
                  <a:gd name="connsiteX36" fmla="*/ 8015 w 10313"/>
                  <a:gd name="connsiteY36" fmla="*/ 2142 h 10000"/>
                  <a:gd name="connsiteX37" fmla="*/ 8117 w 10313"/>
                  <a:gd name="connsiteY37" fmla="*/ 3509 h 10000"/>
                  <a:gd name="connsiteX38" fmla="*/ 8583 w 10313"/>
                  <a:gd name="connsiteY38" fmla="*/ 4577 h 10000"/>
                  <a:gd name="connsiteX39" fmla="*/ 8446 w 10313"/>
                  <a:gd name="connsiteY39" fmla="*/ 4912 h 10000"/>
                  <a:gd name="connsiteX40" fmla="*/ 8583 w 10313"/>
                  <a:gd name="connsiteY40" fmla="*/ 5263 h 10000"/>
                  <a:gd name="connsiteX41" fmla="*/ 9522 w 10313"/>
                  <a:gd name="connsiteY41" fmla="*/ 5369 h 10000"/>
                  <a:gd name="connsiteX42" fmla="*/ 9597 w 10313"/>
                  <a:gd name="connsiteY42" fmla="*/ 6268 h 10000"/>
                  <a:gd name="connsiteX43" fmla="*/ 9908 w 10313"/>
                  <a:gd name="connsiteY43" fmla="*/ 6023 h 10000"/>
                  <a:gd name="connsiteX44" fmla="*/ 10165 w 10313"/>
                  <a:gd name="connsiteY44" fmla="*/ 6374 h 10000"/>
                  <a:gd name="connsiteX45" fmla="*/ 10165 w 10313"/>
                  <a:gd name="connsiteY45" fmla="*/ 6481 h 10000"/>
                  <a:gd name="connsiteX46" fmla="*/ 10313 w 10313"/>
                  <a:gd name="connsiteY46" fmla="*/ 6667 h 10000"/>
                  <a:gd name="connsiteX47" fmla="*/ 10086 w 10313"/>
                  <a:gd name="connsiteY47" fmla="*/ 7087 h 10000"/>
                  <a:gd name="connsiteX48" fmla="*/ 9654 w 10313"/>
                  <a:gd name="connsiteY48" fmla="*/ 7129 h 10000"/>
                  <a:gd name="connsiteX49" fmla="*/ 9374 w 10313"/>
                  <a:gd name="connsiteY49" fmla="*/ 7278 h 10000"/>
                  <a:gd name="connsiteX50" fmla="*/ 9294 w 10313"/>
                  <a:gd name="connsiteY50" fmla="*/ 7379 h 10000"/>
                  <a:gd name="connsiteX51" fmla="*/ 9654 w 10313"/>
                  <a:gd name="connsiteY51" fmla="*/ 7778 h 10000"/>
                  <a:gd name="connsiteX52" fmla="*/ 9480 w 10313"/>
                  <a:gd name="connsiteY52" fmla="*/ 8618 h 10000"/>
                  <a:gd name="connsiteX53" fmla="*/ 9484 w 10313"/>
                  <a:gd name="connsiteY53" fmla="*/ 8618 h 10000"/>
                  <a:gd name="connsiteX0" fmla="*/ 9484 w 10313"/>
                  <a:gd name="connsiteY0" fmla="*/ 8618 h 10000"/>
                  <a:gd name="connsiteX1" fmla="*/ 8984 w 10313"/>
                  <a:gd name="connsiteY1" fmla="*/ 8490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366 w 10313"/>
                  <a:gd name="connsiteY4" fmla="*/ 8734 h 10000"/>
                  <a:gd name="connsiteX5" fmla="*/ 7223 w 10313"/>
                  <a:gd name="connsiteY5" fmla="*/ 8659 h 10000"/>
                  <a:gd name="connsiteX6" fmla="*/ 6881 w 10313"/>
                  <a:gd name="connsiteY6" fmla="*/ 8763 h 10000"/>
                  <a:gd name="connsiteX7" fmla="*/ 6402 w 10313"/>
                  <a:gd name="connsiteY7" fmla="*/ 8790 h 10000"/>
                  <a:gd name="connsiteX8" fmla="*/ 6214 w 10313"/>
                  <a:gd name="connsiteY8" fmla="*/ 9295 h 10000"/>
                  <a:gd name="connsiteX9" fmla="*/ 5432 w 10313"/>
                  <a:gd name="connsiteY9" fmla="*/ 9096 h 10000"/>
                  <a:gd name="connsiteX10" fmla="*/ 5300 w 10313"/>
                  <a:gd name="connsiteY10" fmla="*/ 9394 h 10000"/>
                  <a:gd name="connsiteX11" fmla="*/ 5300 w 10313"/>
                  <a:gd name="connsiteY11" fmla="*/ 9793 h 10000"/>
                  <a:gd name="connsiteX12" fmla="*/ 5042 w 10313"/>
                  <a:gd name="connsiteY12" fmla="*/ 10000 h 10000"/>
                  <a:gd name="connsiteX13" fmla="*/ 4043 w 10313"/>
                  <a:gd name="connsiteY13" fmla="*/ 9638 h 10000"/>
                  <a:gd name="connsiteX14" fmla="*/ 3331 w 10313"/>
                  <a:gd name="connsiteY14" fmla="*/ 9288 h 10000"/>
                  <a:gd name="connsiteX15" fmla="*/ 2259 w 10313"/>
                  <a:gd name="connsiteY15" fmla="*/ 9096 h 10000"/>
                  <a:gd name="connsiteX16" fmla="*/ 1661 w 10313"/>
                  <a:gd name="connsiteY16" fmla="*/ 9032 h 10000"/>
                  <a:gd name="connsiteX17" fmla="*/ 1358 w 10313"/>
                  <a:gd name="connsiteY17" fmla="*/ 7884 h 10000"/>
                  <a:gd name="connsiteX18" fmla="*/ 1032 w 10313"/>
                  <a:gd name="connsiteY18" fmla="*/ 7334 h 10000"/>
                  <a:gd name="connsiteX19" fmla="*/ 491 w 10313"/>
                  <a:gd name="connsiteY19" fmla="*/ 7677 h 10000"/>
                  <a:gd name="connsiteX20" fmla="*/ 0 w 10313"/>
                  <a:gd name="connsiteY20" fmla="*/ 7323 h 10000"/>
                  <a:gd name="connsiteX21" fmla="*/ 521 w 10313"/>
                  <a:gd name="connsiteY21" fmla="*/ 5976 h 10000"/>
                  <a:gd name="connsiteX22" fmla="*/ 748 w 10313"/>
                  <a:gd name="connsiteY22" fmla="*/ 4912 h 10000"/>
                  <a:gd name="connsiteX23" fmla="*/ 703 w 10313"/>
                  <a:gd name="connsiteY23" fmla="*/ 4577 h 10000"/>
                  <a:gd name="connsiteX24" fmla="*/ 703 w 10313"/>
                  <a:gd name="connsiteY24" fmla="*/ 3817 h 10000"/>
                  <a:gd name="connsiteX25" fmla="*/ 1032 w 10313"/>
                  <a:gd name="connsiteY25" fmla="*/ 3509 h 10000"/>
                  <a:gd name="connsiteX26" fmla="*/ 1237 w 10313"/>
                  <a:gd name="connsiteY26" fmla="*/ 2313 h 10000"/>
                  <a:gd name="connsiteX27" fmla="*/ 1669 w 10313"/>
                  <a:gd name="connsiteY27" fmla="*/ 1701 h 10000"/>
                  <a:gd name="connsiteX28" fmla="*/ 1744 w 10313"/>
                  <a:gd name="connsiteY28" fmla="*/ 1095 h 10000"/>
                  <a:gd name="connsiteX29" fmla="*/ 2850 w 10313"/>
                  <a:gd name="connsiteY29" fmla="*/ 0 h 10000"/>
                  <a:gd name="connsiteX30" fmla="*/ 3179 w 10313"/>
                  <a:gd name="connsiteY30" fmla="*/ 303 h 10000"/>
                  <a:gd name="connsiteX31" fmla="*/ 3997 w 10313"/>
                  <a:gd name="connsiteY31" fmla="*/ 346 h 10000"/>
                  <a:gd name="connsiteX32" fmla="*/ 4584 w 10313"/>
                  <a:gd name="connsiteY32" fmla="*/ 346 h 10000"/>
                  <a:gd name="connsiteX33" fmla="*/ 5478 w 10313"/>
                  <a:gd name="connsiteY33" fmla="*/ 388 h 10000"/>
                  <a:gd name="connsiteX34" fmla="*/ 6553 w 10313"/>
                  <a:gd name="connsiteY34" fmla="*/ 1143 h 10000"/>
                  <a:gd name="connsiteX35" fmla="*/ 7371 w 10313"/>
                  <a:gd name="connsiteY35" fmla="*/ 1143 h 10000"/>
                  <a:gd name="connsiteX36" fmla="*/ 8015 w 10313"/>
                  <a:gd name="connsiteY36" fmla="*/ 2142 h 10000"/>
                  <a:gd name="connsiteX37" fmla="*/ 8117 w 10313"/>
                  <a:gd name="connsiteY37" fmla="*/ 3509 h 10000"/>
                  <a:gd name="connsiteX38" fmla="*/ 8583 w 10313"/>
                  <a:gd name="connsiteY38" fmla="*/ 4577 h 10000"/>
                  <a:gd name="connsiteX39" fmla="*/ 8446 w 10313"/>
                  <a:gd name="connsiteY39" fmla="*/ 4912 h 10000"/>
                  <a:gd name="connsiteX40" fmla="*/ 8583 w 10313"/>
                  <a:gd name="connsiteY40" fmla="*/ 5263 h 10000"/>
                  <a:gd name="connsiteX41" fmla="*/ 9522 w 10313"/>
                  <a:gd name="connsiteY41" fmla="*/ 5369 h 10000"/>
                  <a:gd name="connsiteX42" fmla="*/ 9597 w 10313"/>
                  <a:gd name="connsiteY42" fmla="*/ 6268 h 10000"/>
                  <a:gd name="connsiteX43" fmla="*/ 9908 w 10313"/>
                  <a:gd name="connsiteY43" fmla="*/ 6023 h 10000"/>
                  <a:gd name="connsiteX44" fmla="*/ 10165 w 10313"/>
                  <a:gd name="connsiteY44" fmla="*/ 6374 h 10000"/>
                  <a:gd name="connsiteX45" fmla="*/ 10165 w 10313"/>
                  <a:gd name="connsiteY45" fmla="*/ 6481 h 10000"/>
                  <a:gd name="connsiteX46" fmla="*/ 10313 w 10313"/>
                  <a:gd name="connsiteY46" fmla="*/ 6667 h 10000"/>
                  <a:gd name="connsiteX47" fmla="*/ 10086 w 10313"/>
                  <a:gd name="connsiteY47" fmla="*/ 7087 h 10000"/>
                  <a:gd name="connsiteX48" fmla="*/ 9654 w 10313"/>
                  <a:gd name="connsiteY48" fmla="*/ 7129 h 10000"/>
                  <a:gd name="connsiteX49" fmla="*/ 9374 w 10313"/>
                  <a:gd name="connsiteY49" fmla="*/ 7278 h 10000"/>
                  <a:gd name="connsiteX50" fmla="*/ 9294 w 10313"/>
                  <a:gd name="connsiteY50" fmla="*/ 7379 h 10000"/>
                  <a:gd name="connsiteX51" fmla="*/ 9654 w 10313"/>
                  <a:gd name="connsiteY51" fmla="*/ 7778 h 10000"/>
                  <a:gd name="connsiteX52" fmla="*/ 9480 w 10313"/>
                  <a:gd name="connsiteY52" fmla="*/ 8618 h 10000"/>
                  <a:gd name="connsiteX53" fmla="*/ 9484 w 10313"/>
                  <a:gd name="connsiteY53" fmla="*/ 8618 h 10000"/>
                  <a:gd name="connsiteX0" fmla="*/ 9484 w 10313"/>
                  <a:gd name="connsiteY0" fmla="*/ 8618 h 10000"/>
                  <a:gd name="connsiteX1" fmla="*/ 9152 w 10313"/>
                  <a:gd name="connsiteY1" fmla="*/ 8957 h 10000"/>
                  <a:gd name="connsiteX2" fmla="*/ 7984 w 10313"/>
                  <a:gd name="connsiteY2" fmla="*/ 8931 h 10000"/>
                  <a:gd name="connsiteX3" fmla="*/ 7655 w 10313"/>
                  <a:gd name="connsiteY3" fmla="*/ 8634 h 10000"/>
                  <a:gd name="connsiteX4" fmla="*/ 7366 w 10313"/>
                  <a:gd name="connsiteY4" fmla="*/ 8734 h 10000"/>
                  <a:gd name="connsiteX5" fmla="*/ 7223 w 10313"/>
                  <a:gd name="connsiteY5" fmla="*/ 8659 h 10000"/>
                  <a:gd name="connsiteX6" fmla="*/ 6881 w 10313"/>
                  <a:gd name="connsiteY6" fmla="*/ 8763 h 10000"/>
                  <a:gd name="connsiteX7" fmla="*/ 6402 w 10313"/>
                  <a:gd name="connsiteY7" fmla="*/ 8790 h 10000"/>
                  <a:gd name="connsiteX8" fmla="*/ 6214 w 10313"/>
                  <a:gd name="connsiteY8" fmla="*/ 9295 h 10000"/>
                  <a:gd name="connsiteX9" fmla="*/ 5432 w 10313"/>
                  <a:gd name="connsiteY9" fmla="*/ 9096 h 10000"/>
                  <a:gd name="connsiteX10" fmla="*/ 5300 w 10313"/>
                  <a:gd name="connsiteY10" fmla="*/ 9394 h 10000"/>
                  <a:gd name="connsiteX11" fmla="*/ 5300 w 10313"/>
                  <a:gd name="connsiteY11" fmla="*/ 9793 h 10000"/>
                  <a:gd name="connsiteX12" fmla="*/ 5042 w 10313"/>
                  <a:gd name="connsiteY12" fmla="*/ 10000 h 10000"/>
                  <a:gd name="connsiteX13" fmla="*/ 4043 w 10313"/>
                  <a:gd name="connsiteY13" fmla="*/ 9638 h 10000"/>
                  <a:gd name="connsiteX14" fmla="*/ 3331 w 10313"/>
                  <a:gd name="connsiteY14" fmla="*/ 9288 h 10000"/>
                  <a:gd name="connsiteX15" fmla="*/ 2259 w 10313"/>
                  <a:gd name="connsiteY15" fmla="*/ 9096 h 10000"/>
                  <a:gd name="connsiteX16" fmla="*/ 1661 w 10313"/>
                  <a:gd name="connsiteY16" fmla="*/ 9032 h 10000"/>
                  <a:gd name="connsiteX17" fmla="*/ 1358 w 10313"/>
                  <a:gd name="connsiteY17" fmla="*/ 7884 h 10000"/>
                  <a:gd name="connsiteX18" fmla="*/ 1032 w 10313"/>
                  <a:gd name="connsiteY18" fmla="*/ 7334 h 10000"/>
                  <a:gd name="connsiteX19" fmla="*/ 491 w 10313"/>
                  <a:gd name="connsiteY19" fmla="*/ 7677 h 10000"/>
                  <a:gd name="connsiteX20" fmla="*/ 0 w 10313"/>
                  <a:gd name="connsiteY20" fmla="*/ 7323 h 10000"/>
                  <a:gd name="connsiteX21" fmla="*/ 521 w 10313"/>
                  <a:gd name="connsiteY21" fmla="*/ 5976 h 10000"/>
                  <a:gd name="connsiteX22" fmla="*/ 748 w 10313"/>
                  <a:gd name="connsiteY22" fmla="*/ 4912 h 10000"/>
                  <a:gd name="connsiteX23" fmla="*/ 703 w 10313"/>
                  <a:gd name="connsiteY23" fmla="*/ 4577 h 10000"/>
                  <a:gd name="connsiteX24" fmla="*/ 703 w 10313"/>
                  <a:gd name="connsiteY24" fmla="*/ 3817 h 10000"/>
                  <a:gd name="connsiteX25" fmla="*/ 1032 w 10313"/>
                  <a:gd name="connsiteY25" fmla="*/ 3509 h 10000"/>
                  <a:gd name="connsiteX26" fmla="*/ 1237 w 10313"/>
                  <a:gd name="connsiteY26" fmla="*/ 2313 h 10000"/>
                  <a:gd name="connsiteX27" fmla="*/ 1669 w 10313"/>
                  <a:gd name="connsiteY27" fmla="*/ 1701 h 10000"/>
                  <a:gd name="connsiteX28" fmla="*/ 1744 w 10313"/>
                  <a:gd name="connsiteY28" fmla="*/ 1095 h 10000"/>
                  <a:gd name="connsiteX29" fmla="*/ 2850 w 10313"/>
                  <a:gd name="connsiteY29" fmla="*/ 0 h 10000"/>
                  <a:gd name="connsiteX30" fmla="*/ 3179 w 10313"/>
                  <a:gd name="connsiteY30" fmla="*/ 303 h 10000"/>
                  <a:gd name="connsiteX31" fmla="*/ 3997 w 10313"/>
                  <a:gd name="connsiteY31" fmla="*/ 346 h 10000"/>
                  <a:gd name="connsiteX32" fmla="*/ 4584 w 10313"/>
                  <a:gd name="connsiteY32" fmla="*/ 346 h 10000"/>
                  <a:gd name="connsiteX33" fmla="*/ 5478 w 10313"/>
                  <a:gd name="connsiteY33" fmla="*/ 388 h 10000"/>
                  <a:gd name="connsiteX34" fmla="*/ 6553 w 10313"/>
                  <a:gd name="connsiteY34" fmla="*/ 1143 h 10000"/>
                  <a:gd name="connsiteX35" fmla="*/ 7371 w 10313"/>
                  <a:gd name="connsiteY35" fmla="*/ 1143 h 10000"/>
                  <a:gd name="connsiteX36" fmla="*/ 8015 w 10313"/>
                  <a:gd name="connsiteY36" fmla="*/ 2142 h 10000"/>
                  <a:gd name="connsiteX37" fmla="*/ 8117 w 10313"/>
                  <a:gd name="connsiteY37" fmla="*/ 3509 h 10000"/>
                  <a:gd name="connsiteX38" fmla="*/ 8583 w 10313"/>
                  <a:gd name="connsiteY38" fmla="*/ 4577 h 10000"/>
                  <a:gd name="connsiteX39" fmla="*/ 8446 w 10313"/>
                  <a:gd name="connsiteY39" fmla="*/ 4912 h 10000"/>
                  <a:gd name="connsiteX40" fmla="*/ 8583 w 10313"/>
                  <a:gd name="connsiteY40" fmla="*/ 5263 h 10000"/>
                  <a:gd name="connsiteX41" fmla="*/ 9522 w 10313"/>
                  <a:gd name="connsiteY41" fmla="*/ 5369 h 10000"/>
                  <a:gd name="connsiteX42" fmla="*/ 9597 w 10313"/>
                  <a:gd name="connsiteY42" fmla="*/ 6268 h 10000"/>
                  <a:gd name="connsiteX43" fmla="*/ 9908 w 10313"/>
                  <a:gd name="connsiteY43" fmla="*/ 6023 h 10000"/>
                  <a:gd name="connsiteX44" fmla="*/ 10165 w 10313"/>
                  <a:gd name="connsiteY44" fmla="*/ 6374 h 10000"/>
                  <a:gd name="connsiteX45" fmla="*/ 10165 w 10313"/>
                  <a:gd name="connsiteY45" fmla="*/ 6481 h 10000"/>
                  <a:gd name="connsiteX46" fmla="*/ 10313 w 10313"/>
                  <a:gd name="connsiteY46" fmla="*/ 6667 h 10000"/>
                  <a:gd name="connsiteX47" fmla="*/ 10086 w 10313"/>
                  <a:gd name="connsiteY47" fmla="*/ 7087 h 10000"/>
                  <a:gd name="connsiteX48" fmla="*/ 9654 w 10313"/>
                  <a:gd name="connsiteY48" fmla="*/ 7129 h 10000"/>
                  <a:gd name="connsiteX49" fmla="*/ 9374 w 10313"/>
                  <a:gd name="connsiteY49" fmla="*/ 7278 h 10000"/>
                  <a:gd name="connsiteX50" fmla="*/ 9294 w 10313"/>
                  <a:gd name="connsiteY50" fmla="*/ 7379 h 10000"/>
                  <a:gd name="connsiteX51" fmla="*/ 9654 w 10313"/>
                  <a:gd name="connsiteY51" fmla="*/ 7778 h 10000"/>
                  <a:gd name="connsiteX52" fmla="*/ 9480 w 10313"/>
                  <a:gd name="connsiteY52" fmla="*/ 8618 h 10000"/>
                  <a:gd name="connsiteX53" fmla="*/ 9484 w 10313"/>
                  <a:gd name="connsiteY53" fmla="*/ 8618 h 10000"/>
                  <a:gd name="connsiteX0" fmla="*/ 9484 w 10313"/>
                  <a:gd name="connsiteY0" fmla="*/ 8618 h 10000"/>
                  <a:gd name="connsiteX1" fmla="*/ 9152 w 10313"/>
                  <a:gd name="connsiteY1" fmla="*/ 8957 h 10000"/>
                  <a:gd name="connsiteX2" fmla="*/ 8176 w 10313"/>
                  <a:gd name="connsiteY2" fmla="*/ 9231 h 10000"/>
                  <a:gd name="connsiteX3" fmla="*/ 7655 w 10313"/>
                  <a:gd name="connsiteY3" fmla="*/ 8634 h 10000"/>
                  <a:gd name="connsiteX4" fmla="*/ 7366 w 10313"/>
                  <a:gd name="connsiteY4" fmla="*/ 8734 h 10000"/>
                  <a:gd name="connsiteX5" fmla="*/ 7223 w 10313"/>
                  <a:gd name="connsiteY5" fmla="*/ 8659 h 10000"/>
                  <a:gd name="connsiteX6" fmla="*/ 6881 w 10313"/>
                  <a:gd name="connsiteY6" fmla="*/ 8763 h 10000"/>
                  <a:gd name="connsiteX7" fmla="*/ 6402 w 10313"/>
                  <a:gd name="connsiteY7" fmla="*/ 8790 h 10000"/>
                  <a:gd name="connsiteX8" fmla="*/ 6214 w 10313"/>
                  <a:gd name="connsiteY8" fmla="*/ 9295 h 10000"/>
                  <a:gd name="connsiteX9" fmla="*/ 5432 w 10313"/>
                  <a:gd name="connsiteY9" fmla="*/ 9096 h 10000"/>
                  <a:gd name="connsiteX10" fmla="*/ 5300 w 10313"/>
                  <a:gd name="connsiteY10" fmla="*/ 9394 h 10000"/>
                  <a:gd name="connsiteX11" fmla="*/ 5300 w 10313"/>
                  <a:gd name="connsiteY11" fmla="*/ 9793 h 10000"/>
                  <a:gd name="connsiteX12" fmla="*/ 5042 w 10313"/>
                  <a:gd name="connsiteY12" fmla="*/ 10000 h 10000"/>
                  <a:gd name="connsiteX13" fmla="*/ 4043 w 10313"/>
                  <a:gd name="connsiteY13" fmla="*/ 9638 h 10000"/>
                  <a:gd name="connsiteX14" fmla="*/ 3331 w 10313"/>
                  <a:gd name="connsiteY14" fmla="*/ 9288 h 10000"/>
                  <a:gd name="connsiteX15" fmla="*/ 2259 w 10313"/>
                  <a:gd name="connsiteY15" fmla="*/ 9096 h 10000"/>
                  <a:gd name="connsiteX16" fmla="*/ 1661 w 10313"/>
                  <a:gd name="connsiteY16" fmla="*/ 9032 h 10000"/>
                  <a:gd name="connsiteX17" fmla="*/ 1358 w 10313"/>
                  <a:gd name="connsiteY17" fmla="*/ 7884 h 10000"/>
                  <a:gd name="connsiteX18" fmla="*/ 1032 w 10313"/>
                  <a:gd name="connsiteY18" fmla="*/ 7334 h 10000"/>
                  <a:gd name="connsiteX19" fmla="*/ 491 w 10313"/>
                  <a:gd name="connsiteY19" fmla="*/ 7677 h 10000"/>
                  <a:gd name="connsiteX20" fmla="*/ 0 w 10313"/>
                  <a:gd name="connsiteY20" fmla="*/ 7323 h 10000"/>
                  <a:gd name="connsiteX21" fmla="*/ 521 w 10313"/>
                  <a:gd name="connsiteY21" fmla="*/ 5976 h 10000"/>
                  <a:gd name="connsiteX22" fmla="*/ 748 w 10313"/>
                  <a:gd name="connsiteY22" fmla="*/ 4912 h 10000"/>
                  <a:gd name="connsiteX23" fmla="*/ 703 w 10313"/>
                  <a:gd name="connsiteY23" fmla="*/ 4577 h 10000"/>
                  <a:gd name="connsiteX24" fmla="*/ 703 w 10313"/>
                  <a:gd name="connsiteY24" fmla="*/ 3817 h 10000"/>
                  <a:gd name="connsiteX25" fmla="*/ 1032 w 10313"/>
                  <a:gd name="connsiteY25" fmla="*/ 3509 h 10000"/>
                  <a:gd name="connsiteX26" fmla="*/ 1237 w 10313"/>
                  <a:gd name="connsiteY26" fmla="*/ 2313 h 10000"/>
                  <a:gd name="connsiteX27" fmla="*/ 1669 w 10313"/>
                  <a:gd name="connsiteY27" fmla="*/ 1701 h 10000"/>
                  <a:gd name="connsiteX28" fmla="*/ 1744 w 10313"/>
                  <a:gd name="connsiteY28" fmla="*/ 1095 h 10000"/>
                  <a:gd name="connsiteX29" fmla="*/ 2850 w 10313"/>
                  <a:gd name="connsiteY29" fmla="*/ 0 h 10000"/>
                  <a:gd name="connsiteX30" fmla="*/ 3179 w 10313"/>
                  <a:gd name="connsiteY30" fmla="*/ 303 h 10000"/>
                  <a:gd name="connsiteX31" fmla="*/ 3997 w 10313"/>
                  <a:gd name="connsiteY31" fmla="*/ 346 h 10000"/>
                  <a:gd name="connsiteX32" fmla="*/ 4584 w 10313"/>
                  <a:gd name="connsiteY32" fmla="*/ 346 h 10000"/>
                  <a:gd name="connsiteX33" fmla="*/ 5478 w 10313"/>
                  <a:gd name="connsiteY33" fmla="*/ 388 h 10000"/>
                  <a:gd name="connsiteX34" fmla="*/ 6553 w 10313"/>
                  <a:gd name="connsiteY34" fmla="*/ 1143 h 10000"/>
                  <a:gd name="connsiteX35" fmla="*/ 7371 w 10313"/>
                  <a:gd name="connsiteY35" fmla="*/ 1143 h 10000"/>
                  <a:gd name="connsiteX36" fmla="*/ 8015 w 10313"/>
                  <a:gd name="connsiteY36" fmla="*/ 2142 h 10000"/>
                  <a:gd name="connsiteX37" fmla="*/ 8117 w 10313"/>
                  <a:gd name="connsiteY37" fmla="*/ 3509 h 10000"/>
                  <a:gd name="connsiteX38" fmla="*/ 8583 w 10313"/>
                  <a:gd name="connsiteY38" fmla="*/ 4577 h 10000"/>
                  <a:gd name="connsiteX39" fmla="*/ 8446 w 10313"/>
                  <a:gd name="connsiteY39" fmla="*/ 4912 h 10000"/>
                  <a:gd name="connsiteX40" fmla="*/ 8583 w 10313"/>
                  <a:gd name="connsiteY40" fmla="*/ 5263 h 10000"/>
                  <a:gd name="connsiteX41" fmla="*/ 9522 w 10313"/>
                  <a:gd name="connsiteY41" fmla="*/ 5369 h 10000"/>
                  <a:gd name="connsiteX42" fmla="*/ 9597 w 10313"/>
                  <a:gd name="connsiteY42" fmla="*/ 6268 h 10000"/>
                  <a:gd name="connsiteX43" fmla="*/ 9908 w 10313"/>
                  <a:gd name="connsiteY43" fmla="*/ 6023 h 10000"/>
                  <a:gd name="connsiteX44" fmla="*/ 10165 w 10313"/>
                  <a:gd name="connsiteY44" fmla="*/ 6374 h 10000"/>
                  <a:gd name="connsiteX45" fmla="*/ 10165 w 10313"/>
                  <a:gd name="connsiteY45" fmla="*/ 6481 h 10000"/>
                  <a:gd name="connsiteX46" fmla="*/ 10313 w 10313"/>
                  <a:gd name="connsiteY46" fmla="*/ 6667 h 10000"/>
                  <a:gd name="connsiteX47" fmla="*/ 10086 w 10313"/>
                  <a:gd name="connsiteY47" fmla="*/ 7087 h 10000"/>
                  <a:gd name="connsiteX48" fmla="*/ 9654 w 10313"/>
                  <a:gd name="connsiteY48" fmla="*/ 7129 h 10000"/>
                  <a:gd name="connsiteX49" fmla="*/ 9374 w 10313"/>
                  <a:gd name="connsiteY49" fmla="*/ 7278 h 10000"/>
                  <a:gd name="connsiteX50" fmla="*/ 9294 w 10313"/>
                  <a:gd name="connsiteY50" fmla="*/ 7379 h 10000"/>
                  <a:gd name="connsiteX51" fmla="*/ 9654 w 10313"/>
                  <a:gd name="connsiteY51" fmla="*/ 7778 h 10000"/>
                  <a:gd name="connsiteX52" fmla="*/ 9480 w 10313"/>
                  <a:gd name="connsiteY52" fmla="*/ 8618 h 10000"/>
                  <a:gd name="connsiteX53" fmla="*/ 9484 w 10313"/>
                  <a:gd name="connsiteY53" fmla="*/ 8618 h 10000"/>
                  <a:gd name="connsiteX0" fmla="*/ 9484 w 10313"/>
                  <a:gd name="connsiteY0" fmla="*/ 8618 h 10000"/>
                  <a:gd name="connsiteX1" fmla="*/ 9152 w 10313"/>
                  <a:gd name="connsiteY1" fmla="*/ 8957 h 10000"/>
                  <a:gd name="connsiteX2" fmla="*/ 8176 w 10313"/>
                  <a:gd name="connsiteY2" fmla="*/ 9231 h 10000"/>
                  <a:gd name="connsiteX3" fmla="*/ 7655 w 10313"/>
                  <a:gd name="connsiteY3" fmla="*/ 8634 h 10000"/>
                  <a:gd name="connsiteX4" fmla="*/ 7366 w 10313"/>
                  <a:gd name="connsiteY4" fmla="*/ 8734 h 10000"/>
                  <a:gd name="connsiteX5" fmla="*/ 7223 w 10313"/>
                  <a:gd name="connsiteY5" fmla="*/ 8659 h 10000"/>
                  <a:gd name="connsiteX6" fmla="*/ 6881 w 10313"/>
                  <a:gd name="connsiteY6" fmla="*/ 8763 h 10000"/>
                  <a:gd name="connsiteX7" fmla="*/ 6402 w 10313"/>
                  <a:gd name="connsiteY7" fmla="*/ 8790 h 10000"/>
                  <a:gd name="connsiteX8" fmla="*/ 6214 w 10313"/>
                  <a:gd name="connsiteY8" fmla="*/ 9295 h 10000"/>
                  <a:gd name="connsiteX9" fmla="*/ 5432 w 10313"/>
                  <a:gd name="connsiteY9" fmla="*/ 9096 h 10000"/>
                  <a:gd name="connsiteX10" fmla="*/ 5300 w 10313"/>
                  <a:gd name="connsiteY10" fmla="*/ 9394 h 10000"/>
                  <a:gd name="connsiteX11" fmla="*/ 5300 w 10313"/>
                  <a:gd name="connsiteY11" fmla="*/ 9793 h 10000"/>
                  <a:gd name="connsiteX12" fmla="*/ 5042 w 10313"/>
                  <a:gd name="connsiteY12" fmla="*/ 10000 h 10000"/>
                  <a:gd name="connsiteX13" fmla="*/ 4043 w 10313"/>
                  <a:gd name="connsiteY13" fmla="*/ 9638 h 10000"/>
                  <a:gd name="connsiteX14" fmla="*/ 3331 w 10313"/>
                  <a:gd name="connsiteY14" fmla="*/ 9288 h 10000"/>
                  <a:gd name="connsiteX15" fmla="*/ 2259 w 10313"/>
                  <a:gd name="connsiteY15" fmla="*/ 9096 h 10000"/>
                  <a:gd name="connsiteX16" fmla="*/ 1661 w 10313"/>
                  <a:gd name="connsiteY16" fmla="*/ 9032 h 10000"/>
                  <a:gd name="connsiteX17" fmla="*/ 1358 w 10313"/>
                  <a:gd name="connsiteY17" fmla="*/ 7884 h 10000"/>
                  <a:gd name="connsiteX18" fmla="*/ 1032 w 10313"/>
                  <a:gd name="connsiteY18" fmla="*/ 7334 h 10000"/>
                  <a:gd name="connsiteX19" fmla="*/ 491 w 10313"/>
                  <a:gd name="connsiteY19" fmla="*/ 7677 h 10000"/>
                  <a:gd name="connsiteX20" fmla="*/ 0 w 10313"/>
                  <a:gd name="connsiteY20" fmla="*/ 7323 h 10000"/>
                  <a:gd name="connsiteX21" fmla="*/ 521 w 10313"/>
                  <a:gd name="connsiteY21" fmla="*/ 5976 h 10000"/>
                  <a:gd name="connsiteX22" fmla="*/ 748 w 10313"/>
                  <a:gd name="connsiteY22" fmla="*/ 4912 h 10000"/>
                  <a:gd name="connsiteX23" fmla="*/ 703 w 10313"/>
                  <a:gd name="connsiteY23" fmla="*/ 4577 h 10000"/>
                  <a:gd name="connsiteX24" fmla="*/ 703 w 10313"/>
                  <a:gd name="connsiteY24" fmla="*/ 3817 h 10000"/>
                  <a:gd name="connsiteX25" fmla="*/ 1032 w 10313"/>
                  <a:gd name="connsiteY25" fmla="*/ 3509 h 10000"/>
                  <a:gd name="connsiteX26" fmla="*/ 1237 w 10313"/>
                  <a:gd name="connsiteY26" fmla="*/ 2313 h 10000"/>
                  <a:gd name="connsiteX27" fmla="*/ 1669 w 10313"/>
                  <a:gd name="connsiteY27" fmla="*/ 1701 h 10000"/>
                  <a:gd name="connsiteX28" fmla="*/ 1744 w 10313"/>
                  <a:gd name="connsiteY28" fmla="*/ 1095 h 10000"/>
                  <a:gd name="connsiteX29" fmla="*/ 2850 w 10313"/>
                  <a:gd name="connsiteY29" fmla="*/ 0 h 10000"/>
                  <a:gd name="connsiteX30" fmla="*/ 3179 w 10313"/>
                  <a:gd name="connsiteY30" fmla="*/ 303 h 10000"/>
                  <a:gd name="connsiteX31" fmla="*/ 3997 w 10313"/>
                  <a:gd name="connsiteY31" fmla="*/ 346 h 10000"/>
                  <a:gd name="connsiteX32" fmla="*/ 4584 w 10313"/>
                  <a:gd name="connsiteY32" fmla="*/ 346 h 10000"/>
                  <a:gd name="connsiteX33" fmla="*/ 5478 w 10313"/>
                  <a:gd name="connsiteY33" fmla="*/ 388 h 10000"/>
                  <a:gd name="connsiteX34" fmla="*/ 6553 w 10313"/>
                  <a:gd name="connsiteY34" fmla="*/ 1143 h 10000"/>
                  <a:gd name="connsiteX35" fmla="*/ 7371 w 10313"/>
                  <a:gd name="connsiteY35" fmla="*/ 1143 h 10000"/>
                  <a:gd name="connsiteX36" fmla="*/ 8015 w 10313"/>
                  <a:gd name="connsiteY36" fmla="*/ 2142 h 10000"/>
                  <a:gd name="connsiteX37" fmla="*/ 8117 w 10313"/>
                  <a:gd name="connsiteY37" fmla="*/ 3509 h 10000"/>
                  <a:gd name="connsiteX38" fmla="*/ 8583 w 10313"/>
                  <a:gd name="connsiteY38" fmla="*/ 4577 h 10000"/>
                  <a:gd name="connsiteX39" fmla="*/ 8446 w 10313"/>
                  <a:gd name="connsiteY39" fmla="*/ 4912 h 10000"/>
                  <a:gd name="connsiteX40" fmla="*/ 8583 w 10313"/>
                  <a:gd name="connsiteY40" fmla="*/ 5263 h 10000"/>
                  <a:gd name="connsiteX41" fmla="*/ 9522 w 10313"/>
                  <a:gd name="connsiteY41" fmla="*/ 5369 h 10000"/>
                  <a:gd name="connsiteX42" fmla="*/ 9597 w 10313"/>
                  <a:gd name="connsiteY42" fmla="*/ 6268 h 10000"/>
                  <a:gd name="connsiteX43" fmla="*/ 9908 w 10313"/>
                  <a:gd name="connsiteY43" fmla="*/ 6023 h 10000"/>
                  <a:gd name="connsiteX44" fmla="*/ 10165 w 10313"/>
                  <a:gd name="connsiteY44" fmla="*/ 6374 h 10000"/>
                  <a:gd name="connsiteX45" fmla="*/ 10165 w 10313"/>
                  <a:gd name="connsiteY45" fmla="*/ 6481 h 10000"/>
                  <a:gd name="connsiteX46" fmla="*/ 10313 w 10313"/>
                  <a:gd name="connsiteY46" fmla="*/ 6667 h 10000"/>
                  <a:gd name="connsiteX47" fmla="*/ 10086 w 10313"/>
                  <a:gd name="connsiteY47" fmla="*/ 7087 h 10000"/>
                  <a:gd name="connsiteX48" fmla="*/ 9654 w 10313"/>
                  <a:gd name="connsiteY48" fmla="*/ 7129 h 10000"/>
                  <a:gd name="connsiteX49" fmla="*/ 9374 w 10313"/>
                  <a:gd name="connsiteY49" fmla="*/ 7278 h 10000"/>
                  <a:gd name="connsiteX50" fmla="*/ 9294 w 10313"/>
                  <a:gd name="connsiteY50" fmla="*/ 7379 h 10000"/>
                  <a:gd name="connsiteX51" fmla="*/ 10183 w 10313"/>
                  <a:gd name="connsiteY51" fmla="*/ 7811 h 10000"/>
                  <a:gd name="connsiteX52" fmla="*/ 9480 w 10313"/>
                  <a:gd name="connsiteY52" fmla="*/ 8618 h 10000"/>
                  <a:gd name="connsiteX53" fmla="*/ 9484 w 10313"/>
                  <a:gd name="connsiteY53" fmla="*/ 8618 h 10000"/>
                  <a:gd name="connsiteX0" fmla="*/ 9484 w 10617"/>
                  <a:gd name="connsiteY0" fmla="*/ 8618 h 10000"/>
                  <a:gd name="connsiteX1" fmla="*/ 9152 w 10617"/>
                  <a:gd name="connsiteY1" fmla="*/ 8957 h 10000"/>
                  <a:gd name="connsiteX2" fmla="*/ 8176 w 10617"/>
                  <a:gd name="connsiteY2" fmla="*/ 9231 h 10000"/>
                  <a:gd name="connsiteX3" fmla="*/ 7655 w 10617"/>
                  <a:gd name="connsiteY3" fmla="*/ 8634 h 10000"/>
                  <a:gd name="connsiteX4" fmla="*/ 7366 w 10617"/>
                  <a:gd name="connsiteY4" fmla="*/ 8734 h 10000"/>
                  <a:gd name="connsiteX5" fmla="*/ 7223 w 10617"/>
                  <a:gd name="connsiteY5" fmla="*/ 8659 h 10000"/>
                  <a:gd name="connsiteX6" fmla="*/ 6881 w 10617"/>
                  <a:gd name="connsiteY6" fmla="*/ 8763 h 10000"/>
                  <a:gd name="connsiteX7" fmla="*/ 6402 w 10617"/>
                  <a:gd name="connsiteY7" fmla="*/ 8790 h 10000"/>
                  <a:gd name="connsiteX8" fmla="*/ 6214 w 10617"/>
                  <a:gd name="connsiteY8" fmla="*/ 9295 h 10000"/>
                  <a:gd name="connsiteX9" fmla="*/ 5432 w 10617"/>
                  <a:gd name="connsiteY9" fmla="*/ 9096 h 10000"/>
                  <a:gd name="connsiteX10" fmla="*/ 5300 w 10617"/>
                  <a:gd name="connsiteY10" fmla="*/ 9394 h 10000"/>
                  <a:gd name="connsiteX11" fmla="*/ 5300 w 10617"/>
                  <a:gd name="connsiteY11" fmla="*/ 9793 h 10000"/>
                  <a:gd name="connsiteX12" fmla="*/ 5042 w 10617"/>
                  <a:gd name="connsiteY12" fmla="*/ 10000 h 10000"/>
                  <a:gd name="connsiteX13" fmla="*/ 4043 w 10617"/>
                  <a:gd name="connsiteY13" fmla="*/ 9638 h 10000"/>
                  <a:gd name="connsiteX14" fmla="*/ 3331 w 10617"/>
                  <a:gd name="connsiteY14" fmla="*/ 9288 h 10000"/>
                  <a:gd name="connsiteX15" fmla="*/ 2259 w 10617"/>
                  <a:gd name="connsiteY15" fmla="*/ 9096 h 10000"/>
                  <a:gd name="connsiteX16" fmla="*/ 1661 w 10617"/>
                  <a:gd name="connsiteY16" fmla="*/ 9032 h 10000"/>
                  <a:gd name="connsiteX17" fmla="*/ 1358 w 10617"/>
                  <a:gd name="connsiteY17" fmla="*/ 7884 h 10000"/>
                  <a:gd name="connsiteX18" fmla="*/ 1032 w 10617"/>
                  <a:gd name="connsiteY18" fmla="*/ 7334 h 10000"/>
                  <a:gd name="connsiteX19" fmla="*/ 491 w 10617"/>
                  <a:gd name="connsiteY19" fmla="*/ 7677 h 10000"/>
                  <a:gd name="connsiteX20" fmla="*/ 0 w 10617"/>
                  <a:gd name="connsiteY20" fmla="*/ 7323 h 10000"/>
                  <a:gd name="connsiteX21" fmla="*/ 521 w 10617"/>
                  <a:gd name="connsiteY21" fmla="*/ 5976 h 10000"/>
                  <a:gd name="connsiteX22" fmla="*/ 748 w 10617"/>
                  <a:gd name="connsiteY22" fmla="*/ 4912 h 10000"/>
                  <a:gd name="connsiteX23" fmla="*/ 703 w 10617"/>
                  <a:gd name="connsiteY23" fmla="*/ 4577 h 10000"/>
                  <a:gd name="connsiteX24" fmla="*/ 703 w 10617"/>
                  <a:gd name="connsiteY24" fmla="*/ 3817 h 10000"/>
                  <a:gd name="connsiteX25" fmla="*/ 1032 w 10617"/>
                  <a:gd name="connsiteY25" fmla="*/ 3509 h 10000"/>
                  <a:gd name="connsiteX26" fmla="*/ 1237 w 10617"/>
                  <a:gd name="connsiteY26" fmla="*/ 2313 h 10000"/>
                  <a:gd name="connsiteX27" fmla="*/ 1669 w 10617"/>
                  <a:gd name="connsiteY27" fmla="*/ 1701 h 10000"/>
                  <a:gd name="connsiteX28" fmla="*/ 1744 w 10617"/>
                  <a:gd name="connsiteY28" fmla="*/ 1095 h 10000"/>
                  <a:gd name="connsiteX29" fmla="*/ 2850 w 10617"/>
                  <a:gd name="connsiteY29" fmla="*/ 0 h 10000"/>
                  <a:gd name="connsiteX30" fmla="*/ 3179 w 10617"/>
                  <a:gd name="connsiteY30" fmla="*/ 303 h 10000"/>
                  <a:gd name="connsiteX31" fmla="*/ 3997 w 10617"/>
                  <a:gd name="connsiteY31" fmla="*/ 346 h 10000"/>
                  <a:gd name="connsiteX32" fmla="*/ 4584 w 10617"/>
                  <a:gd name="connsiteY32" fmla="*/ 346 h 10000"/>
                  <a:gd name="connsiteX33" fmla="*/ 5478 w 10617"/>
                  <a:gd name="connsiteY33" fmla="*/ 388 h 10000"/>
                  <a:gd name="connsiteX34" fmla="*/ 6553 w 10617"/>
                  <a:gd name="connsiteY34" fmla="*/ 1143 h 10000"/>
                  <a:gd name="connsiteX35" fmla="*/ 7371 w 10617"/>
                  <a:gd name="connsiteY35" fmla="*/ 1143 h 10000"/>
                  <a:gd name="connsiteX36" fmla="*/ 8015 w 10617"/>
                  <a:gd name="connsiteY36" fmla="*/ 2142 h 10000"/>
                  <a:gd name="connsiteX37" fmla="*/ 8117 w 10617"/>
                  <a:gd name="connsiteY37" fmla="*/ 3509 h 10000"/>
                  <a:gd name="connsiteX38" fmla="*/ 8583 w 10617"/>
                  <a:gd name="connsiteY38" fmla="*/ 4577 h 10000"/>
                  <a:gd name="connsiteX39" fmla="*/ 8446 w 10617"/>
                  <a:gd name="connsiteY39" fmla="*/ 4912 h 10000"/>
                  <a:gd name="connsiteX40" fmla="*/ 8583 w 10617"/>
                  <a:gd name="connsiteY40" fmla="*/ 5263 h 10000"/>
                  <a:gd name="connsiteX41" fmla="*/ 9522 w 10617"/>
                  <a:gd name="connsiteY41" fmla="*/ 5369 h 10000"/>
                  <a:gd name="connsiteX42" fmla="*/ 9597 w 10617"/>
                  <a:gd name="connsiteY42" fmla="*/ 6268 h 10000"/>
                  <a:gd name="connsiteX43" fmla="*/ 9908 w 10617"/>
                  <a:gd name="connsiteY43" fmla="*/ 6023 h 10000"/>
                  <a:gd name="connsiteX44" fmla="*/ 10165 w 10617"/>
                  <a:gd name="connsiteY44" fmla="*/ 6374 h 10000"/>
                  <a:gd name="connsiteX45" fmla="*/ 10165 w 10617"/>
                  <a:gd name="connsiteY45" fmla="*/ 6481 h 10000"/>
                  <a:gd name="connsiteX46" fmla="*/ 10313 w 10617"/>
                  <a:gd name="connsiteY46" fmla="*/ 6667 h 10000"/>
                  <a:gd name="connsiteX47" fmla="*/ 10086 w 10617"/>
                  <a:gd name="connsiteY47" fmla="*/ 7087 h 10000"/>
                  <a:gd name="connsiteX48" fmla="*/ 9654 w 10617"/>
                  <a:gd name="connsiteY48" fmla="*/ 7129 h 10000"/>
                  <a:gd name="connsiteX49" fmla="*/ 9374 w 10617"/>
                  <a:gd name="connsiteY49" fmla="*/ 7278 h 10000"/>
                  <a:gd name="connsiteX50" fmla="*/ 10617 w 10617"/>
                  <a:gd name="connsiteY50" fmla="*/ 7179 h 10000"/>
                  <a:gd name="connsiteX51" fmla="*/ 10183 w 10617"/>
                  <a:gd name="connsiteY51" fmla="*/ 7811 h 10000"/>
                  <a:gd name="connsiteX52" fmla="*/ 9480 w 10617"/>
                  <a:gd name="connsiteY52" fmla="*/ 8618 h 10000"/>
                  <a:gd name="connsiteX53" fmla="*/ 9484 w 10617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584 w 10664"/>
                  <a:gd name="connsiteY32" fmla="*/ 346 h 10000"/>
                  <a:gd name="connsiteX33" fmla="*/ 5478 w 10664"/>
                  <a:gd name="connsiteY33" fmla="*/ 388 h 10000"/>
                  <a:gd name="connsiteX34" fmla="*/ 6553 w 10664"/>
                  <a:gd name="connsiteY34" fmla="*/ 11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086 w 10664"/>
                  <a:gd name="connsiteY47" fmla="*/ 7087 h 10000"/>
                  <a:gd name="connsiteX48" fmla="*/ 10664 w 10664"/>
                  <a:gd name="connsiteY48" fmla="*/ 6929 h 10000"/>
                  <a:gd name="connsiteX49" fmla="*/ 9374 w 10664"/>
                  <a:gd name="connsiteY49" fmla="*/ 72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584 w 10664"/>
                  <a:gd name="connsiteY32" fmla="*/ 346 h 10000"/>
                  <a:gd name="connsiteX33" fmla="*/ 5478 w 10664"/>
                  <a:gd name="connsiteY33" fmla="*/ 388 h 10000"/>
                  <a:gd name="connsiteX34" fmla="*/ 6553 w 10664"/>
                  <a:gd name="connsiteY34" fmla="*/ 11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086 w 10664"/>
                  <a:gd name="connsiteY47" fmla="*/ 7087 h 10000"/>
                  <a:gd name="connsiteX48" fmla="*/ 10664 w 10664"/>
                  <a:gd name="connsiteY48" fmla="*/ 6929 h 10000"/>
                  <a:gd name="connsiteX49" fmla="*/ 10552 w 10664"/>
                  <a:gd name="connsiteY49" fmla="*/ 70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584 w 10664"/>
                  <a:gd name="connsiteY32" fmla="*/ 346 h 10000"/>
                  <a:gd name="connsiteX33" fmla="*/ 5478 w 10664"/>
                  <a:gd name="connsiteY33" fmla="*/ 388 h 10000"/>
                  <a:gd name="connsiteX34" fmla="*/ 6553 w 10664"/>
                  <a:gd name="connsiteY34" fmla="*/ 11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543 w 10664"/>
                  <a:gd name="connsiteY47" fmla="*/ 6820 h 10000"/>
                  <a:gd name="connsiteX48" fmla="*/ 10664 w 10664"/>
                  <a:gd name="connsiteY48" fmla="*/ 6929 h 10000"/>
                  <a:gd name="connsiteX49" fmla="*/ 10552 w 10664"/>
                  <a:gd name="connsiteY49" fmla="*/ 70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584 w 10664"/>
                  <a:gd name="connsiteY32" fmla="*/ 346 h 10000"/>
                  <a:gd name="connsiteX33" fmla="*/ 5286 w 10664"/>
                  <a:gd name="connsiteY33" fmla="*/ 655 h 10000"/>
                  <a:gd name="connsiteX34" fmla="*/ 6553 w 10664"/>
                  <a:gd name="connsiteY34" fmla="*/ 11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543 w 10664"/>
                  <a:gd name="connsiteY47" fmla="*/ 6820 h 10000"/>
                  <a:gd name="connsiteX48" fmla="*/ 10664 w 10664"/>
                  <a:gd name="connsiteY48" fmla="*/ 6929 h 10000"/>
                  <a:gd name="connsiteX49" fmla="*/ 10552 w 10664"/>
                  <a:gd name="connsiteY49" fmla="*/ 70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584 w 10664"/>
                  <a:gd name="connsiteY32" fmla="*/ 346 h 10000"/>
                  <a:gd name="connsiteX33" fmla="*/ 5286 w 10664"/>
                  <a:gd name="connsiteY33" fmla="*/ 655 h 10000"/>
                  <a:gd name="connsiteX34" fmla="*/ 6361 w 10664"/>
                  <a:gd name="connsiteY34" fmla="*/ 12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543 w 10664"/>
                  <a:gd name="connsiteY47" fmla="*/ 6820 h 10000"/>
                  <a:gd name="connsiteX48" fmla="*/ 10664 w 10664"/>
                  <a:gd name="connsiteY48" fmla="*/ 6929 h 10000"/>
                  <a:gd name="connsiteX49" fmla="*/ 10552 w 10664"/>
                  <a:gd name="connsiteY49" fmla="*/ 70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  <a:gd name="connsiteX0" fmla="*/ 9484 w 10664"/>
                  <a:gd name="connsiteY0" fmla="*/ 8618 h 10000"/>
                  <a:gd name="connsiteX1" fmla="*/ 9152 w 10664"/>
                  <a:gd name="connsiteY1" fmla="*/ 8957 h 10000"/>
                  <a:gd name="connsiteX2" fmla="*/ 8176 w 10664"/>
                  <a:gd name="connsiteY2" fmla="*/ 9231 h 10000"/>
                  <a:gd name="connsiteX3" fmla="*/ 7655 w 10664"/>
                  <a:gd name="connsiteY3" fmla="*/ 8634 h 10000"/>
                  <a:gd name="connsiteX4" fmla="*/ 7366 w 10664"/>
                  <a:gd name="connsiteY4" fmla="*/ 8734 h 10000"/>
                  <a:gd name="connsiteX5" fmla="*/ 7223 w 10664"/>
                  <a:gd name="connsiteY5" fmla="*/ 8659 h 10000"/>
                  <a:gd name="connsiteX6" fmla="*/ 6881 w 10664"/>
                  <a:gd name="connsiteY6" fmla="*/ 8763 h 10000"/>
                  <a:gd name="connsiteX7" fmla="*/ 6402 w 10664"/>
                  <a:gd name="connsiteY7" fmla="*/ 8790 h 10000"/>
                  <a:gd name="connsiteX8" fmla="*/ 6214 w 10664"/>
                  <a:gd name="connsiteY8" fmla="*/ 9295 h 10000"/>
                  <a:gd name="connsiteX9" fmla="*/ 5432 w 10664"/>
                  <a:gd name="connsiteY9" fmla="*/ 9096 h 10000"/>
                  <a:gd name="connsiteX10" fmla="*/ 5300 w 10664"/>
                  <a:gd name="connsiteY10" fmla="*/ 9394 h 10000"/>
                  <a:gd name="connsiteX11" fmla="*/ 5300 w 10664"/>
                  <a:gd name="connsiteY11" fmla="*/ 9793 h 10000"/>
                  <a:gd name="connsiteX12" fmla="*/ 5042 w 10664"/>
                  <a:gd name="connsiteY12" fmla="*/ 10000 h 10000"/>
                  <a:gd name="connsiteX13" fmla="*/ 4043 w 10664"/>
                  <a:gd name="connsiteY13" fmla="*/ 9638 h 10000"/>
                  <a:gd name="connsiteX14" fmla="*/ 3331 w 10664"/>
                  <a:gd name="connsiteY14" fmla="*/ 9288 h 10000"/>
                  <a:gd name="connsiteX15" fmla="*/ 2259 w 10664"/>
                  <a:gd name="connsiteY15" fmla="*/ 9096 h 10000"/>
                  <a:gd name="connsiteX16" fmla="*/ 1661 w 10664"/>
                  <a:gd name="connsiteY16" fmla="*/ 9032 h 10000"/>
                  <a:gd name="connsiteX17" fmla="*/ 1358 w 10664"/>
                  <a:gd name="connsiteY17" fmla="*/ 7884 h 10000"/>
                  <a:gd name="connsiteX18" fmla="*/ 1032 w 10664"/>
                  <a:gd name="connsiteY18" fmla="*/ 7334 h 10000"/>
                  <a:gd name="connsiteX19" fmla="*/ 491 w 10664"/>
                  <a:gd name="connsiteY19" fmla="*/ 7677 h 10000"/>
                  <a:gd name="connsiteX20" fmla="*/ 0 w 10664"/>
                  <a:gd name="connsiteY20" fmla="*/ 7323 h 10000"/>
                  <a:gd name="connsiteX21" fmla="*/ 521 w 10664"/>
                  <a:gd name="connsiteY21" fmla="*/ 5976 h 10000"/>
                  <a:gd name="connsiteX22" fmla="*/ 748 w 10664"/>
                  <a:gd name="connsiteY22" fmla="*/ 4912 h 10000"/>
                  <a:gd name="connsiteX23" fmla="*/ 703 w 10664"/>
                  <a:gd name="connsiteY23" fmla="*/ 4577 h 10000"/>
                  <a:gd name="connsiteX24" fmla="*/ 703 w 10664"/>
                  <a:gd name="connsiteY24" fmla="*/ 3817 h 10000"/>
                  <a:gd name="connsiteX25" fmla="*/ 1032 w 10664"/>
                  <a:gd name="connsiteY25" fmla="*/ 3509 h 10000"/>
                  <a:gd name="connsiteX26" fmla="*/ 1237 w 10664"/>
                  <a:gd name="connsiteY26" fmla="*/ 2313 h 10000"/>
                  <a:gd name="connsiteX27" fmla="*/ 1669 w 10664"/>
                  <a:gd name="connsiteY27" fmla="*/ 1701 h 10000"/>
                  <a:gd name="connsiteX28" fmla="*/ 1744 w 10664"/>
                  <a:gd name="connsiteY28" fmla="*/ 1095 h 10000"/>
                  <a:gd name="connsiteX29" fmla="*/ 2850 w 10664"/>
                  <a:gd name="connsiteY29" fmla="*/ 0 h 10000"/>
                  <a:gd name="connsiteX30" fmla="*/ 3179 w 10664"/>
                  <a:gd name="connsiteY30" fmla="*/ 303 h 10000"/>
                  <a:gd name="connsiteX31" fmla="*/ 3997 w 10664"/>
                  <a:gd name="connsiteY31" fmla="*/ 346 h 10000"/>
                  <a:gd name="connsiteX32" fmla="*/ 4319 w 10664"/>
                  <a:gd name="connsiteY32" fmla="*/ 579 h 10000"/>
                  <a:gd name="connsiteX33" fmla="*/ 5286 w 10664"/>
                  <a:gd name="connsiteY33" fmla="*/ 655 h 10000"/>
                  <a:gd name="connsiteX34" fmla="*/ 6361 w 10664"/>
                  <a:gd name="connsiteY34" fmla="*/ 1243 h 10000"/>
                  <a:gd name="connsiteX35" fmla="*/ 7371 w 10664"/>
                  <a:gd name="connsiteY35" fmla="*/ 1143 h 10000"/>
                  <a:gd name="connsiteX36" fmla="*/ 8015 w 10664"/>
                  <a:gd name="connsiteY36" fmla="*/ 2142 h 10000"/>
                  <a:gd name="connsiteX37" fmla="*/ 8117 w 10664"/>
                  <a:gd name="connsiteY37" fmla="*/ 3509 h 10000"/>
                  <a:gd name="connsiteX38" fmla="*/ 8583 w 10664"/>
                  <a:gd name="connsiteY38" fmla="*/ 4577 h 10000"/>
                  <a:gd name="connsiteX39" fmla="*/ 8446 w 10664"/>
                  <a:gd name="connsiteY39" fmla="*/ 4912 h 10000"/>
                  <a:gd name="connsiteX40" fmla="*/ 8583 w 10664"/>
                  <a:gd name="connsiteY40" fmla="*/ 5263 h 10000"/>
                  <a:gd name="connsiteX41" fmla="*/ 9522 w 10664"/>
                  <a:gd name="connsiteY41" fmla="*/ 5369 h 10000"/>
                  <a:gd name="connsiteX42" fmla="*/ 9597 w 10664"/>
                  <a:gd name="connsiteY42" fmla="*/ 6268 h 10000"/>
                  <a:gd name="connsiteX43" fmla="*/ 9908 w 10664"/>
                  <a:gd name="connsiteY43" fmla="*/ 6023 h 10000"/>
                  <a:gd name="connsiteX44" fmla="*/ 10165 w 10664"/>
                  <a:gd name="connsiteY44" fmla="*/ 6374 h 10000"/>
                  <a:gd name="connsiteX45" fmla="*/ 10165 w 10664"/>
                  <a:gd name="connsiteY45" fmla="*/ 6481 h 10000"/>
                  <a:gd name="connsiteX46" fmla="*/ 10313 w 10664"/>
                  <a:gd name="connsiteY46" fmla="*/ 6667 h 10000"/>
                  <a:gd name="connsiteX47" fmla="*/ 10543 w 10664"/>
                  <a:gd name="connsiteY47" fmla="*/ 6820 h 10000"/>
                  <a:gd name="connsiteX48" fmla="*/ 10664 w 10664"/>
                  <a:gd name="connsiteY48" fmla="*/ 6929 h 10000"/>
                  <a:gd name="connsiteX49" fmla="*/ 10552 w 10664"/>
                  <a:gd name="connsiteY49" fmla="*/ 7078 h 10000"/>
                  <a:gd name="connsiteX50" fmla="*/ 10617 w 10664"/>
                  <a:gd name="connsiteY50" fmla="*/ 7179 h 10000"/>
                  <a:gd name="connsiteX51" fmla="*/ 10183 w 10664"/>
                  <a:gd name="connsiteY51" fmla="*/ 7811 h 10000"/>
                  <a:gd name="connsiteX52" fmla="*/ 9480 w 10664"/>
                  <a:gd name="connsiteY52" fmla="*/ 8618 h 10000"/>
                  <a:gd name="connsiteX53" fmla="*/ 9484 w 10664"/>
                  <a:gd name="connsiteY53" fmla="*/ 86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0664" h="10000">
                    <a:moveTo>
                      <a:pt x="9484" y="8618"/>
                    </a:moveTo>
                    <a:lnTo>
                      <a:pt x="9152" y="8957"/>
                    </a:lnTo>
                    <a:lnTo>
                      <a:pt x="8176" y="9231"/>
                    </a:lnTo>
                    <a:lnTo>
                      <a:pt x="7655" y="8634"/>
                    </a:lnTo>
                    <a:cubicBezTo>
                      <a:pt x="7575" y="8623"/>
                      <a:pt x="7446" y="8745"/>
                      <a:pt x="7366" y="8734"/>
                    </a:cubicBezTo>
                    <a:lnTo>
                      <a:pt x="7223" y="8659"/>
                    </a:lnTo>
                    <a:lnTo>
                      <a:pt x="6881" y="8763"/>
                    </a:lnTo>
                    <a:lnTo>
                      <a:pt x="6402" y="8790"/>
                    </a:lnTo>
                    <a:cubicBezTo>
                      <a:pt x="6339" y="9058"/>
                      <a:pt x="6277" y="9027"/>
                      <a:pt x="6214" y="9295"/>
                    </a:cubicBezTo>
                    <a:lnTo>
                      <a:pt x="5432" y="9096"/>
                    </a:lnTo>
                    <a:lnTo>
                      <a:pt x="5300" y="9394"/>
                    </a:lnTo>
                    <a:lnTo>
                      <a:pt x="5300" y="9793"/>
                    </a:lnTo>
                    <a:lnTo>
                      <a:pt x="5042" y="10000"/>
                    </a:lnTo>
                    <a:lnTo>
                      <a:pt x="4043" y="9638"/>
                    </a:lnTo>
                    <a:lnTo>
                      <a:pt x="3331" y="9288"/>
                    </a:lnTo>
                    <a:lnTo>
                      <a:pt x="2259" y="9096"/>
                    </a:lnTo>
                    <a:lnTo>
                      <a:pt x="1661" y="9032"/>
                    </a:lnTo>
                    <a:lnTo>
                      <a:pt x="1358" y="7884"/>
                    </a:lnTo>
                    <a:lnTo>
                      <a:pt x="1032" y="7334"/>
                    </a:lnTo>
                    <a:lnTo>
                      <a:pt x="491" y="7677"/>
                    </a:lnTo>
                    <a:lnTo>
                      <a:pt x="0" y="7323"/>
                    </a:lnTo>
                    <a:lnTo>
                      <a:pt x="521" y="5976"/>
                    </a:lnTo>
                    <a:cubicBezTo>
                      <a:pt x="597" y="5621"/>
                      <a:pt x="672" y="5267"/>
                      <a:pt x="748" y="4912"/>
                    </a:cubicBezTo>
                    <a:cubicBezTo>
                      <a:pt x="733" y="4800"/>
                      <a:pt x="718" y="4689"/>
                      <a:pt x="703" y="4577"/>
                    </a:cubicBezTo>
                    <a:lnTo>
                      <a:pt x="703" y="3817"/>
                    </a:lnTo>
                    <a:lnTo>
                      <a:pt x="1032" y="3509"/>
                    </a:lnTo>
                    <a:cubicBezTo>
                      <a:pt x="1100" y="3110"/>
                      <a:pt x="1169" y="2712"/>
                      <a:pt x="1237" y="2313"/>
                    </a:cubicBezTo>
                    <a:lnTo>
                      <a:pt x="1669" y="1701"/>
                    </a:lnTo>
                    <a:lnTo>
                      <a:pt x="1744" y="1095"/>
                    </a:lnTo>
                    <a:lnTo>
                      <a:pt x="2850" y="0"/>
                    </a:lnTo>
                    <a:lnTo>
                      <a:pt x="3179" y="303"/>
                    </a:lnTo>
                    <a:lnTo>
                      <a:pt x="3997" y="346"/>
                    </a:lnTo>
                    <a:lnTo>
                      <a:pt x="4319" y="579"/>
                    </a:lnTo>
                    <a:lnTo>
                      <a:pt x="5286" y="655"/>
                    </a:lnTo>
                    <a:lnTo>
                      <a:pt x="6361" y="1243"/>
                    </a:lnTo>
                    <a:lnTo>
                      <a:pt x="7371" y="1143"/>
                    </a:lnTo>
                    <a:lnTo>
                      <a:pt x="8015" y="2142"/>
                    </a:lnTo>
                    <a:lnTo>
                      <a:pt x="8117" y="3509"/>
                    </a:lnTo>
                    <a:lnTo>
                      <a:pt x="8583" y="4577"/>
                    </a:lnTo>
                    <a:cubicBezTo>
                      <a:pt x="8537" y="4689"/>
                      <a:pt x="8492" y="4800"/>
                      <a:pt x="8446" y="4912"/>
                    </a:cubicBezTo>
                    <a:cubicBezTo>
                      <a:pt x="8492" y="5029"/>
                      <a:pt x="8537" y="5146"/>
                      <a:pt x="8583" y="5263"/>
                    </a:cubicBezTo>
                    <a:lnTo>
                      <a:pt x="9522" y="5369"/>
                    </a:lnTo>
                    <a:cubicBezTo>
                      <a:pt x="9547" y="5669"/>
                      <a:pt x="9572" y="5968"/>
                      <a:pt x="9597" y="6268"/>
                    </a:cubicBezTo>
                    <a:lnTo>
                      <a:pt x="9908" y="6023"/>
                    </a:lnTo>
                    <a:lnTo>
                      <a:pt x="10165" y="6374"/>
                    </a:lnTo>
                    <a:lnTo>
                      <a:pt x="10165" y="6481"/>
                    </a:lnTo>
                    <a:lnTo>
                      <a:pt x="10313" y="6667"/>
                    </a:lnTo>
                    <a:lnTo>
                      <a:pt x="10543" y="6820"/>
                    </a:lnTo>
                    <a:lnTo>
                      <a:pt x="10664" y="6929"/>
                    </a:lnTo>
                    <a:cubicBezTo>
                      <a:pt x="10627" y="6979"/>
                      <a:pt x="10589" y="7028"/>
                      <a:pt x="10552" y="7078"/>
                    </a:cubicBezTo>
                    <a:lnTo>
                      <a:pt x="10617" y="7179"/>
                    </a:lnTo>
                    <a:lnTo>
                      <a:pt x="10183" y="7811"/>
                    </a:lnTo>
                    <a:lnTo>
                      <a:pt x="9480" y="8618"/>
                    </a:lnTo>
                    <a:lnTo>
                      <a:pt x="9484" y="8618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MS">
                <a:extLst>
                  <a:ext uri="{FF2B5EF4-FFF2-40B4-BE49-F238E27FC236}">
                    <a16:creationId xmlns:a16="http://schemas.microsoft.com/office/drawing/2014/main" id="{8CB7355F-63D4-2869-2D06-777789DCDD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34907" y="3831014"/>
                <a:ext cx="1140708" cy="1138417"/>
              </a:xfrm>
              <a:custGeom>
                <a:avLst/>
                <a:gdLst>
                  <a:gd name="T0" fmla="*/ 0 w 3036"/>
                  <a:gd name="T1" fmla="*/ 0 h 3108"/>
                  <a:gd name="T2" fmla="*/ 0 w 3036"/>
                  <a:gd name="T3" fmla="*/ 0 h 3108"/>
                  <a:gd name="T4" fmla="*/ 0 w 3036"/>
                  <a:gd name="T5" fmla="*/ 0 h 3108"/>
                  <a:gd name="T6" fmla="*/ 0 w 3036"/>
                  <a:gd name="T7" fmla="*/ 0 h 3108"/>
                  <a:gd name="T8" fmla="*/ 0 w 3036"/>
                  <a:gd name="T9" fmla="*/ 0 h 3108"/>
                  <a:gd name="T10" fmla="*/ 0 w 3036"/>
                  <a:gd name="T11" fmla="*/ 0 h 3108"/>
                  <a:gd name="T12" fmla="*/ 0 w 3036"/>
                  <a:gd name="T13" fmla="*/ 0 h 3108"/>
                  <a:gd name="T14" fmla="*/ 0 w 3036"/>
                  <a:gd name="T15" fmla="*/ 0 h 3108"/>
                  <a:gd name="T16" fmla="*/ 0 w 3036"/>
                  <a:gd name="T17" fmla="*/ 0 h 3108"/>
                  <a:gd name="T18" fmla="*/ 0 w 3036"/>
                  <a:gd name="T19" fmla="*/ 0 h 3108"/>
                  <a:gd name="T20" fmla="*/ 0 w 3036"/>
                  <a:gd name="T21" fmla="*/ 0 h 3108"/>
                  <a:gd name="T22" fmla="*/ 0 w 3036"/>
                  <a:gd name="T23" fmla="*/ 0 h 3108"/>
                  <a:gd name="T24" fmla="*/ 0 w 3036"/>
                  <a:gd name="T25" fmla="*/ 0 h 3108"/>
                  <a:gd name="T26" fmla="*/ 0 w 3036"/>
                  <a:gd name="T27" fmla="*/ 0 h 3108"/>
                  <a:gd name="T28" fmla="*/ 0 w 3036"/>
                  <a:gd name="T29" fmla="*/ 0 h 3108"/>
                  <a:gd name="T30" fmla="*/ 0 w 3036"/>
                  <a:gd name="T31" fmla="*/ 0 h 3108"/>
                  <a:gd name="T32" fmla="*/ 0 w 3036"/>
                  <a:gd name="T33" fmla="*/ 0 h 3108"/>
                  <a:gd name="T34" fmla="*/ 0 w 3036"/>
                  <a:gd name="T35" fmla="*/ 0 h 3108"/>
                  <a:gd name="T36" fmla="*/ 0 w 3036"/>
                  <a:gd name="T37" fmla="*/ 0 h 3108"/>
                  <a:gd name="T38" fmla="*/ 0 w 3036"/>
                  <a:gd name="T39" fmla="*/ 0 h 3108"/>
                  <a:gd name="T40" fmla="*/ 0 w 3036"/>
                  <a:gd name="T41" fmla="*/ 0 h 3108"/>
                  <a:gd name="T42" fmla="*/ 0 w 3036"/>
                  <a:gd name="T43" fmla="*/ 0 h 3108"/>
                  <a:gd name="T44" fmla="*/ 0 w 3036"/>
                  <a:gd name="T45" fmla="*/ 0 h 3108"/>
                  <a:gd name="T46" fmla="*/ 0 w 3036"/>
                  <a:gd name="T47" fmla="*/ 0 h 3108"/>
                  <a:gd name="T48" fmla="*/ 0 w 3036"/>
                  <a:gd name="T49" fmla="*/ 0 h 3108"/>
                  <a:gd name="T50" fmla="*/ 0 w 3036"/>
                  <a:gd name="T51" fmla="*/ 0 h 3108"/>
                  <a:gd name="T52" fmla="*/ 0 w 3036"/>
                  <a:gd name="T53" fmla="*/ 0 h 3108"/>
                  <a:gd name="T54" fmla="*/ 0 w 3036"/>
                  <a:gd name="T55" fmla="*/ 0 h 3108"/>
                  <a:gd name="T56" fmla="*/ 0 w 3036"/>
                  <a:gd name="T57" fmla="*/ 0 h 3108"/>
                  <a:gd name="T58" fmla="*/ 0 w 3036"/>
                  <a:gd name="T59" fmla="*/ 0 h 3108"/>
                  <a:gd name="T60" fmla="*/ 0 w 3036"/>
                  <a:gd name="T61" fmla="*/ 0 h 3108"/>
                  <a:gd name="T62" fmla="*/ 0 w 3036"/>
                  <a:gd name="T63" fmla="*/ 0 h 3108"/>
                  <a:gd name="T64" fmla="*/ 0 w 3036"/>
                  <a:gd name="T65" fmla="*/ 0 h 3108"/>
                  <a:gd name="T66" fmla="*/ 0 w 3036"/>
                  <a:gd name="T67" fmla="*/ 0 h 3108"/>
                  <a:gd name="T68" fmla="*/ 0 w 3036"/>
                  <a:gd name="T69" fmla="*/ 0 h 3108"/>
                  <a:gd name="T70" fmla="*/ 0 w 3036"/>
                  <a:gd name="T71" fmla="*/ 0 h 3108"/>
                  <a:gd name="T72" fmla="*/ 0 w 3036"/>
                  <a:gd name="T73" fmla="*/ 0 h 3108"/>
                  <a:gd name="T74" fmla="*/ 0 w 3036"/>
                  <a:gd name="T75" fmla="*/ 0 h 3108"/>
                  <a:gd name="T76" fmla="*/ 0 w 3036"/>
                  <a:gd name="T77" fmla="*/ 0 h 3108"/>
                  <a:gd name="T78" fmla="*/ 0 w 3036"/>
                  <a:gd name="T79" fmla="*/ 0 h 3108"/>
                  <a:gd name="T80" fmla="*/ 0 w 3036"/>
                  <a:gd name="T81" fmla="*/ 0 h 3108"/>
                  <a:gd name="T82" fmla="*/ 0 w 3036"/>
                  <a:gd name="T83" fmla="*/ 0 h 3108"/>
                  <a:gd name="T84" fmla="*/ 0 w 3036"/>
                  <a:gd name="T85" fmla="*/ 0 h 3108"/>
                  <a:gd name="T86" fmla="*/ 0 w 3036"/>
                  <a:gd name="T87" fmla="*/ 0 h 3108"/>
                  <a:gd name="T88" fmla="*/ 0 w 3036"/>
                  <a:gd name="T89" fmla="*/ 0 h 3108"/>
                  <a:gd name="T90" fmla="*/ 0 w 3036"/>
                  <a:gd name="T91" fmla="*/ 0 h 3108"/>
                  <a:gd name="T92" fmla="*/ 0 w 3036"/>
                  <a:gd name="T93" fmla="*/ 0 h 3108"/>
                  <a:gd name="T94" fmla="*/ 0 w 3036"/>
                  <a:gd name="T95" fmla="*/ 0 h 3108"/>
                  <a:gd name="T96" fmla="*/ 0 w 3036"/>
                  <a:gd name="T97" fmla="*/ 0 h 3108"/>
                  <a:gd name="T98" fmla="*/ 0 w 3036"/>
                  <a:gd name="T99" fmla="*/ 0 h 3108"/>
                  <a:gd name="T100" fmla="*/ 0 w 3036"/>
                  <a:gd name="T101" fmla="*/ 0 h 3108"/>
                  <a:gd name="T102" fmla="*/ 0 w 3036"/>
                  <a:gd name="T103" fmla="*/ 0 h 3108"/>
                  <a:gd name="T104" fmla="*/ 0 w 3036"/>
                  <a:gd name="T105" fmla="*/ 0 h 3108"/>
                  <a:gd name="T106" fmla="*/ 0 w 3036"/>
                  <a:gd name="T107" fmla="*/ 0 h 3108"/>
                  <a:gd name="T108" fmla="*/ 0 w 3036"/>
                  <a:gd name="T109" fmla="*/ 0 h 3108"/>
                  <a:gd name="T110" fmla="*/ 0 w 3036"/>
                  <a:gd name="T111" fmla="*/ 0 h 3108"/>
                  <a:gd name="T112" fmla="*/ 0 w 3036"/>
                  <a:gd name="T113" fmla="*/ 0 h 3108"/>
                  <a:gd name="T114" fmla="*/ 0 w 3036"/>
                  <a:gd name="T115" fmla="*/ 0 h 31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036"/>
                  <a:gd name="T175" fmla="*/ 0 h 3108"/>
                  <a:gd name="T176" fmla="*/ 3036 w 3036"/>
                  <a:gd name="T177" fmla="*/ 3108 h 3108"/>
                  <a:gd name="connsiteX0" fmla="*/ 7220 w 10000"/>
                  <a:gd name="connsiteY0" fmla="*/ 7635 h 10000"/>
                  <a:gd name="connsiteX1" fmla="*/ 7793 w 10000"/>
                  <a:gd name="connsiteY1" fmla="*/ 7236 h 10000"/>
                  <a:gd name="connsiteX2" fmla="*/ 8376 w 10000"/>
                  <a:gd name="connsiteY2" fmla="*/ 6477 h 10000"/>
                  <a:gd name="connsiteX3" fmla="*/ 8376 w 10000"/>
                  <a:gd name="connsiteY3" fmla="*/ 6258 h 10000"/>
                  <a:gd name="connsiteX4" fmla="*/ 8689 w 10000"/>
                  <a:gd name="connsiteY4" fmla="*/ 5930 h 10000"/>
                  <a:gd name="connsiteX5" fmla="*/ 8906 w 10000"/>
                  <a:gd name="connsiteY5" fmla="*/ 5347 h 10000"/>
                  <a:gd name="connsiteX6" fmla="*/ 9374 w 10000"/>
                  <a:gd name="connsiteY6" fmla="*/ 4649 h 10000"/>
                  <a:gd name="connsiteX7" fmla="*/ 9934 w 10000"/>
                  <a:gd name="connsiteY7" fmla="*/ 4257 h 10000"/>
                  <a:gd name="connsiteX8" fmla="*/ 9941 w 10000"/>
                  <a:gd name="connsiteY8" fmla="*/ 4122 h 10000"/>
                  <a:gd name="connsiteX9" fmla="*/ 10000 w 10000"/>
                  <a:gd name="connsiteY9" fmla="*/ 3221 h 10000"/>
                  <a:gd name="connsiteX10" fmla="*/ 9625 w 10000"/>
                  <a:gd name="connsiteY10" fmla="*/ 2979 h 10000"/>
                  <a:gd name="connsiteX11" fmla="*/ 8623 w 10000"/>
                  <a:gd name="connsiteY11" fmla="*/ 2587 h 10000"/>
                  <a:gd name="connsiteX12" fmla="*/ 7599 w 10000"/>
                  <a:gd name="connsiteY12" fmla="*/ 2127 h 10000"/>
                  <a:gd name="connsiteX13" fmla="*/ 7286 w 10000"/>
                  <a:gd name="connsiteY13" fmla="*/ 2127 h 10000"/>
                  <a:gd name="connsiteX14" fmla="*/ 7194 w 10000"/>
                  <a:gd name="connsiteY14" fmla="*/ 2040 h 10000"/>
                  <a:gd name="connsiteX15" fmla="*/ 7375 w 10000"/>
                  <a:gd name="connsiteY15" fmla="*/ 1760 h 10000"/>
                  <a:gd name="connsiteX16" fmla="*/ 7220 w 10000"/>
                  <a:gd name="connsiteY16" fmla="*/ 1634 h 10000"/>
                  <a:gd name="connsiteX17" fmla="*/ 6976 w 10000"/>
                  <a:gd name="connsiteY17" fmla="*/ 1634 h 10000"/>
                  <a:gd name="connsiteX18" fmla="*/ 6910 w 10000"/>
                  <a:gd name="connsiteY18" fmla="*/ 1152 h 10000"/>
                  <a:gd name="connsiteX19" fmla="*/ 6416 w 10000"/>
                  <a:gd name="connsiteY19" fmla="*/ 846 h 10000"/>
                  <a:gd name="connsiteX20" fmla="*/ 6103 w 10000"/>
                  <a:gd name="connsiteY20" fmla="*/ 177 h 10000"/>
                  <a:gd name="connsiteX21" fmla="*/ 5810 w 10000"/>
                  <a:gd name="connsiteY21" fmla="*/ 145 h 10000"/>
                  <a:gd name="connsiteX22" fmla="*/ 5662 w 10000"/>
                  <a:gd name="connsiteY22" fmla="*/ 393 h 10000"/>
                  <a:gd name="connsiteX23" fmla="*/ 5455 w 10000"/>
                  <a:gd name="connsiteY23" fmla="*/ 393 h 10000"/>
                  <a:gd name="connsiteX24" fmla="*/ 4858 w 10000"/>
                  <a:gd name="connsiteY24" fmla="*/ 302 h 10000"/>
                  <a:gd name="connsiteX25" fmla="*/ 4457 w 10000"/>
                  <a:gd name="connsiteY25" fmla="*/ 569 h 10000"/>
                  <a:gd name="connsiteX26" fmla="*/ 2744 w 10000"/>
                  <a:gd name="connsiteY26" fmla="*/ 0 h 10000"/>
                  <a:gd name="connsiteX27" fmla="*/ 2497 w 10000"/>
                  <a:gd name="connsiteY27" fmla="*/ 113 h 10000"/>
                  <a:gd name="connsiteX28" fmla="*/ 1960 w 10000"/>
                  <a:gd name="connsiteY28" fmla="*/ 216 h 10000"/>
                  <a:gd name="connsiteX29" fmla="*/ 1584 w 10000"/>
                  <a:gd name="connsiteY29" fmla="*/ 634 h 10000"/>
                  <a:gd name="connsiteX30" fmla="*/ 935 w 10000"/>
                  <a:gd name="connsiteY30" fmla="*/ 1088 h 10000"/>
                  <a:gd name="connsiteX31" fmla="*/ 718 w 10000"/>
                  <a:gd name="connsiteY31" fmla="*/ 1480 h 10000"/>
                  <a:gd name="connsiteX32" fmla="*/ 208 w 10000"/>
                  <a:gd name="connsiteY32" fmla="*/ 3494 h 10000"/>
                  <a:gd name="connsiteX33" fmla="*/ 72 w 10000"/>
                  <a:gd name="connsiteY33" fmla="*/ 3977 h 10000"/>
                  <a:gd name="connsiteX34" fmla="*/ 0 w 10000"/>
                  <a:gd name="connsiteY34" fmla="*/ 4221 h 10000"/>
                  <a:gd name="connsiteX35" fmla="*/ 119 w 10000"/>
                  <a:gd name="connsiteY35" fmla="*/ 4977 h 10000"/>
                  <a:gd name="connsiteX36" fmla="*/ 405 w 10000"/>
                  <a:gd name="connsiteY36" fmla="*/ 5438 h 10000"/>
                  <a:gd name="connsiteX37" fmla="*/ 7 w 10000"/>
                  <a:gd name="connsiteY37" fmla="*/ 7158 h 10000"/>
                  <a:gd name="connsiteX38" fmla="*/ 494 w 10000"/>
                  <a:gd name="connsiteY38" fmla="*/ 7362 h 10000"/>
                  <a:gd name="connsiteX39" fmla="*/ 718 w 10000"/>
                  <a:gd name="connsiteY39" fmla="*/ 7259 h 10000"/>
                  <a:gd name="connsiteX40" fmla="*/ 1430 w 10000"/>
                  <a:gd name="connsiteY40" fmla="*/ 7452 h 10000"/>
                  <a:gd name="connsiteX41" fmla="*/ 2055 w 10000"/>
                  <a:gd name="connsiteY41" fmla="*/ 7477 h 10000"/>
                  <a:gd name="connsiteX42" fmla="*/ 2431 w 10000"/>
                  <a:gd name="connsiteY42" fmla="*/ 7236 h 10000"/>
                  <a:gd name="connsiteX43" fmla="*/ 2833 w 10000"/>
                  <a:gd name="connsiteY43" fmla="*/ 7516 h 10000"/>
                  <a:gd name="connsiteX44" fmla="*/ 3235 w 10000"/>
                  <a:gd name="connsiteY44" fmla="*/ 7539 h 10000"/>
                  <a:gd name="connsiteX45" fmla="*/ 3544 w 10000"/>
                  <a:gd name="connsiteY45" fmla="*/ 8391 h 10000"/>
                  <a:gd name="connsiteX46" fmla="*/ 3640 w 10000"/>
                  <a:gd name="connsiteY46" fmla="*/ 9151 h 10000"/>
                  <a:gd name="connsiteX47" fmla="*/ 3791 w 10000"/>
                  <a:gd name="connsiteY47" fmla="*/ 9672 h 10000"/>
                  <a:gd name="connsiteX48" fmla="*/ 3897 w 10000"/>
                  <a:gd name="connsiteY48" fmla="*/ 9884 h 10000"/>
                  <a:gd name="connsiteX49" fmla="*/ 4209 w 10000"/>
                  <a:gd name="connsiteY49" fmla="*/ 10000 h 10000"/>
                  <a:gd name="connsiteX50" fmla="*/ 4921 w 10000"/>
                  <a:gd name="connsiteY50" fmla="*/ 9694 h 10000"/>
                  <a:gd name="connsiteX51" fmla="*/ 5352 w 10000"/>
                  <a:gd name="connsiteY51" fmla="*/ 9945 h 10000"/>
                  <a:gd name="connsiteX52" fmla="*/ 5639 w 10000"/>
                  <a:gd name="connsiteY52" fmla="*/ 9759 h 10000"/>
                  <a:gd name="connsiteX53" fmla="*/ 5817 w 10000"/>
                  <a:gd name="connsiteY53" fmla="*/ 9035 h 10000"/>
                  <a:gd name="connsiteX54" fmla="*/ 6192 w 10000"/>
                  <a:gd name="connsiteY54" fmla="*/ 8665 h 10000"/>
                  <a:gd name="connsiteX55" fmla="*/ 6258 w 10000"/>
                  <a:gd name="connsiteY55" fmla="*/ 8298 h 10000"/>
                  <a:gd name="connsiteX56" fmla="*/ 7220 w 10000"/>
                  <a:gd name="connsiteY56" fmla="*/ 7635 h 10000"/>
                  <a:gd name="connsiteX0" fmla="*/ 7220 w 10000"/>
                  <a:gd name="connsiteY0" fmla="*/ 7635 h 10000"/>
                  <a:gd name="connsiteX1" fmla="*/ 7793 w 10000"/>
                  <a:gd name="connsiteY1" fmla="*/ 7236 h 10000"/>
                  <a:gd name="connsiteX2" fmla="*/ 8376 w 10000"/>
                  <a:gd name="connsiteY2" fmla="*/ 6477 h 10000"/>
                  <a:gd name="connsiteX3" fmla="*/ 8376 w 10000"/>
                  <a:gd name="connsiteY3" fmla="*/ 6258 h 10000"/>
                  <a:gd name="connsiteX4" fmla="*/ 8689 w 10000"/>
                  <a:gd name="connsiteY4" fmla="*/ 5930 h 10000"/>
                  <a:gd name="connsiteX5" fmla="*/ 8906 w 10000"/>
                  <a:gd name="connsiteY5" fmla="*/ 5347 h 10000"/>
                  <a:gd name="connsiteX6" fmla="*/ 9374 w 10000"/>
                  <a:gd name="connsiteY6" fmla="*/ 4649 h 10000"/>
                  <a:gd name="connsiteX7" fmla="*/ 9934 w 10000"/>
                  <a:gd name="connsiteY7" fmla="*/ 4257 h 10000"/>
                  <a:gd name="connsiteX8" fmla="*/ 9941 w 10000"/>
                  <a:gd name="connsiteY8" fmla="*/ 4122 h 10000"/>
                  <a:gd name="connsiteX9" fmla="*/ 10000 w 10000"/>
                  <a:gd name="connsiteY9" fmla="*/ 3221 h 10000"/>
                  <a:gd name="connsiteX10" fmla="*/ 9625 w 10000"/>
                  <a:gd name="connsiteY10" fmla="*/ 2979 h 10000"/>
                  <a:gd name="connsiteX11" fmla="*/ 8623 w 10000"/>
                  <a:gd name="connsiteY11" fmla="*/ 2587 h 10000"/>
                  <a:gd name="connsiteX12" fmla="*/ 7599 w 10000"/>
                  <a:gd name="connsiteY12" fmla="*/ 2127 h 10000"/>
                  <a:gd name="connsiteX13" fmla="*/ 7286 w 10000"/>
                  <a:gd name="connsiteY13" fmla="*/ 2127 h 10000"/>
                  <a:gd name="connsiteX14" fmla="*/ 7194 w 10000"/>
                  <a:gd name="connsiteY14" fmla="*/ 2040 h 10000"/>
                  <a:gd name="connsiteX15" fmla="*/ 7375 w 10000"/>
                  <a:gd name="connsiteY15" fmla="*/ 1760 h 10000"/>
                  <a:gd name="connsiteX16" fmla="*/ 7220 w 10000"/>
                  <a:gd name="connsiteY16" fmla="*/ 1634 h 10000"/>
                  <a:gd name="connsiteX17" fmla="*/ 6976 w 10000"/>
                  <a:gd name="connsiteY17" fmla="*/ 1634 h 10000"/>
                  <a:gd name="connsiteX18" fmla="*/ 6910 w 10000"/>
                  <a:gd name="connsiteY18" fmla="*/ 1152 h 10000"/>
                  <a:gd name="connsiteX19" fmla="*/ 6416 w 10000"/>
                  <a:gd name="connsiteY19" fmla="*/ 846 h 10000"/>
                  <a:gd name="connsiteX20" fmla="*/ 6103 w 10000"/>
                  <a:gd name="connsiteY20" fmla="*/ 177 h 10000"/>
                  <a:gd name="connsiteX21" fmla="*/ 5810 w 10000"/>
                  <a:gd name="connsiteY21" fmla="*/ 145 h 10000"/>
                  <a:gd name="connsiteX22" fmla="*/ 5662 w 10000"/>
                  <a:gd name="connsiteY22" fmla="*/ 393 h 10000"/>
                  <a:gd name="connsiteX23" fmla="*/ 5455 w 10000"/>
                  <a:gd name="connsiteY23" fmla="*/ 393 h 10000"/>
                  <a:gd name="connsiteX24" fmla="*/ 4858 w 10000"/>
                  <a:gd name="connsiteY24" fmla="*/ 302 h 10000"/>
                  <a:gd name="connsiteX25" fmla="*/ 4457 w 10000"/>
                  <a:gd name="connsiteY25" fmla="*/ 569 h 10000"/>
                  <a:gd name="connsiteX26" fmla="*/ 2744 w 10000"/>
                  <a:gd name="connsiteY26" fmla="*/ 0 h 10000"/>
                  <a:gd name="connsiteX27" fmla="*/ 2497 w 10000"/>
                  <a:gd name="connsiteY27" fmla="*/ 113 h 10000"/>
                  <a:gd name="connsiteX28" fmla="*/ 1960 w 10000"/>
                  <a:gd name="connsiteY28" fmla="*/ 216 h 10000"/>
                  <a:gd name="connsiteX29" fmla="*/ 1584 w 10000"/>
                  <a:gd name="connsiteY29" fmla="*/ 634 h 10000"/>
                  <a:gd name="connsiteX30" fmla="*/ 935 w 10000"/>
                  <a:gd name="connsiteY30" fmla="*/ 1088 h 10000"/>
                  <a:gd name="connsiteX31" fmla="*/ 718 w 10000"/>
                  <a:gd name="connsiteY31" fmla="*/ 1480 h 10000"/>
                  <a:gd name="connsiteX32" fmla="*/ 208 w 10000"/>
                  <a:gd name="connsiteY32" fmla="*/ 3494 h 10000"/>
                  <a:gd name="connsiteX33" fmla="*/ 324 w 10000"/>
                  <a:gd name="connsiteY33" fmla="*/ 4118 h 10000"/>
                  <a:gd name="connsiteX34" fmla="*/ 0 w 10000"/>
                  <a:gd name="connsiteY34" fmla="*/ 4221 h 10000"/>
                  <a:gd name="connsiteX35" fmla="*/ 119 w 10000"/>
                  <a:gd name="connsiteY35" fmla="*/ 4977 h 10000"/>
                  <a:gd name="connsiteX36" fmla="*/ 405 w 10000"/>
                  <a:gd name="connsiteY36" fmla="*/ 5438 h 10000"/>
                  <a:gd name="connsiteX37" fmla="*/ 7 w 10000"/>
                  <a:gd name="connsiteY37" fmla="*/ 7158 h 10000"/>
                  <a:gd name="connsiteX38" fmla="*/ 494 w 10000"/>
                  <a:gd name="connsiteY38" fmla="*/ 7362 h 10000"/>
                  <a:gd name="connsiteX39" fmla="*/ 718 w 10000"/>
                  <a:gd name="connsiteY39" fmla="*/ 7259 h 10000"/>
                  <a:gd name="connsiteX40" fmla="*/ 1430 w 10000"/>
                  <a:gd name="connsiteY40" fmla="*/ 7452 h 10000"/>
                  <a:gd name="connsiteX41" fmla="*/ 2055 w 10000"/>
                  <a:gd name="connsiteY41" fmla="*/ 7477 h 10000"/>
                  <a:gd name="connsiteX42" fmla="*/ 2431 w 10000"/>
                  <a:gd name="connsiteY42" fmla="*/ 7236 h 10000"/>
                  <a:gd name="connsiteX43" fmla="*/ 2833 w 10000"/>
                  <a:gd name="connsiteY43" fmla="*/ 7516 h 10000"/>
                  <a:gd name="connsiteX44" fmla="*/ 3235 w 10000"/>
                  <a:gd name="connsiteY44" fmla="*/ 7539 h 10000"/>
                  <a:gd name="connsiteX45" fmla="*/ 3544 w 10000"/>
                  <a:gd name="connsiteY45" fmla="*/ 8391 h 10000"/>
                  <a:gd name="connsiteX46" fmla="*/ 3640 w 10000"/>
                  <a:gd name="connsiteY46" fmla="*/ 9151 h 10000"/>
                  <a:gd name="connsiteX47" fmla="*/ 3791 w 10000"/>
                  <a:gd name="connsiteY47" fmla="*/ 9672 h 10000"/>
                  <a:gd name="connsiteX48" fmla="*/ 3897 w 10000"/>
                  <a:gd name="connsiteY48" fmla="*/ 9884 h 10000"/>
                  <a:gd name="connsiteX49" fmla="*/ 4209 w 10000"/>
                  <a:gd name="connsiteY49" fmla="*/ 10000 h 10000"/>
                  <a:gd name="connsiteX50" fmla="*/ 4921 w 10000"/>
                  <a:gd name="connsiteY50" fmla="*/ 9694 h 10000"/>
                  <a:gd name="connsiteX51" fmla="*/ 5352 w 10000"/>
                  <a:gd name="connsiteY51" fmla="*/ 9945 h 10000"/>
                  <a:gd name="connsiteX52" fmla="*/ 5639 w 10000"/>
                  <a:gd name="connsiteY52" fmla="*/ 9759 h 10000"/>
                  <a:gd name="connsiteX53" fmla="*/ 5817 w 10000"/>
                  <a:gd name="connsiteY53" fmla="*/ 9035 h 10000"/>
                  <a:gd name="connsiteX54" fmla="*/ 6192 w 10000"/>
                  <a:gd name="connsiteY54" fmla="*/ 8665 h 10000"/>
                  <a:gd name="connsiteX55" fmla="*/ 6258 w 10000"/>
                  <a:gd name="connsiteY55" fmla="*/ 8298 h 10000"/>
                  <a:gd name="connsiteX56" fmla="*/ 7220 w 10000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709 w 10047"/>
                  <a:gd name="connsiteY22" fmla="*/ 393 h 10000"/>
                  <a:gd name="connsiteX23" fmla="*/ 5502 w 10047"/>
                  <a:gd name="connsiteY23" fmla="*/ 393 h 10000"/>
                  <a:gd name="connsiteX24" fmla="*/ 4905 w 10047"/>
                  <a:gd name="connsiteY24" fmla="*/ 302 h 10000"/>
                  <a:gd name="connsiteX25" fmla="*/ 4504 w 10047"/>
                  <a:gd name="connsiteY25" fmla="*/ 569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709 w 10047"/>
                  <a:gd name="connsiteY22" fmla="*/ 393 h 10000"/>
                  <a:gd name="connsiteX23" fmla="*/ 5502 w 10047"/>
                  <a:gd name="connsiteY23" fmla="*/ 393 h 10000"/>
                  <a:gd name="connsiteX24" fmla="*/ 4905 w 10047"/>
                  <a:gd name="connsiteY24" fmla="*/ 302 h 10000"/>
                  <a:gd name="connsiteX25" fmla="*/ 4504 w 10047"/>
                  <a:gd name="connsiteY25" fmla="*/ 569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709 w 10047"/>
                  <a:gd name="connsiteY22" fmla="*/ 393 h 10000"/>
                  <a:gd name="connsiteX23" fmla="*/ 5502 w 10047"/>
                  <a:gd name="connsiteY23" fmla="*/ 393 h 10000"/>
                  <a:gd name="connsiteX24" fmla="*/ 4905 w 10047"/>
                  <a:gd name="connsiteY24" fmla="*/ 302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709 w 10047"/>
                  <a:gd name="connsiteY22" fmla="*/ 393 h 10000"/>
                  <a:gd name="connsiteX23" fmla="*/ 5502 w 10047"/>
                  <a:gd name="connsiteY23" fmla="*/ 393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709 w 10047"/>
                  <a:gd name="connsiteY22" fmla="*/ 393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150 w 10047"/>
                  <a:gd name="connsiteY20" fmla="*/ 177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463 w 10047"/>
                  <a:gd name="connsiteY19" fmla="*/ 846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57 w 10047"/>
                  <a:gd name="connsiteY18" fmla="*/ 1152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421 w 10047"/>
                  <a:gd name="connsiteY6" fmla="*/ 4649 h 10000"/>
                  <a:gd name="connsiteX7" fmla="*/ 9981 w 10047"/>
                  <a:gd name="connsiteY7" fmla="*/ 4257 h 10000"/>
                  <a:gd name="connsiteX8" fmla="*/ 9988 w 10047"/>
                  <a:gd name="connsiteY8" fmla="*/ 4122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56"/>
                  <a:gd name="connsiteY0" fmla="*/ 7635 h 10000"/>
                  <a:gd name="connsiteX1" fmla="*/ 7840 w 10056"/>
                  <a:gd name="connsiteY1" fmla="*/ 7236 h 10000"/>
                  <a:gd name="connsiteX2" fmla="*/ 8423 w 10056"/>
                  <a:gd name="connsiteY2" fmla="*/ 6477 h 10000"/>
                  <a:gd name="connsiteX3" fmla="*/ 8423 w 10056"/>
                  <a:gd name="connsiteY3" fmla="*/ 6258 h 10000"/>
                  <a:gd name="connsiteX4" fmla="*/ 8736 w 10056"/>
                  <a:gd name="connsiteY4" fmla="*/ 5930 h 10000"/>
                  <a:gd name="connsiteX5" fmla="*/ 8953 w 10056"/>
                  <a:gd name="connsiteY5" fmla="*/ 5347 h 10000"/>
                  <a:gd name="connsiteX6" fmla="*/ 9421 w 10056"/>
                  <a:gd name="connsiteY6" fmla="*/ 4649 h 10000"/>
                  <a:gd name="connsiteX7" fmla="*/ 9981 w 10056"/>
                  <a:gd name="connsiteY7" fmla="*/ 4257 h 10000"/>
                  <a:gd name="connsiteX8" fmla="*/ 10051 w 10056"/>
                  <a:gd name="connsiteY8" fmla="*/ 4303 h 10000"/>
                  <a:gd name="connsiteX9" fmla="*/ 10047 w 10056"/>
                  <a:gd name="connsiteY9" fmla="*/ 3221 h 10000"/>
                  <a:gd name="connsiteX10" fmla="*/ 9672 w 10056"/>
                  <a:gd name="connsiteY10" fmla="*/ 2979 h 10000"/>
                  <a:gd name="connsiteX11" fmla="*/ 8670 w 10056"/>
                  <a:gd name="connsiteY11" fmla="*/ 2587 h 10000"/>
                  <a:gd name="connsiteX12" fmla="*/ 7646 w 10056"/>
                  <a:gd name="connsiteY12" fmla="*/ 2127 h 10000"/>
                  <a:gd name="connsiteX13" fmla="*/ 7333 w 10056"/>
                  <a:gd name="connsiteY13" fmla="*/ 2127 h 10000"/>
                  <a:gd name="connsiteX14" fmla="*/ 7241 w 10056"/>
                  <a:gd name="connsiteY14" fmla="*/ 2040 h 10000"/>
                  <a:gd name="connsiteX15" fmla="*/ 7422 w 10056"/>
                  <a:gd name="connsiteY15" fmla="*/ 1760 h 10000"/>
                  <a:gd name="connsiteX16" fmla="*/ 7267 w 10056"/>
                  <a:gd name="connsiteY16" fmla="*/ 1634 h 10000"/>
                  <a:gd name="connsiteX17" fmla="*/ 7023 w 10056"/>
                  <a:gd name="connsiteY17" fmla="*/ 1634 h 10000"/>
                  <a:gd name="connsiteX18" fmla="*/ 6915 w 10056"/>
                  <a:gd name="connsiteY18" fmla="*/ 1253 h 10000"/>
                  <a:gd name="connsiteX19" fmla="*/ 6064 w 10056"/>
                  <a:gd name="connsiteY19" fmla="*/ 1188 h 10000"/>
                  <a:gd name="connsiteX20" fmla="*/ 6234 w 10056"/>
                  <a:gd name="connsiteY20" fmla="*/ 318 h 10000"/>
                  <a:gd name="connsiteX21" fmla="*/ 5857 w 10056"/>
                  <a:gd name="connsiteY21" fmla="*/ 145 h 10000"/>
                  <a:gd name="connsiteX22" fmla="*/ 5919 w 10056"/>
                  <a:gd name="connsiteY22" fmla="*/ 494 h 10000"/>
                  <a:gd name="connsiteX23" fmla="*/ 5481 w 10056"/>
                  <a:gd name="connsiteY23" fmla="*/ 675 h 10000"/>
                  <a:gd name="connsiteX24" fmla="*/ 4716 w 10056"/>
                  <a:gd name="connsiteY24" fmla="*/ 523 h 10000"/>
                  <a:gd name="connsiteX25" fmla="*/ 4273 w 10056"/>
                  <a:gd name="connsiteY25" fmla="*/ 750 h 10000"/>
                  <a:gd name="connsiteX26" fmla="*/ 2791 w 10056"/>
                  <a:gd name="connsiteY26" fmla="*/ 0 h 10000"/>
                  <a:gd name="connsiteX27" fmla="*/ 2544 w 10056"/>
                  <a:gd name="connsiteY27" fmla="*/ 113 h 10000"/>
                  <a:gd name="connsiteX28" fmla="*/ 2007 w 10056"/>
                  <a:gd name="connsiteY28" fmla="*/ 216 h 10000"/>
                  <a:gd name="connsiteX29" fmla="*/ 1631 w 10056"/>
                  <a:gd name="connsiteY29" fmla="*/ 634 h 10000"/>
                  <a:gd name="connsiteX30" fmla="*/ 982 w 10056"/>
                  <a:gd name="connsiteY30" fmla="*/ 1088 h 10000"/>
                  <a:gd name="connsiteX31" fmla="*/ 765 w 10056"/>
                  <a:gd name="connsiteY31" fmla="*/ 1480 h 10000"/>
                  <a:gd name="connsiteX32" fmla="*/ 3 w 10056"/>
                  <a:gd name="connsiteY32" fmla="*/ 3655 h 10000"/>
                  <a:gd name="connsiteX33" fmla="*/ 371 w 10056"/>
                  <a:gd name="connsiteY33" fmla="*/ 4118 h 10000"/>
                  <a:gd name="connsiteX34" fmla="*/ 47 w 10056"/>
                  <a:gd name="connsiteY34" fmla="*/ 4221 h 10000"/>
                  <a:gd name="connsiteX35" fmla="*/ 166 w 10056"/>
                  <a:gd name="connsiteY35" fmla="*/ 4977 h 10000"/>
                  <a:gd name="connsiteX36" fmla="*/ 452 w 10056"/>
                  <a:gd name="connsiteY36" fmla="*/ 5438 h 10000"/>
                  <a:gd name="connsiteX37" fmla="*/ 54 w 10056"/>
                  <a:gd name="connsiteY37" fmla="*/ 7158 h 10000"/>
                  <a:gd name="connsiteX38" fmla="*/ 541 w 10056"/>
                  <a:gd name="connsiteY38" fmla="*/ 7362 h 10000"/>
                  <a:gd name="connsiteX39" fmla="*/ 765 w 10056"/>
                  <a:gd name="connsiteY39" fmla="*/ 7259 h 10000"/>
                  <a:gd name="connsiteX40" fmla="*/ 1477 w 10056"/>
                  <a:gd name="connsiteY40" fmla="*/ 7452 h 10000"/>
                  <a:gd name="connsiteX41" fmla="*/ 2102 w 10056"/>
                  <a:gd name="connsiteY41" fmla="*/ 7477 h 10000"/>
                  <a:gd name="connsiteX42" fmla="*/ 2478 w 10056"/>
                  <a:gd name="connsiteY42" fmla="*/ 7236 h 10000"/>
                  <a:gd name="connsiteX43" fmla="*/ 2880 w 10056"/>
                  <a:gd name="connsiteY43" fmla="*/ 7516 h 10000"/>
                  <a:gd name="connsiteX44" fmla="*/ 3282 w 10056"/>
                  <a:gd name="connsiteY44" fmla="*/ 7539 h 10000"/>
                  <a:gd name="connsiteX45" fmla="*/ 3591 w 10056"/>
                  <a:gd name="connsiteY45" fmla="*/ 8391 h 10000"/>
                  <a:gd name="connsiteX46" fmla="*/ 3687 w 10056"/>
                  <a:gd name="connsiteY46" fmla="*/ 9151 h 10000"/>
                  <a:gd name="connsiteX47" fmla="*/ 3838 w 10056"/>
                  <a:gd name="connsiteY47" fmla="*/ 9672 h 10000"/>
                  <a:gd name="connsiteX48" fmla="*/ 3944 w 10056"/>
                  <a:gd name="connsiteY48" fmla="*/ 9884 h 10000"/>
                  <a:gd name="connsiteX49" fmla="*/ 4256 w 10056"/>
                  <a:gd name="connsiteY49" fmla="*/ 10000 h 10000"/>
                  <a:gd name="connsiteX50" fmla="*/ 4968 w 10056"/>
                  <a:gd name="connsiteY50" fmla="*/ 9694 h 10000"/>
                  <a:gd name="connsiteX51" fmla="*/ 5399 w 10056"/>
                  <a:gd name="connsiteY51" fmla="*/ 9945 h 10000"/>
                  <a:gd name="connsiteX52" fmla="*/ 5686 w 10056"/>
                  <a:gd name="connsiteY52" fmla="*/ 9759 h 10000"/>
                  <a:gd name="connsiteX53" fmla="*/ 5864 w 10056"/>
                  <a:gd name="connsiteY53" fmla="*/ 9035 h 10000"/>
                  <a:gd name="connsiteX54" fmla="*/ 6239 w 10056"/>
                  <a:gd name="connsiteY54" fmla="*/ 8665 h 10000"/>
                  <a:gd name="connsiteX55" fmla="*/ 6305 w 10056"/>
                  <a:gd name="connsiteY55" fmla="*/ 8298 h 10000"/>
                  <a:gd name="connsiteX56" fmla="*/ 7267 w 10056"/>
                  <a:gd name="connsiteY56" fmla="*/ 7635 h 10000"/>
                  <a:gd name="connsiteX0" fmla="*/ 7267 w 10056"/>
                  <a:gd name="connsiteY0" fmla="*/ 7635 h 10000"/>
                  <a:gd name="connsiteX1" fmla="*/ 7840 w 10056"/>
                  <a:gd name="connsiteY1" fmla="*/ 7236 h 10000"/>
                  <a:gd name="connsiteX2" fmla="*/ 8423 w 10056"/>
                  <a:gd name="connsiteY2" fmla="*/ 6477 h 10000"/>
                  <a:gd name="connsiteX3" fmla="*/ 8423 w 10056"/>
                  <a:gd name="connsiteY3" fmla="*/ 6258 h 10000"/>
                  <a:gd name="connsiteX4" fmla="*/ 8736 w 10056"/>
                  <a:gd name="connsiteY4" fmla="*/ 5930 h 10000"/>
                  <a:gd name="connsiteX5" fmla="*/ 8953 w 10056"/>
                  <a:gd name="connsiteY5" fmla="*/ 5347 h 10000"/>
                  <a:gd name="connsiteX6" fmla="*/ 9526 w 10056"/>
                  <a:gd name="connsiteY6" fmla="*/ 4890 h 10000"/>
                  <a:gd name="connsiteX7" fmla="*/ 9981 w 10056"/>
                  <a:gd name="connsiteY7" fmla="*/ 4257 h 10000"/>
                  <a:gd name="connsiteX8" fmla="*/ 10051 w 10056"/>
                  <a:gd name="connsiteY8" fmla="*/ 4303 h 10000"/>
                  <a:gd name="connsiteX9" fmla="*/ 10047 w 10056"/>
                  <a:gd name="connsiteY9" fmla="*/ 3221 h 10000"/>
                  <a:gd name="connsiteX10" fmla="*/ 9672 w 10056"/>
                  <a:gd name="connsiteY10" fmla="*/ 2979 h 10000"/>
                  <a:gd name="connsiteX11" fmla="*/ 8670 w 10056"/>
                  <a:gd name="connsiteY11" fmla="*/ 2587 h 10000"/>
                  <a:gd name="connsiteX12" fmla="*/ 7646 w 10056"/>
                  <a:gd name="connsiteY12" fmla="*/ 2127 h 10000"/>
                  <a:gd name="connsiteX13" fmla="*/ 7333 w 10056"/>
                  <a:gd name="connsiteY13" fmla="*/ 2127 h 10000"/>
                  <a:gd name="connsiteX14" fmla="*/ 7241 w 10056"/>
                  <a:gd name="connsiteY14" fmla="*/ 2040 h 10000"/>
                  <a:gd name="connsiteX15" fmla="*/ 7422 w 10056"/>
                  <a:gd name="connsiteY15" fmla="*/ 1760 h 10000"/>
                  <a:gd name="connsiteX16" fmla="*/ 7267 w 10056"/>
                  <a:gd name="connsiteY16" fmla="*/ 1634 h 10000"/>
                  <a:gd name="connsiteX17" fmla="*/ 7023 w 10056"/>
                  <a:gd name="connsiteY17" fmla="*/ 1634 h 10000"/>
                  <a:gd name="connsiteX18" fmla="*/ 6915 w 10056"/>
                  <a:gd name="connsiteY18" fmla="*/ 1253 h 10000"/>
                  <a:gd name="connsiteX19" fmla="*/ 6064 w 10056"/>
                  <a:gd name="connsiteY19" fmla="*/ 1188 h 10000"/>
                  <a:gd name="connsiteX20" fmla="*/ 6234 w 10056"/>
                  <a:gd name="connsiteY20" fmla="*/ 318 h 10000"/>
                  <a:gd name="connsiteX21" fmla="*/ 5857 w 10056"/>
                  <a:gd name="connsiteY21" fmla="*/ 145 h 10000"/>
                  <a:gd name="connsiteX22" fmla="*/ 5919 w 10056"/>
                  <a:gd name="connsiteY22" fmla="*/ 494 h 10000"/>
                  <a:gd name="connsiteX23" fmla="*/ 5481 w 10056"/>
                  <a:gd name="connsiteY23" fmla="*/ 675 h 10000"/>
                  <a:gd name="connsiteX24" fmla="*/ 4716 w 10056"/>
                  <a:gd name="connsiteY24" fmla="*/ 523 h 10000"/>
                  <a:gd name="connsiteX25" fmla="*/ 4273 w 10056"/>
                  <a:gd name="connsiteY25" fmla="*/ 750 h 10000"/>
                  <a:gd name="connsiteX26" fmla="*/ 2791 w 10056"/>
                  <a:gd name="connsiteY26" fmla="*/ 0 h 10000"/>
                  <a:gd name="connsiteX27" fmla="*/ 2544 w 10056"/>
                  <a:gd name="connsiteY27" fmla="*/ 113 h 10000"/>
                  <a:gd name="connsiteX28" fmla="*/ 2007 w 10056"/>
                  <a:gd name="connsiteY28" fmla="*/ 216 h 10000"/>
                  <a:gd name="connsiteX29" fmla="*/ 1631 w 10056"/>
                  <a:gd name="connsiteY29" fmla="*/ 634 h 10000"/>
                  <a:gd name="connsiteX30" fmla="*/ 982 w 10056"/>
                  <a:gd name="connsiteY30" fmla="*/ 1088 h 10000"/>
                  <a:gd name="connsiteX31" fmla="*/ 765 w 10056"/>
                  <a:gd name="connsiteY31" fmla="*/ 1480 h 10000"/>
                  <a:gd name="connsiteX32" fmla="*/ 3 w 10056"/>
                  <a:gd name="connsiteY32" fmla="*/ 3655 h 10000"/>
                  <a:gd name="connsiteX33" fmla="*/ 371 w 10056"/>
                  <a:gd name="connsiteY33" fmla="*/ 4118 h 10000"/>
                  <a:gd name="connsiteX34" fmla="*/ 47 w 10056"/>
                  <a:gd name="connsiteY34" fmla="*/ 4221 h 10000"/>
                  <a:gd name="connsiteX35" fmla="*/ 166 w 10056"/>
                  <a:gd name="connsiteY35" fmla="*/ 4977 h 10000"/>
                  <a:gd name="connsiteX36" fmla="*/ 452 w 10056"/>
                  <a:gd name="connsiteY36" fmla="*/ 5438 h 10000"/>
                  <a:gd name="connsiteX37" fmla="*/ 54 w 10056"/>
                  <a:gd name="connsiteY37" fmla="*/ 7158 h 10000"/>
                  <a:gd name="connsiteX38" fmla="*/ 541 w 10056"/>
                  <a:gd name="connsiteY38" fmla="*/ 7362 h 10000"/>
                  <a:gd name="connsiteX39" fmla="*/ 765 w 10056"/>
                  <a:gd name="connsiteY39" fmla="*/ 7259 h 10000"/>
                  <a:gd name="connsiteX40" fmla="*/ 1477 w 10056"/>
                  <a:gd name="connsiteY40" fmla="*/ 7452 h 10000"/>
                  <a:gd name="connsiteX41" fmla="*/ 2102 w 10056"/>
                  <a:gd name="connsiteY41" fmla="*/ 7477 h 10000"/>
                  <a:gd name="connsiteX42" fmla="*/ 2478 w 10056"/>
                  <a:gd name="connsiteY42" fmla="*/ 7236 h 10000"/>
                  <a:gd name="connsiteX43" fmla="*/ 2880 w 10056"/>
                  <a:gd name="connsiteY43" fmla="*/ 7516 h 10000"/>
                  <a:gd name="connsiteX44" fmla="*/ 3282 w 10056"/>
                  <a:gd name="connsiteY44" fmla="*/ 7539 h 10000"/>
                  <a:gd name="connsiteX45" fmla="*/ 3591 w 10056"/>
                  <a:gd name="connsiteY45" fmla="*/ 8391 h 10000"/>
                  <a:gd name="connsiteX46" fmla="*/ 3687 w 10056"/>
                  <a:gd name="connsiteY46" fmla="*/ 9151 h 10000"/>
                  <a:gd name="connsiteX47" fmla="*/ 3838 w 10056"/>
                  <a:gd name="connsiteY47" fmla="*/ 9672 h 10000"/>
                  <a:gd name="connsiteX48" fmla="*/ 3944 w 10056"/>
                  <a:gd name="connsiteY48" fmla="*/ 9884 h 10000"/>
                  <a:gd name="connsiteX49" fmla="*/ 4256 w 10056"/>
                  <a:gd name="connsiteY49" fmla="*/ 10000 h 10000"/>
                  <a:gd name="connsiteX50" fmla="*/ 4968 w 10056"/>
                  <a:gd name="connsiteY50" fmla="*/ 9694 h 10000"/>
                  <a:gd name="connsiteX51" fmla="*/ 5399 w 10056"/>
                  <a:gd name="connsiteY51" fmla="*/ 9945 h 10000"/>
                  <a:gd name="connsiteX52" fmla="*/ 5686 w 10056"/>
                  <a:gd name="connsiteY52" fmla="*/ 9759 h 10000"/>
                  <a:gd name="connsiteX53" fmla="*/ 5864 w 10056"/>
                  <a:gd name="connsiteY53" fmla="*/ 9035 h 10000"/>
                  <a:gd name="connsiteX54" fmla="*/ 6239 w 10056"/>
                  <a:gd name="connsiteY54" fmla="*/ 8665 h 10000"/>
                  <a:gd name="connsiteX55" fmla="*/ 6305 w 10056"/>
                  <a:gd name="connsiteY55" fmla="*/ 8298 h 10000"/>
                  <a:gd name="connsiteX56" fmla="*/ 7267 w 10056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8953 w 10047"/>
                  <a:gd name="connsiteY5" fmla="*/ 534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423 w 10047"/>
                  <a:gd name="connsiteY3" fmla="*/ 6258 h 10000"/>
                  <a:gd name="connsiteX4" fmla="*/ 8736 w 10047"/>
                  <a:gd name="connsiteY4" fmla="*/ 5930 h 10000"/>
                  <a:gd name="connsiteX5" fmla="*/ 9037 w 10047"/>
                  <a:gd name="connsiteY5" fmla="*/ 536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612 w 10047"/>
                  <a:gd name="connsiteY3" fmla="*/ 6479 h 10000"/>
                  <a:gd name="connsiteX4" fmla="*/ 8736 w 10047"/>
                  <a:gd name="connsiteY4" fmla="*/ 5930 h 10000"/>
                  <a:gd name="connsiteX5" fmla="*/ 9037 w 10047"/>
                  <a:gd name="connsiteY5" fmla="*/ 536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67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612 w 10047"/>
                  <a:gd name="connsiteY3" fmla="*/ 6479 h 10000"/>
                  <a:gd name="connsiteX4" fmla="*/ 8736 w 10047"/>
                  <a:gd name="connsiteY4" fmla="*/ 5930 h 10000"/>
                  <a:gd name="connsiteX5" fmla="*/ 9037 w 10047"/>
                  <a:gd name="connsiteY5" fmla="*/ 536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88 w 10047"/>
                  <a:gd name="connsiteY56" fmla="*/ 7816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612 w 10047"/>
                  <a:gd name="connsiteY3" fmla="*/ 6479 h 10000"/>
                  <a:gd name="connsiteX4" fmla="*/ 8736 w 10047"/>
                  <a:gd name="connsiteY4" fmla="*/ 5930 h 10000"/>
                  <a:gd name="connsiteX5" fmla="*/ 9037 w 10047"/>
                  <a:gd name="connsiteY5" fmla="*/ 536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204 w 10047"/>
                  <a:gd name="connsiteY56" fmla="*/ 7635 h 10000"/>
                  <a:gd name="connsiteX0" fmla="*/ 7267 w 10047"/>
                  <a:gd name="connsiteY0" fmla="*/ 7635 h 10000"/>
                  <a:gd name="connsiteX1" fmla="*/ 7840 w 10047"/>
                  <a:gd name="connsiteY1" fmla="*/ 7236 h 10000"/>
                  <a:gd name="connsiteX2" fmla="*/ 8423 w 10047"/>
                  <a:gd name="connsiteY2" fmla="*/ 6477 h 10000"/>
                  <a:gd name="connsiteX3" fmla="*/ 8612 w 10047"/>
                  <a:gd name="connsiteY3" fmla="*/ 6479 h 10000"/>
                  <a:gd name="connsiteX4" fmla="*/ 8736 w 10047"/>
                  <a:gd name="connsiteY4" fmla="*/ 5930 h 10000"/>
                  <a:gd name="connsiteX5" fmla="*/ 9037 w 10047"/>
                  <a:gd name="connsiteY5" fmla="*/ 5367 h 10000"/>
                  <a:gd name="connsiteX6" fmla="*/ 9526 w 10047"/>
                  <a:gd name="connsiteY6" fmla="*/ 4890 h 10000"/>
                  <a:gd name="connsiteX7" fmla="*/ 9981 w 10047"/>
                  <a:gd name="connsiteY7" fmla="*/ 4257 h 10000"/>
                  <a:gd name="connsiteX8" fmla="*/ 9925 w 10047"/>
                  <a:gd name="connsiteY8" fmla="*/ 4544 h 10000"/>
                  <a:gd name="connsiteX9" fmla="*/ 10047 w 10047"/>
                  <a:gd name="connsiteY9" fmla="*/ 3221 h 10000"/>
                  <a:gd name="connsiteX10" fmla="*/ 9672 w 10047"/>
                  <a:gd name="connsiteY10" fmla="*/ 2979 h 10000"/>
                  <a:gd name="connsiteX11" fmla="*/ 8670 w 10047"/>
                  <a:gd name="connsiteY11" fmla="*/ 2587 h 10000"/>
                  <a:gd name="connsiteX12" fmla="*/ 7646 w 10047"/>
                  <a:gd name="connsiteY12" fmla="*/ 2127 h 10000"/>
                  <a:gd name="connsiteX13" fmla="*/ 7333 w 10047"/>
                  <a:gd name="connsiteY13" fmla="*/ 2127 h 10000"/>
                  <a:gd name="connsiteX14" fmla="*/ 7241 w 10047"/>
                  <a:gd name="connsiteY14" fmla="*/ 2040 h 10000"/>
                  <a:gd name="connsiteX15" fmla="*/ 7422 w 10047"/>
                  <a:gd name="connsiteY15" fmla="*/ 1760 h 10000"/>
                  <a:gd name="connsiteX16" fmla="*/ 7267 w 10047"/>
                  <a:gd name="connsiteY16" fmla="*/ 1634 h 10000"/>
                  <a:gd name="connsiteX17" fmla="*/ 7023 w 10047"/>
                  <a:gd name="connsiteY17" fmla="*/ 1634 h 10000"/>
                  <a:gd name="connsiteX18" fmla="*/ 6915 w 10047"/>
                  <a:gd name="connsiteY18" fmla="*/ 1253 h 10000"/>
                  <a:gd name="connsiteX19" fmla="*/ 6064 w 10047"/>
                  <a:gd name="connsiteY19" fmla="*/ 1188 h 10000"/>
                  <a:gd name="connsiteX20" fmla="*/ 6234 w 10047"/>
                  <a:gd name="connsiteY20" fmla="*/ 318 h 10000"/>
                  <a:gd name="connsiteX21" fmla="*/ 5857 w 10047"/>
                  <a:gd name="connsiteY21" fmla="*/ 145 h 10000"/>
                  <a:gd name="connsiteX22" fmla="*/ 5919 w 10047"/>
                  <a:gd name="connsiteY22" fmla="*/ 494 h 10000"/>
                  <a:gd name="connsiteX23" fmla="*/ 5481 w 10047"/>
                  <a:gd name="connsiteY23" fmla="*/ 675 h 10000"/>
                  <a:gd name="connsiteX24" fmla="*/ 4716 w 10047"/>
                  <a:gd name="connsiteY24" fmla="*/ 523 h 10000"/>
                  <a:gd name="connsiteX25" fmla="*/ 4273 w 10047"/>
                  <a:gd name="connsiteY25" fmla="*/ 750 h 10000"/>
                  <a:gd name="connsiteX26" fmla="*/ 2791 w 10047"/>
                  <a:gd name="connsiteY26" fmla="*/ 0 h 10000"/>
                  <a:gd name="connsiteX27" fmla="*/ 2544 w 10047"/>
                  <a:gd name="connsiteY27" fmla="*/ 113 h 10000"/>
                  <a:gd name="connsiteX28" fmla="*/ 2007 w 10047"/>
                  <a:gd name="connsiteY28" fmla="*/ 216 h 10000"/>
                  <a:gd name="connsiteX29" fmla="*/ 1631 w 10047"/>
                  <a:gd name="connsiteY29" fmla="*/ 634 h 10000"/>
                  <a:gd name="connsiteX30" fmla="*/ 982 w 10047"/>
                  <a:gd name="connsiteY30" fmla="*/ 1088 h 10000"/>
                  <a:gd name="connsiteX31" fmla="*/ 765 w 10047"/>
                  <a:gd name="connsiteY31" fmla="*/ 1480 h 10000"/>
                  <a:gd name="connsiteX32" fmla="*/ 3 w 10047"/>
                  <a:gd name="connsiteY32" fmla="*/ 3655 h 10000"/>
                  <a:gd name="connsiteX33" fmla="*/ 371 w 10047"/>
                  <a:gd name="connsiteY33" fmla="*/ 4118 h 10000"/>
                  <a:gd name="connsiteX34" fmla="*/ 47 w 10047"/>
                  <a:gd name="connsiteY34" fmla="*/ 4221 h 10000"/>
                  <a:gd name="connsiteX35" fmla="*/ 166 w 10047"/>
                  <a:gd name="connsiteY35" fmla="*/ 4977 h 10000"/>
                  <a:gd name="connsiteX36" fmla="*/ 452 w 10047"/>
                  <a:gd name="connsiteY36" fmla="*/ 5438 h 10000"/>
                  <a:gd name="connsiteX37" fmla="*/ 54 w 10047"/>
                  <a:gd name="connsiteY37" fmla="*/ 7158 h 10000"/>
                  <a:gd name="connsiteX38" fmla="*/ 541 w 10047"/>
                  <a:gd name="connsiteY38" fmla="*/ 7362 h 10000"/>
                  <a:gd name="connsiteX39" fmla="*/ 765 w 10047"/>
                  <a:gd name="connsiteY39" fmla="*/ 7259 h 10000"/>
                  <a:gd name="connsiteX40" fmla="*/ 1477 w 10047"/>
                  <a:gd name="connsiteY40" fmla="*/ 7452 h 10000"/>
                  <a:gd name="connsiteX41" fmla="*/ 2102 w 10047"/>
                  <a:gd name="connsiteY41" fmla="*/ 7477 h 10000"/>
                  <a:gd name="connsiteX42" fmla="*/ 2478 w 10047"/>
                  <a:gd name="connsiteY42" fmla="*/ 7236 h 10000"/>
                  <a:gd name="connsiteX43" fmla="*/ 2880 w 10047"/>
                  <a:gd name="connsiteY43" fmla="*/ 7516 h 10000"/>
                  <a:gd name="connsiteX44" fmla="*/ 3282 w 10047"/>
                  <a:gd name="connsiteY44" fmla="*/ 7539 h 10000"/>
                  <a:gd name="connsiteX45" fmla="*/ 3591 w 10047"/>
                  <a:gd name="connsiteY45" fmla="*/ 8391 h 10000"/>
                  <a:gd name="connsiteX46" fmla="*/ 3687 w 10047"/>
                  <a:gd name="connsiteY46" fmla="*/ 9151 h 10000"/>
                  <a:gd name="connsiteX47" fmla="*/ 3838 w 10047"/>
                  <a:gd name="connsiteY47" fmla="*/ 9672 h 10000"/>
                  <a:gd name="connsiteX48" fmla="*/ 3944 w 10047"/>
                  <a:gd name="connsiteY48" fmla="*/ 9884 h 10000"/>
                  <a:gd name="connsiteX49" fmla="*/ 4256 w 10047"/>
                  <a:gd name="connsiteY49" fmla="*/ 10000 h 10000"/>
                  <a:gd name="connsiteX50" fmla="*/ 4968 w 10047"/>
                  <a:gd name="connsiteY50" fmla="*/ 9694 h 10000"/>
                  <a:gd name="connsiteX51" fmla="*/ 5399 w 10047"/>
                  <a:gd name="connsiteY51" fmla="*/ 9945 h 10000"/>
                  <a:gd name="connsiteX52" fmla="*/ 5686 w 10047"/>
                  <a:gd name="connsiteY52" fmla="*/ 9759 h 10000"/>
                  <a:gd name="connsiteX53" fmla="*/ 5864 w 10047"/>
                  <a:gd name="connsiteY53" fmla="*/ 9035 h 10000"/>
                  <a:gd name="connsiteX54" fmla="*/ 6239 w 10047"/>
                  <a:gd name="connsiteY54" fmla="*/ 8665 h 10000"/>
                  <a:gd name="connsiteX55" fmla="*/ 6305 w 10047"/>
                  <a:gd name="connsiteY55" fmla="*/ 8298 h 10000"/>
                  <a:gd name="connsiteX56" fmla="*/ 7414 w 10047"/>
                  <a:gd name="connsiteY56" fmla="*/ 7575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0047" h="10000">
                    <a:moveTo>
                      <a:pt x="7267" y="7635"/>
                    </a:moveTo>
                    <a:lnTo>
                      <a:pt x="7840" y="7236"/>
                    </a:lnTo>
                    <a:lnTo>
                      <a:pt x="8423" y="6477"/>
                    </a:lnTo>
                    <a:lnTo>
                      <a:pt x="8612" y="6479"/>
                    </a:lnTo>
                    <a:cubicBezTo>
                      <a:pt x="8653" y="6296"/>
                      <a:pt x="8695" y="6113"/>
                      <a:pt x="8736" y="5930"/>
                    </a:cubicBezTo>
                    <a:lnTo>
                      <a:pt x="9037" y="5367"/>
                    </a:lnTo>
                    <a:lnTo>
                      <a:pt x="9526" y="4890"/>
                    </a:lnTo>
                    <a:lnTo>
                      <a:pt x="9981" y="4257"/>
                    </a:lnTo>
                    <a:cubicBezTo>
                      <a:pt x="9983" y="4212"/>
                      <a:pt x="9923" y="4589"/>
                      <a:pt x="9925" y="4544"/>
                    </a:cubicBezTo>
                    <a:cubicBezTo>
                      <a:pt x="9945" y="4244"/>
                      <a:pt x="10027" y="3521"/>
                      <a:pt x="10047" y="3221"/>
                    </a:cubicBezTo>
                    <a:lnTo>
                      <a:pt x="9672" y="2979"/>
                    </a:lnTo>
                    <a:lnTo>
                      <a:pt x="8670" y="2587"/>
                    </a:lnTo>
                    <a:lnTo>
                      <a:pt x="7646" y="2127"/>
                    </a:lnTo>
                    <a:lnTo>
                      <a:pt x="7333" y="2127"/>
                    </a:lnTo>
                    <a:cubicBezTo>
                      <a:pt x="7302" y="2098"/>
                      <a:pt x="7272" y="2069"/>
                      <a:pt x="7241" y="2040"/>
                    </a:cubicBezTo>
                    <a:lnTo>
                      <a:pt x="7422" y="1760"/>
                    </a:lnTo>
                    <a:lnTo>
                      <a:pt x="7267" y="1634"/>
                    </a:lnTo>
                    <a:lnTo>
                      <a:pt x="7023" y="1634"/>
                    </a:lnTo>
                    <a:cubicBezTo>
                      <a:pt x="7001" y="1473"/>
                      <a:pt x="6937" y="1414"/>
                      <a:pt x="6915" y="1253"/>
                    </a:cubicBezTo>
                    <a:lnTo>
                      <a:pt x="6064" y="1188"/>
                    </a:lnTo>
                    <a:cubicBezTo>
                      <a:pt x="5988" y="1012"/>
                      <a:pt x="6310" y="494"/>
                      <a:pt x="6234" y="318"/>
                    </a:cubicBezTo>
                    <a:lnTo>
                      <a:pt x="5857" y="145"/>
                    </a:lnTo>
                    <a:cubicBezTo>
                      <a:pt x="5808" y="228"/>
                      <a:pt x="5968" y="411"/>
                      <a:pt x="5919" y="494"/>
                    </a:cubicBezTo>
                    <a:lnTo>
                      <a:pt x="5481" y="675"/>
                    </a:lnTo>
                    <a:lnTo>
                      <a:pt x="4716" y="523"/>
                    </a:lnTo>
                    <a:lnTo>
                      <a:pt x="4273" y="750"/>
                    </a:lnTo>
                    <a:lnTo>
                      <a:pt x="2791" y="0"/>
                    </a:lnTo>
                    <a:lnTo>
                      <a:pt x="2544" y="113"/>
                    </a:lnTo>
                    <a:lnTo>
                      <a:pt x="2007" y="216"/>
                    </a:lnTo>
                    <a:lnTo>
                      <a:pt x="1631" y="634"/>
                    </a:lnTo>
                    <a:lnTo>
                      <a:pt x="982" y="1088"/>
                    </a:lnTo>
                    <a:cubicBezTo>
                      <a:pt x="910" y="1219"/>
                      <a:pt x="837" y="1349"/>
                      <a:pt x="765" y="1480"/>
                    </a:cubicBezTo>
                    <a:cubicBezTo>
                      <a:pt x="511" y="2205"/>
                      <a:pt x="593" y="2809"/>
                      <a:pt x="3" y="3655"/>
                    </a:cubicBezTo>
                    <a:cubicBezTo>
                      <a:pt x="-42" y="3816"/>
                      <a:pt x="416" y="3957"/>
                      <a:pt x="371" y="4118"/>
                    </a:cubicBezTo>
                    <a:cubicBezTo>
                      <a:pt x="347" y="4199"/>
                      <a:pt x="71" y="4140"/>
                      <a:pt x="47" y="4221"/>
                    </a:cubicBezTo>
                    <a:cubicBezTo>
                      <a:pt x="87" y="4473"/>
                      <a:pt x="126" y="4725"/>
                      <a:pt x="166" y="4977"/>
                    </a:cubicBezTo>
                    <a:lnTo>
                      <a:pt x="452" y="5438"/>
                    </a:lnTo>
                    <a:cubicBezTo>
                      <a:pt x="319" y="6011"/>
                      <a:pt x="187" y="6585"/>
                      <a:pt x="54" y="7158"/>
                    </a:cubicBezTo>
                    <a:lnTo>
                      <a:pt x="541" y="7362"/>
                    </a:lnTo>
                    <a:lnTo>
                      <a:pt x="765" y="7259"/>
                    </a:lnTo>
                    <a:lnTo>
                      <a:pt x="1477" y="7452"/>
                    </a:lnTo>
                    <a:lnTo>
                      <a:pt x="2102" y="7477"/>
                    </a:lnTo>
                    <a:lnTo>
                      <a:pt x="2478" y="7236"/>
                    </a:lnTo>
                    <a:lnTo>
                      <a:pt x="2880" y="7516"/>
                    </a:lnTo>
                    <a:lnTo>
                      <a:pt x="3282" y="7539"/>
                    </a:lnTo>
                    <a:lnTo>
                      <a:pt x="3591" y="8391"/>
                    </a:lnTo>
                    <a:cubicBezTo>
                      <a:pt x="3623" y="8644"/>
                      <a:pt x="3655" y="8898"/>
                      <a:pt x="3687" y="9151"/>
                    </a:cubicBezTo>
                    <a:cubicBezTo>
                      <a:pt x="3737" y="9325"/>
                      <a:pt x="3788" y="9498"/>
                      <a:pt x="3838" y="9672"/>
                    </a:cubicBezTo>
                    <a:cubicBezTo>
                      <a:pt x="3873" y="9743"/>
                      <a:pt x="3909" y="9813"/>
                      <a:pt x="3944" y="9884"/>
                    </a:cubicBezTo>
                    <a:lnTo>
                      <a:pt x="4256" y="10000"/>
                    </a:lnTo>
                    <a:lnTo>
                      <a:pt x="4968" y="9694"/>
                    </a:lnTo>
                    <a:lnTo>
                      <a:pt x="5399" y="9945"/>
                    </a:lnTo>
                    <a:lnTo>
                      <a:pt x="5686" y="9759"/>
                    </a:lnTo>
                    <a:cubicBezTo>
                      <a:pt x="5745" y="9518"/>
                      <a:pt x="5805" y="9276"/>
                      <a:pt x="5864" y="9035"/>
                    </a:cubicBezTo>
                    <a:lnTo>
                      <a:pt x="6239" y="8665"/>
                    </a:lnTo>
                    <a:cubicBezTo>
                      <a:pt x="6261" y="8543"/>
                      <a:pt x="6283" y="8420"/>
                      <a:pt x="6305" y="8298"/>
                    </a:cubicBezTo>
                    <a:lnTo>
                      <a:pt x="7414" y="7575"/>
                    </a:lnTo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00">
                <a:extLst>
                  <a:ext uri="{FF2B5EF4-FFF2-40B4-BE49-F238E27FC236}">
                    <a16:creationId xmlns:a16="http://schemas.microsoft.com/office/drawing/2014/main" id="{97804FEF-1926-1D44-6AD1-94CAF6F1936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87784" y="1033782"/>
                <a:ext cx="340073" cy="278517"/>
              </a:xfrm>
              <a:custGeom>
                <a:avLst/>
                <a:gdLst>
                  <a:gd name="T0" fmla="*/ 1 w 170"/>
                  <a:gd name="T1" fmla="*/ 1 h 115"/>
                  <a:gd name="T2" fmla="*/ 1 w 170"/>
                  <a:gd name="T3" fmla="*/ 1 h 115"/>
                  <a:gd name="T4" fmla="*/ 1 w 170"/>
                  <a:gd name="T5" fmla="*/ 1 h 115"/>
                  <a:gd name="T6" fmla="*/ 1 w 170"/>
                  <a:gd name="T7" fmla="*/ 1 h 115"/>
                  <a:gd name="T8" fmla="*/ 0 w 170"/>
                  <a:gd name="T9" fmla="*/ 1 h 115"/>
                  <a:gd name="T10" fmla="*/ 1 w 170"/>
                  <a:gd name="T11" fmla="*/ 1 h 115"/>
                  <a:gd name="T12" fmla="*/ 1 w 170"/>
                  <a:gd name="T13" fmla="*/ 1 h 115"/>
                  <a:gd name="T14" fmla="*/ 1 w 170"/>
                  <a:gd name="T15" fmla="*/ 1 h 115"/>
                  <a:gd name="T16" fmla="*/ 1 w 170"/>
                  <a:gd name="T17" fmla="*/ 1 h 115"/>
                  <a:gd name="T18" fmla="*/ 1 w 170"/>
                  <a:gd name="T19" fmla="*/ 1 h 115"/>
                  <a:gd name="T20" fmla="*/ 1 w 170"/>
                  <a:gd name="T21" fmla="*/ 0 h 115"/>
                  <a:gd name="T22" fmla="*/ 1 w 170"/>
                  <a:gd name="T23" fmla="*/ 1 h 115"/>
                  <a:gd name="T24" fmla="*/ 1 w 170"/>
                  <a:gd name="T25" fmla="*/ 1 h 115"/>
                  <a:gd name="T26" fmla="*/ 1 w 170"/>
                  <a:gd name="T27" fmla="*/ 1 h 115"/>
                  <a:gd name="T28" fmla="*/ 1 w 170"/>
                  <a:gd name="T29" fmla="*/ 1 h 115"/>
                  <a:gd name="T30" fmla="*/ 1 w 170"/>
                  <a:gd name="T31" fmla="*/ 1 h 115"/>
                  <a:gd name="T32" fmla="*/ 1 w 170"/>
                  <a:gd name="T33" fmla="*/ 1 h 115"/>
                  <a:gd name="T34" fmla="*/ 1 w 170"/>
                  <a:gd name="T35" fmla="*/ 1 h 115"/>
                  <a:gd name="T36" fmla="*/ 1 w 170"/>
                  <a:gd name="T37" fmla="*/ 1 h 115"/>
                  <a:gd name="T38" fmla="*/ 1 w 170"/>
                  <a:gd name="T39" fmla="*/ 1 h 115"/>
                  <a:gd name="T40" fmla="*/ 1 w 170"/>
                  <a:gd name="T41" fmla="*/ 1 h 115"/>
                  <a:gd name="T42" fmla="*/ 1 w 170"/>
                  <a:gd name="T43" fmla="*/ 1 h 115"/>
                  <a:gd name="T44" fmla="*/ 1 w 170"/>
                  <a:gd name="T45" fmla="*/ 1 h 115"/>
                  <a:gd name="T46" fmla="*/ 1 w 170"/>
                  <a:gd name="T47" fmla="*/ 1 h 11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0"/>
                  <a:gd name="T73" fmla="*/ 0 h 115"/>
                  <a:gd name="T74" fmla="*/ 170 w 170"/>
                  <a:gd name="T75" fmla="*/ 115 h 11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0" h="115">
                    <a:moveTo>
                      <a:pt x="39" y="108"/>
                    </a:moveTo>
                    <a:lnTo>
                      <a:pt x="16" y="115"/>
                    </a:lnTo>
                    <a:lnTo>
                      <a:pt x="5" y="103"/>
                    </a:lnTo>
                    <a:lnTo>
                      <a:pt x="7" y="96"/>
                    </a:lnTo>
                    <a:lnTo>
                      <a:pt x="0" y="80"/>
                    </a:lnTo>
                    <a:lnTo>
                      <a:pt x="12" y="69"/>
                    </a:lnTo>
                    <a:lnTo>
                      <a:pt x="3" y="64"/>
                    </a:lnTo>
                    <a:lnTo>
                      <a:pt x="5" y="35"/>
                    </a:lnTo>
                    <a:lnTo>
                      <a:pt x="14" y="28"/>
                    </a:lnTo>
                    <a:lnTo>
                      <a:pt x="14" y="12"/>
                    </a:lnTo>
                    <a:lnTo>
                      <a:pt x="30" y="0"/>
                    </a:lnTo>
                    <a:lnTo>
                      <a:pt x="90" y="12"/>
                    </a:lnTo>
                    <a:lnTo>
                      <a:pt x="117" y="7"/>
                    </a:lnTo>
                    <a:lnTo>
                      <a:pt x="170" y="16"/>
                    </a:lnTo>
                    <a:lnTo>
                      <a:pt x="149" y="67"/>
                    </a:lnTo>
                    <a:lnTo>
                      <a:pt x="133" y="80"/>
                    </a:lnTo>
                    <a:lnTo>
                      <a:pt x="135" y="87"/>
                    </a:lnTo>
                    <a:lnTo>
                      <a:pt x="128" y="94"/>
                    </a:lnTo>
                    <a:lnTo>
                      <a:pt x="108" y="96"/>
                    </a:lnTo>
                    <a:lnTo>
                      <a:pt x="99" y="101"/>
                    </a:lnTo>
                    <a:lnTo>
                      <a:pt x="92" y="99"/>
                    </a:lnTo>
                    <a:lnTo>
                      <a:pt x="71" y="112"/>
                    </a:lnTo>
                    <a:lnTo>
                      <a:pt x="48" y="115"/>
                    </a:lnTo>
                    <a:lnTo>
                      <a:pt x="39" y="108"/>
                    </a:lnTo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: SC">
                <a:extLst>
                  <a:ext uri="{FF2B5EF4-FFF2-40B4-BE49-F238E27FC236}">
                    <a16:creationId xmlns:a16="http://schemas.microsoft.com/office/drawing/2014/main" id="{5170B4D6-4F18-3494-C812-94228FDEC7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16164" y="5292729"/>
                <a:ext cx="870942" cy="546805"/>
              </a:xfrm>
              <a:custGeom>
                <a:avLst/>
                <a:gdLst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9100 w 573882"/>
                  <a:gd name="connsiteY24" fmla="*/ 421126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90132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49439 h 456845"/>
                  <a:gd name="connsiteX42" fmla="*/ 165995 w 573882"/>
                  <a:gd name="connsiteY42" fmla="*/ 69582 h 456845"/>
                  <a:gd name="connsiteX43" fmla="*/ 238952 w 573882"/>
                  <a:gd name="connsiteY43" fmla="*/ 90334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9100 w 573882"/>
                  <a:gd name="connsiteY24" fmla="*/ 421126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49439 h 456845"/>
                  <a:gd name="connsiteX42" fmla="*/ 165995 w 573882"/>
                  <a:gd name="connsiteY42" fmla="*/ 69582 h 456845"/>
                  <a:gd name="connsiteX43" fmla="*/ 238952 w 573882"/>
                  <a:gd name="connsiteY43" fmla="*/ 90334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1253 w 573882"/>
                  <a:gd name="connsiteY24" fmla="*/ 407730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49439 h 456845"/>
                  <a:gd name="connsiteX42" fmla="*/ 165995 w 573882"/>
                  <a:gd name="connsiteY42" fmla="*/ 69582 h 456845"/>
                  <a:gd name="connsiteX43" fmla="*/ 238952 w 573882"/>
                  <a:gd name="connsiteY43" fmla="*/ 90334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1253 w 573882"/>
                  <a:gd name="connsiteY24" fmla="*/ 407730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49439 h 456845"/>
                  <a:gd name="connsiteX42" fmla="*/ 165995 w 573882"/>
                  <a:gd name="connsiteY42" fmla="*/ 69582 h 456845"/>
                  <a:gd name="connsiteX43" fmla="*/ 240522 w 573882"/>
                  <a:gd name="connsiteY43" fmla="*/ 76938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1253 w 573882"/>
                  <a:gd name="connsiteY24" fmla="*/ 407730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49439 h 456845"/>
                  <a:gd name="connsiteX42" fmla="*/ 165995 w 573882"/>
                  <a:gd name="connsiteY42" fmla="*/ 50446 h 456845"/>
                  <a:gd name="connsiteX43" fmla="*/ 240522 w 573882"/>
                  <a:gd name="connsiteY43" fmla="*/ 76938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1253 w 573882"/>
                  <a:gd name="connsiteY24" fmla="*/ 407730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5833 w 573882"/>
                  <a:gd name="connsiteY40" fmla="*/ 38453 h 456845"/>
                  <a:gd name="connsiteX41" fmla="*/ 114041 w 573882"/>
                  <a:gd name="connsiteY41" fmla="*/ 32216 h 456845"/>
                  <a:gd name="connsiteX42" fmla="*/ 165995 w 573882"/>
                  <a:gd name="connsiteY42" fmla="*/ 50446 h 456845"/>
                  <a:gd name="connsiteX43" fmla="*/ 240522 w 573882"/>
                  <a:gd name="connsiteY43" fmla="*/ 76938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  <a:gd name="connsiteX0" fmla="*/ 398131 w 573882"/>
                  <a:gd name="connsiteY0" fmla="*/ 0 h 456845"/>
                  <a:gd name="connsiteX1" fmla="*/ 429635 w 573882"/>
                  <a:gd name="connsiteY1" fmla="*/ 11902 h 456845"/>
                  <a:gd name="connsiteX2" fmla="*/ 453678 w 573882"/>
                  <a:gd name="connsiteY2" fmla="*/ 28992 h 456845"/>
                  <a:gd name="connsiteX3" fmla="*/ 526635 w 573882"/>
                  <a:gd name="connsiteY3" fmla="*/ 3662 h 456845"/>
                  <a:gd name="connsiteX4" fmla="*/ 562851 w 573882"/>
                  <a:gd name="connsiteY4" fmla="*/ 10934 h 456845"/>
                  <a:gd name="connsiteX5" fmla="*/ 562837 w 573882"/>
                  <a:gd name="connsiteY5" fmla="*/ 10986 h 456845"/>
                  <a:gd name="connsiteX6" fmla="*/ 563113 w 573882"/>
                  <a:gd name="connsiteY6" fmla="*/ 10986 h 456845"/>
                  <a:gd name="connsiteX7" fmla="*/ 562851 w 573882"/>
                  <a:gd name="connsiteY7" fmla="*/ 10934 h 456845"/>
                  <a:gd name="connsiteX8" fmla="*/ 563823 w 573882"/>
                  <a:gd name="connsiteY8" fmla="*/ 7245 h 456845"/>
                  <a:gd name="connsiteX9" fmla="*/ 573882 w 573882"/>
                  <a:gd name="connsiteY9" fmla="*/ 21076 h 456845"/>
                  <a:gd name="connsiteX10" fmla="*/ 559594 w 573882"/>
                  <a:gd name="connsiteY10" fmla="*/ 61557 h 456845"/>
                  <a:gd name="connsiteX11" fmla="*/ 550069 w 573882"/>
                  <a:gd name="connsiteY11" fmla="*/ 90132 h 456845"/>
                  <a:gd name="connsiteX12" fmla="*/ 559594 w 573882"/>
                  <a:gd name="connsiteY12" fmla="*/ 109182 h 456845"/>
                  <a:gd name="connsiteX13" fmla="*/ 559594 w 573882"/>
                  <a:gd name="connsiteY13" fmla="*/ 142520 h 456845"/>
                  <a:gd name="connsiteX14" fmla="*/ 559594 w 573882"/>
                  <a:gd name="connsiteY14" fmla="*/ 168714 h 456845"/>
                  <a:gd name="connsiteX15" fmla="*/ 559594 w 573882"/>
                  <a:gd name="connsiteY15" fmla="*/ 197289 h 456845"/>
                  <a:gd name="connsiteX16" fmla="*/ 561975 w 573882"/>
                  <a:gd name="connsiteY16" fmla="*/ 249676 h 456845"/>
                  <a:gd name="connsiteX17" fmla="*/ 552450 w 573882"/>
                  <a:gd name="connsiteY17" fmla="*/ 287776 h 456845"/>
                  <a:gd name="connsiteX18" fmla="*/ 540544 w 573882"/>
                  <a:gd name="connsiteY18" fmla="*/ 344926 h 456845"/>
                  <a:gd name="connsiteX19" fmla="*/ 509588 w 573882"/>
                  <a:gd name="connsiteY19" fmla="*/ 359214 h 456845"/>
                  <a:gd name="connsiteX20" fmla="*/ 478632 w 573882"/>
                  <a:gd name="connsiteY20" fmla="*/ 387789 h 456845"/>
                  <a:gd name="connsiteX21" fmla="*/ 452438 w 573882"/>
                  <a:gd name="connsiteY21" fmla="*/ 418745 h 456845"/>
                  <a:gd name="connsiteX22" fmla="*/ 433388 w 573882"/>
                  <a:gd name="connsiteY22" fmla="*/ 456845 h 456845"/>
                  <a:gd name="connsiteX23" fmla="*/ 407194 w 573882"/>
                  <a:gd name="connsiteY23" fmla="*/ 437795 h 456845"/>
                  <a:gd name="connsiteX24" fmla="*/ 411253 w 573882"/>
                  <a:gd name="connsiteY24" fmla="*/ 407730 h 456845"/>
                  <a:gd name="connsiteX25" fmla="*/ 419100 w 573882"/>
                  <a:gd name="connsiteY25" fmla="*/ 394932 h 456845"/>
                  <a:gd name="connsiteX26" fmla="*/ 416719 w 573882"/>
                  <a:gd name="connsiteY26" fmla="*/ 375882 h 456845"/>
                  <a:gd name="connsiteX27" fmla="*/ 435769 w 573882"/>
                  <a:gd name="connsiteY27" fmla="*/ 363976 h 456845"/>
                  <a:gd name="connsiteX28" fmla="*/ 428625 w 573882"/>
                  <a:gd name="connsiteY28" fmla="*/ 342545 h 456845"/>
                  <a:gd name="connsiteX29" fmla="*/ 392907 w 573882"/>
                  <a:gd name="connsiteY29" fmla="*/ 333020 h 456845"/>
                  <a:gd name="connsiteX30" fmla="*/ 350044 w 573882"/>
                  <a:gd name="connsiteY30" fmla="*/ 333020 h 456845"/>
                  <a:gd name="connsiteX31" fmla="*/ 230982 w 573882"/>
                  <a:gd name="connsiteY31" fmla="*/ 197289 h 456845"/>
                  <a:gd name="connsiteX32" fmla="*/ 192882 w 573882"/>
                  <a:gd name="connsiteY32" fmla="*/ 202051 h 456845"/>
                  <a:gd name="connsiteX33" fmla="*/ 185738 w 573882"/>
                  <a:gd name="connsiteY33" fmla="*/ 173476 h 456845"/>
                  <a:gd name="connsiteX34" fmla="*/ 166688 w 573882"/>
                  <a:gd name="connsiteY34" fmla="*/ 173476 h 456845"/>
                  <a:gd name="connsiteX35" fmla="*/ 85725 w 573882"/>
                  <a:gd name="connsiteY35" fmla="*/ 149664 h 456845"/>
                  <a:gd name="connsiteX36" fmla="*/ 0 w 573882"/>
                  <a:gd name="connsiteY36" fmla="*/ 166332 h 456845"/>
                  <a:gd name="connsiteX37" fmla="*/ 16669 w 573882"/>
                  <a:gd name="connsiteY37" fmla="*/ 132995 h 456845"/>
                  <a:gd name="connsiteX38" fmla="*/ 0 w 573882"/>
                  <a:gd name="connsiteY38" fmla="*/ 88219 h 456845"/>
                  <a:gd name="connsiteX39" fmla="*/ 4026 w 573882"/>
                  <a:gd name="connsiteY39" fmla="*/ 35786 h 456845"/>
                  <a:gd name="connsiteX40" fmla="*/ 32694 w 573882"/>
                  <a:gd name="connsiteY40" fmla="*/ 28885 h 456845"/>
                  <a:gd name="connsiteX41" fmla="*/ 114041 w 573882"/>
                  <a:gd name="connsiteY41" fmla="*/ 32216 h 456845"/>
                  <a:gd name="connsiteX42" fmla="*/ 165995 w 573882"/>
                  <a:gd name="connsiteY42" fmla="*/ 50446 h 456845"/>
                  <a:gd name="connsiteX43" fmla="*/ 240522 w 573882"/>
                  <a:gd name="connsiteY43" fmla="*/ 76938 h 456845"/>
                  <a:gd name="connsiteX44" fmla="*/ 257744 w 573882"/>
                  <a:gd name="connsiteY44" fmla="*/ 78432 h 456845"/>
                  <a:gd name="connsiteX45" fmla="*/ 257744 w 573882"/>
                  <a:gd name="connsiteY45" fmla="*/ 55543 h 456845"/>
                  <a:gd name="connsiteX46" fmla="*/ 267416 w 573882"/>
                  <a:gd name="connsiteY46" fmla="*/ 38453 h 456845"/>
                  <a:gd name="connsiteX47" fmla="*/ 312185 w 573882"/>
                  <a:gd name="connsiteY47" fmla="*/ 32654 h 456845"/>
                  <a:gd name="connsiteX48" fmla="*/ 338162 w 573882"/>
                  <a:gd name="connsiteY48" fmla="*/ 3662 h 456845"/>
                  <a:gd name="connsiteX49" fmla="*/ 364416 w 573882"/>
                  <a:gd name="connsiteY49" fmla="*/ 9766 h 456845"/>
                  <a:gd name="connsiteX50" fmla="*/ 398131 w 573882"/>
                  <a:gd name="connsiteY50" fmla="*/ 0 h 45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573882" h="456845">
                    <a:moveTo>
                      <a:pt x="398131" y="0"/>
                    </a:moveTo>
                    <a:lnTo>
                      <a:pt x="429635" y="11902"/>
                    </a:lnTo>
                    <a:lnTo>
                      <a:pt x="453678" y="28992"/>
                    </a:lnTo>
                    <a:lnTo>
                      <a:pt x="526635" y="3662"/>
                    </a:lnTo>
                    <a:lnTo>
                      <a:pt x="562851" y="10934"/>
                    </a:lnTo>
                    <a:cubicBezTo>
                      <a:pt x="562846" y="10951"/>
                      <a:pt x="562842" y="10969"/>
                      <a:pt x="562837" y="10986"/>
                    </a:cubicBezTo>
                    <a:lnTo>
                      <a:pt x="563113" y="10986"/>
                    </a:lnTo>
                    <a:lnTo>
                      <a:pt x="562851" y="10934"/>
                    </a:lnTo>
                    <a:lnTo>
                      <a:pt x="563823" y="7245"/>
                    </a:lnTo>
                    <a:lnTo>
                      <a:pt x="573882" y="21076"/>
                    </a:lnTo>
                    <a:lnTo>
                      <a:pt x="559594" y="61557"/>
                    </a:lnTo>
                    <a:lnTo>
                      <a:pt x="550069" y="90132"/>
                    </a:lnTo>
                    <a:lnTo>
                      <a:pt x="559594" y="109182"/>
                    </a:lnTo>
                    <a:lnTo>
                      <a:pt x="559594" y="142520"/>
                    </a:lnTo>
                    <a:lnTo>
                      <a:pt x="559594" y="168714"/>
                    </a:lnTo>
                    <a:lnTo>
                      <a:pt x="559594" y="197289"/>
                    </a:lnTo>
                    <a:lnTo>
                      <a:pt x="561975" y="249676"/>
                    </a:lnTo>
                    <a:lnTo>
                      <a:pt x="552450" y="287776"/>
                    </a:lnTo>
                    <a:lnTo>
                      <a:pt x="540544" y="344926"/>
                    </a:lnTo>
                    <a:lnTo>
                      <a:pt x="509588" y="359214"/>
                    </a:lnTo>
                    <a:lnTo>
                      <a:pt x="478632" y="387789"/>
                    </a:lnTo>
                    <a:lnTo>
                      <a:pt x="452438" y="418745"/>
                    </a:lnTo>
                    <a:lnTo>
                      <a:pt x="433388" y="456845"/>
                    </a:lnTo>
                    <a:lnTo>
                      <a:pt x="407194" y="437795"/>
                    </a:lnTo>
                    <a:lnTo>
                      <a:pt x="411253" y="407730"/>
                    </a:lnTo>
                    <a:lnTo>
                      <a:pt x="419100" y="394932"/>
                    </a:lnTo>
                    <a:lnTo>
                      <a:pt x="416719" y="375882"/>
                    </a:lnTo>
                    <a:lnTo>
                      <a:pt x="435769" y="363976"/>
                    </a:lnTo>
                    <a:lnTo>
                      <a:pt x="428625" y="342545"/>
                    </a:lnTo>
                    <a:lnTo>
                      <a:pt x="392907" y="333020"/>
                    </a:lnTo>
                    <a:lnTo>
                      <a:pt x="350044" y="333020"/>
                    </a:lnTo>
                    <a:lnTo>
                      <a:pt x="230982" y="197289"/>
                    </a:lnTo>
                    <a:lnTo>
                      <a:pt x="192882" y="202051"/>
                    </a:lnTo>
                    <a:lnTo>
                      <a:pt x="185738" y="173476"/>
                    </a:lnTo>
                    <a:lnTo>
                      <a:pt x="166688" y="173476"/>
                    </a:lnTo>
                    <a:lnTo>
                      <a:pt x="85725" y="149664"/>
                    </a:lnTo>
                    <a:lnTo>
                      <a:pt x="0" y="166332"/>
                    </a:lnTo>
                    <a:lnTo>
                      <a:pt x="16669" y="132995"/>
                    </a:lnTo>
                    <a:lnTo>
                      <a:pt x="0" y="88219"/>
                    </a:lnTo>
                    <a:lnTo>
                      <a:pt x="4026" y="35786"/>
                    </a:lnTo>
                    <a:lnTo>
                      <a:pt x="32694" y="28885"/>
                    </a:lnTo>
                    <a:lnTo>
                      <a:pt x="114041" y="32216"/>
                    </a:lnTo>
                    <a:lnTo>
                      <a:pt x="165995" y="50446"/>
                    </a:lnTo>
                    <a:lnTo>
                      <a:pt x="240522" y="76938"/>
                    </a:lnTo>
                    <a:lnTo>
                      <a:pt x="257744" y="78432"/>
                    </a:lnTo>
                    <a:lnTo>
                      <a:pt x="257744" y="55543"/>
                    </a:lnTo>
                    <a:lnTo>
                      <a:pt x="267416" y="38453"/>
                    </a:lnTo>
                    <a:lnTo>
                      <a:pt x="312185" y="32654"/>
                    </a:lnTo>
                    <a:lnTo>
                      <a:pt x="338162" y="3662"/>
                    </a:lnTo>
                    <a:lnTo>
                      <a:pt x="364416" y="9766"/>
                    </a:lnTo>
                    <a:lnTo>
                      <a:pt x="39813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: SP">
                <a:hlinkClick r:id="" action="ppaction://noaction"/>
                <a:extLst>
                  <a:ext uri="{FF2B5EF4-FFF2-40B4-BE49-F238E27FC236}">
                    <a16:creationId xmlns:a16="http://schemas.microsoft.com/office/drawing/2014/main" id="{B2CF009F-DAE9-7271-D13D-8BF9C74CAA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61496" y="4259354"/>
                <a:ext cx="1381577" cy="914126"/>
              </a:xfrm>
              <a:custGeom>
                <a:avLst/>
                <a:gdLst>
                  <a:gd name="connsiteX0" fmla="*/ 376753 w 1371746"/>
                  <a:gd name="connsiteY0" fmla="*/ 0 h 950336"/>
                  <a:gd name="connsiteX1" fmla="*/ 455823 w 1371746"/>
                  <a:gd name="connsiteY1" fmla="*/ 26459 h 950336"/>
                  <a:gd name="connsiteX2" fmla="*/ 560619 w 1371746"/>
                  <a:gd name="connsiteY2" fmla="*/ 21720 h 950336"/>
                  <a:gd name="connsiteX3" fmla="*/ 574238 w 1371746"/>
                  <a:gd name="connsiteY3" fmla="*/ 48575 h 950336"/>
                  <a:gd name="connsiteX4" fmla="*/ 574238 w 1371746"/>
                  <a:gd name="connsiteY4" fmla="*/ 74639 h 950336"/>
                  <a:gd name="connsiteX5" fmla="*/ 635149 w 1371746"/>
                  <a:gd name="connsiteY5" fmla="*/ 88856 h 950336"/>
                  <a:gd name="connsiteX6" fmla="*/ 670711 w 1371746"/>
                  <a:gd name="connsiteY6" fmla="*/ 67135 h 950336"/>
                  <a:gd name="connsiteX7" fmla="*/ 767940 w 1371746"/>
                  <a:gd name="connsiteY7" fmla="*/ 74639 h 950336"/>
                  <a:gd name="connsiteX8" fmla="*/ 816744 w 1371746"/>
                  <a:gd name="connsiteY8" fmla="*/ 40281 h 950336"/>
                  <a:gd name="connsiteX9" fmla="*/ 882951 w 1371746"/>
                  <a:gd name="connsiteY9" fmla="*/ 63976 h 950336"/>
                  <a:gd name="connsiteX10" fmla="*/ 903381 w 1371746"/>
                  <a:gd name="connsiteY10" fmla="*/ 93595 h 950336"/>
                  <a:gd name="connsiteX11" fmla="*/ 893166 w 1371746"/>
                  <a:gd name="connsiteY11" fmla="*/ 119659 h 950336"/>
                  <a:gd name="connsiteX12" fmla="*/ 918135 w 1371746"/>
                  <a:gd name="connsiteY12" fmla="*/ 168233 h 950336"/>
                  <a:gd name="connsiteX13" fmla="*/ 900354 w 1371746"/>
                  <a:gd name="connsiteY13" fmla="*/ 197457 h 950336"/>
                  <a:gd name="connsiteX14" fmla="*/ 928728 w 1371746"/>
                  <a:gd name="connsiteY14" fmla="*/ 283548 h 950336"/>
                  <a:gd name="connsiteX15" fmla="*/ 954076 w 1371746"/>
                  <a:gd name="connsiteY15" fmla="*/ 301714 h 950336"/>
                  <a:gd name="connsiteX16" fmla="*/ 996070 w 1371746"/>
                  <a:gd name="connsiteY16" fmla="*/ 306453 h 950336"/>
                  <a:gd name="connsiteX17" fmla="*/ 1003258 w 1371746"/>
                  <a:gd name="connsiteY17" fmla="*/ 336072 h 950336"/>
                  <a:gd name="connsiteX18" fmla="*/ 974884 w 1371746"/>
                  <a:gd name="connsiteY18" fmla="*/ 437170 h 950336"/>
                  <a:gd name="connsiteX19" fmla="*/ 989639 w 1371746"/>
                  <a:gd name="connsiteY19" fmla="*/ 466788 h 950336"/>
                  <a:gd name="connsiteX20" fmla="*/ 1031633 w 1371746"/>
                  <a:gd name="connsiteY20" fmla="*/ 511808 h 950336"/>
                  <a:gd name="connsiteX21" fmla="*/ 1025579 w 1371746"/>
                  <a:gd name="connsiteY21" fmla="*/ 536688 h 950336"/>
                  <a:gd name="connsiteX22" fmla="*/ 1046765 w 1371746"/>
                  <a:gd name="connsiteY22" fmla="*/ 559988 h 950336"/>
                  <a:gd name="connsiteX23" fmla="*/ 1115242 w 1371746"/>
                  <a:gd name="connsiteY23" fmla="*/ 552090 h 950336"/>
                  <a:gd name="connsiteX24" fmla="*/ 1136050 w 1371746"/>
                  <a:gd name="connsiteY24" fmla="*/ 518127 h 950336"/>
                  <a:gd name="connsiteX25" fmla="*/ 1225713 w 1371746"/>
                  <a:gd name="connsiteY25" fmla="*/ 507069 h 950336"/>
                  <a:gd name="connsiteX26" fmla="*/ 1279057 w 1371746"/>
                  <a:gd name="connsiteY26" fmla="*/ 488509 h 950336"/>
                  <a:gd name="connsiteX27" fmla="*/ 1307431 w 1371746"/>
                  <a:gd name="connsiteY27" fmla="*/ 522471 h 950336"/>
                  <a:gd name="connsiteX28" fmla="*/ 1365693 w 1371746"/>
                  <a:gd name="connsiteY28" fmla="*/ 522471 h 950336"/>
                  <a:gd name="connsiteX29" fmla="*/ 1371746 w 1371746"/>
                  <a:gd name="connsiteY29" fmla="*/ 530764 h 950336"/>
                  <a:gd name="connsiteX30" fmla="*/ 1335805 w 1371746"/>
                  <a:gd name="connsiteY30" fmla="*/ 568281 h 950336"/>
                  <a:gd name="connsiteX31" fmla="*/ 1268842 w 1371746"/>
                  <a:gd name="connsiteY31" fmla="*/ 586447 h 950336"/>
                  <a:gd name="connsiteX32" fmla="*/ 1258249 w 1371746"/>
                  <a:gd name="connsiteY32" fmla="*/ 623964 h 950336"/>
                  <a:gd name="connsiteX33" fmla="*/ 1261275 w 1371746"/>
                  <a:gd name="connsiteY33" fmla="*/ 656742 h 950336"/>
                  <a:gd name="connsiteX34" fmla="*/ 1156858 w 1371746"/>
                  <a:gd name="connsiteY34" fmla="*/ 717164 h 950336"/>
                  <a:gd name="connsiteX35" fmla="*/ 1143238 w 1371746"/>
                  <a:gd name="connsiteY35" fmla="*/ 738884 h 950336"/>
                  <a:gd name="connsiteX36" fmla="*/ 1082328 w 1371746"/>
                  <a:gd name="connsiteY36" fmla="*/ 731380 h 950336"/>
                  <a:gd name="connsiteX37" fmla="*/ 954076 w 1371746"/>
                  <a:gd name="connsiteY37" fmla="*/ 791802 h 950336"/>
                  <a:gd name="connsiteX38" fmla="*/ 767940 w 1371746"/>
                  <a:gd name="connsiteY38" fmla="*/ 941080 h 950336"/>
                  <a:gd name="connsiteX39" fmla="*/ 757384 w 1371746"/>
                  <a:gd name="connsiteY39" fmla="*/ 950336 h 950336"/>
                  <a:gd name="connsiteX40" fmla="*/ 750552 w 1371746"/>
                  <a:gd name="connsiteY40" fmla="*/ 945897 h 950336"/>
                  <a:gd name="connsiteX41" fmla="*/ 727778 w 1371746"/>
                  <a:gd name="connsiteY41" fmla="*/ 934968 h 950336"/>
                  <a:gd name="connsiteX42" fmla="*/ 713122 w 1371746"/>
                  <a:gd name="connsiteY42" fmla="*/ 921682 h 950336"/>
                  <a:gd name="connsiteX43" fmla="*/ 713122 w 1371746"/>
                  <a:gd name="connsiteY43" fmla="*/ 914039 h 950336"/>
                  <a:gd name="connsiteX44" fmla="*/ 687674 w 1371746"/>
                  <a:gd name="connsiteY44" fmla="*/ 888967 h 950336"/>
                  <a:gd name="connsiteX45" fmla="*/ 664204 w 1371746"/>
                  <a:gd name="connsiteY45" fmla="*/ 902304 h 950336"/>
                  <a:gd name="connsiteX46" fmla="*/ 660496 w 1371746"/>
                  <a:gd name="connsiteY46" fmla="*/ 869600 h 950336"/>
                  <a:gd name="connsiteX47" fmla="*/ 652537 w 1371746"/>
                  <a:gd name="connsiteY47" fmla="*/ 868930 h 950336"/>
                  <a:gd name="connsiteX48" fmla="*/ 649452 w 1371746"/>
                  <a:gd name="connsiteY48" fmla="*/ 842251 h 950336"/>
                  <a:gd name="connsiteX49" fmla="*/ 556471 w 1371746"/>
                  <a:gd name="connsiteY49" fmla="*/ 834680 h 950336"/>
                  <a:gd name="connsiteX50" fmla="*/ 555032 w 1371746"/>
                  <a:gd name="connsiteY50" fmla="*/ 832021 h 950336"/>
                  <a:gd name="connsiteX51" fmla="*/ 566672 w 1371746"/>
                  <a:gd name="connsiteY51" fmla="*/ 810758 h 950336"/>
                  <a:gd name="connsiteX52" fmla="*/ 554258 w 1371746"/>
                  <a:gd name="connsiteY52" fmla="*/ 789582 h 950336"/>
                  <a:gd name="connsiteX53" fmla="*/ 556471 w 1371746"/>
                  <a:gd name="connsiteY53" fmla="*/ 785678 h 950336"/>
                  <a:gd name="connsiteX54" fmla="*/ 519441 w 1371746"/>
                  <a:gd name="connsiteY54" fmla="*/ 724459 h 950336"/>
                  <a:gd name="connsiteX55" fmla="*/ 509923 w 1371746"/>
                  <a:gd name="connsiteY55" fmla="*/ 629888 h 950336"/>
                  <a:gd name="connsiteX56" fmla="*/ 501043 w 1371746"/>
                  <a:gd name="connsiteY56" fmla="*/ 619638 h 950336"/>
                  <a:gd name="connsiteX57" fmla="*/ 500227 w 1371746"/>
                  <a:gd name="connsiteY57" fmla="*/ 611744 h 950336"/>
                  <a:gd name="connsiteX58" fmla="*/ 436457 w 1371746"/>
                  <a:gd name="connsiteY58" fmla="*/ 540385 h 950336"/>
                  <a:gd name="connsiteX59" fmla="*/ 346908 w 1371746"/>
                  <a:gd name="connsiteY59" fmla="*/ 546781 h 950336"/>
                  <a:gd name="connsiteX60" fmla="*/ 256446 w 1371746"/>
                  <a:gd name="connsiteY60" fmla="*/ 499566 h 950336"/>
                  <a:gd name="connsiteX61" fmla="*/ 167162 w 1371746"/>
                  <a:gd name="connsiteY61" fmla="*/ 496407 h 950336"/>
                  <a:gd name="connsiteX62" fmla="*/ 127174 w 1371746"/>
                  <a:gd name="connsiteY62" fmla="*/ 496407 h 950336"/>
                  <a:gd name="connsiteX63" fmla="*/ 102360 w 1371746"/>
                  <a:gd name="connsiteY63" fmla="*/ 483454 h 950336"/>
                  <a:gd name="connsiteX64" fmla="*/ 21361 w 1371746"/>
                  <a:gd name="connsiteY64" fmla="*/ 480383 h 950336"/>
                  <a:gd name="connsiteX65" fmla="*/ 0 w 1371746"/>
                  <a:gd name="connsiteY65" fmla="*/ 466191 h 950336"/>
                  <a:gd name="connsiteX66" fmla="*/ 59718 w 1371746"/>
                  <a:gd name="connsiteY66" fmla="*/ 421768 h 950336"/>
                  <a:gd name="connsiteX67" fmla="*/ 126681 w 1371746"/>
                  <a:gd name="connsiteY67" fmla="*/ 328568 h 950336"/>
                  <a:gd name="connsiteX68" fmla="*/ 126681 w 1371746"/>
                  <a:gd name="connsiteY68" fmla="*/ 322032 h 950336"/>
                  <a:gd name="connsiteX69" fmla="*/ 137062 w 1371746"/>
                  <a:gd name="connsiteY69" fmla="*/ 322146 h 950336"/>
                  <a:gd name="connsiteX70" fmla="*/ 146237 w 1371746"/>
                  <a:gd name="connsiteY70" fmla="*/ 279797 h 950336"/>
                  <a:gd name="connsiteX71" fmla="*/ 162622 w 1371746"/>
                  <a:gd name="connsiteY71" fmla="*/ 261433 h 950336"/>
                  <a:gd name="connsiteX72" fmla="*/ 187591 w 1371746"/>
                  <a:gd name="connsiteY72" fmla="*/ 189954 h 950336"/>
                  <a:gd name="connsiteX73" fmla="*/ 190601 w 1371746"/>
                  <a:gd name="connsiteY73" fmla="*/ 185153 h 950336"/>
                  <a:gd name="connsiteX74" fmla="*/ 240812 w 1371746"/>
                  <a:gd name="connsiteY74" fmla="*/ 134086 h 950336"/>
                  <a:gd name="connsiteX75" fmla="*/ 282803 w 1371746"/>
                  <a:gd name="connsiteY75" fmla="*/ 73176 h 950336"/>
                  <a:gd name="connsiteX76" fmla="*/ 288047 w 1371746"/>
                  <a:gd name="connsiteY76" fmla="*/ 69249 h 950336"/>
                  <a:gd name="connsiteX77" fmla="*/ 286103 w 1371746"/>
                  <a:gd name="connsiteY77" fmla="*/ 93136 h 950336"/>
                  <a:gd name="connsiteX78" fmla="*/ 289282 w 1371746"/>
                  <a:gd name="connsiteY78" fmla="*/ 76153 h 950336"/>
                  <a:gd name="connsiteX79" fmla="*/ 290815 w 1371746"/>
                  <a:gd name="connsiteY79" fmla="*/ 67175 h 950336"/>
                  <a:gd name="connsiteX80" fmla="*/ 305628 w 1371746"/>
                  <a:gd name="connsiteY80" fmla="*/ 56078 h 950336"/>
                  <a:gd name="connsiteX81" fmla="*/ 306385 w 1371746"/>
                  <a:gd name="connsiteY81" fmla="*/ 39492 h 950336"/>
                  <a:gd name="connsiteX82" fmla="*/ 376753 w 1371746"/>
                  <a:gd name="connsiteY82" fmla="*/ 0 h 950336"/>
                  <a:gd name="connsiteX0" fmla="*/ 376753 w 1371746"/>
                  <a:gd name="connsiteY0" fmla="*/ 0 h 950336"/>
                  <a:gd name="connsiteX1" fmla="*/ 455823 w 1371746"/>
                  <a:gd name="connsiteY1" fmla="*/ 26459 h 950336"/>
                  <a:gd name="connsiteX2" fmla="*/ 560619 w 1371746"/>
                  <a:gd name="connsiteY2" fmla="*/ 21720 h 950336"/>
                  <a:gd name="connsiteX3" fmla="*/ 574238 w 1371746"/>
                  <a:gd name="connsiteY3" fmla="*/ 48575 h 950336"/>
                  <a:gd name="connsiteX4" fmla="*/ 574238 w 1371746"/>
                  <a:gd name="connsiteY4" fmla="*/ 74639 h 950336"/>
                  <a:gd name="connsiteX5" fmla="*/ 635149 w 1371746"/>
                  <a:gd name="connsiteY5" fmla="*/ 88856 h 950336"/>
                  <a:gd name="connsiteX6" fmla="*/ 670711 w 1371746"/>
                  <a:gd name="connsiteY6" fmla="*/ 67135 h 950336"/>
                  <a:gd name="connsiteX7" fmla="*/ 767940 w 1371746"/>
                  <a:gd name="connsiteY7" fmla="*/ 74639 h 950336"/>
                  <a:gd name="connsiteX8" fmla="*/ 816744 w 1371746"/>
                  <a:gd name="connsiteY8" fmla="*/ 40281 h 950336"/>
                  <a:gd name="connsiteX9" fmla="*/ 882951 w 1371746"/>
                  <a:gd name="connsiteY9" fmla="*/ 63976 h 950336"/>
                  <a:gd name="connsiteX10" fmla="*/ 903381 w 1371746"/>
                  <a:gd name="connsiteY10" fmla="*/ 93595 h 950336"/>
                  <a:gd name="connsiteX11" fmla="*/ 893166 w 1371746"/>
                  <a:gd name="connsiteY11" fmla="*/ 119659 h 950336"/>
                  <a:gd name="connsiteX12" fmla="*/ 918135 w 1371746"/>
                  <a:gd name="connsiteY12" fmla="*/ 168233 h 950336"/>
                  <a:gd name="connsiteX13" fmla="*/ 900354 w 1371746"/>
                  <a:gd name="connsiteY13" fmla="*/ 197457 h 950336"/>
                  <a:gd name="connsiteX14" fmla="*/ 928728 w 1371746"/>
                  <a:gd name="connsiteY14" fmla="*/ 283548 h 950336"/>
                  <a:gd name="connsiteX15" fmla="*/ 954076 w 1371746"/>
                  <a:gd name="connsiteY15" fmla="*/ 301714 h 950336"/>
                  <a:gd name="connsiteX16" fmla="*/ 996070 w 1371746"/>
                  <a:gd name="connsiteY16" fmla="*/ 306453 h 950336"/>
                  <a:gd name="connsiteX17" fmla="*/ 1003258 w 1371746"/>
                  <a:gd name="connsiteY17" fmla="*/ 336072 h 950336"/>
                  <a:gd name="connsiteX18" fmla="*/ 974884 w 1371746"/>
                  <a:gd name="connsiteY18" fmla="*/ 437170 h 950336"/>
                  <a:gd name="connsiteX19" fmla="*/ 989639 w 1371746"/>
                  <a:gd name="connsiteY19" fmla="*/ 466788 h 950336"/>
                  <a:gd name="connsiteX20" fmla="*/ 1031633 w 1371746"/>
                  <a:gd name="connsiteY20" fmla="*/ 511808 h 950336"/>
                  <a:gd name="connsiteX21" fmla="*/ 1025579 w 1371746"/>
                  <a:gd name="connsiteY21" fmla="*/ 536688 h 950336"/>
                  <a:gd name="connsiteX22" fmla="*/ 1046765 w 1371746"/>
                  <a:gd name="connsiteY22" fmla="*/ 559988 h 950336"/>
                  <a:gd name="connsiteX23" fmla="*/ 1115242 w 1371746"/>
                  <a:gd name="connsiteY23" fmla="*/ 552090 h 950336"/>
                  <a:gd name="connsiteX24" fmla="*/ 1136050 w 1371746"/>
                  <a:gd name="connsiteY24" fmla="*/ 518127 h 950336"/>
                  <a:gd name="connsiteX25" fmla="*/ 1225713 w 1371746"/>
                  <a:gd name="connsiteY25" fmla="*/ 507069 h 950336"/>
                  <a:gd name="connsiteX26" fmla="*/ 1279057 w 1371746"/>
                  <a:gd name="connsiteY26" fmla="*/ 488509 h 950336"/>
                  <a:gd name="connsiteX27" fmla="*/ 1307431 w 1371746"/>
                  <a:gd name="connsiteY27" fmla="*/ 522471 h 950336"/>
                  <a:gd name="connsiteX28" fmla="*/ 1365693 w 1371746"/>
                  <a:gd name="connsiteY28" fmla="*/ 522471 h 950336"/>
                  <a:gd name="connsiteX29" fmla="*/ 1371746 w 1371746"/>
                  <a:gd name="connsiteY29" fmla="*/ 530764 h 950336"/>
                  <a:gd name="connsiteX30" fmla="*/ 1335805 w 1371746"/>
                  <a:gd name="connsiteY30" fmla="*/ 568281 h 950336"/>
                  <a:gd name="connsiteX31" fmla="*/ 1268842 w 1371746"/>
                  <a:gd name="connsiteY31" fmla="*/ 586447 h 950336"/>
                  <a:gd name="connsiteX32" fmla="*/ 1258249 w 1371746"/>
                  <a:gd name="connsiteY32" fmla="*/ 623964 h 950336"/>
                  <a:gd name="connsiteX33" fmla="*/ 1261275 w 1371746"/>
                  <a:gd name="connsiteY33" fmla="*/ 656742 h 950336"/>
                  <a:gd name="connsiteX34" fmla="*/ 1156858 w 1371746"/>
                  <a:gd name="connsiteY34" fmla="*/ 717164 h 950336"/>
                  <a:gd name="connsiteX35" fmla="*/ 1143238 w 1371746"/>
                  <a:gd name="connsiteY35" fmla="*/ 738884 h 950336"/>
                  <a:gd name="connsiteX36" fmla="*/ 1082328 w 1371746"/>
                  <a:gd name="connsiteY36" fmla="*/ 731380 h 950336"/>
                  <a:gd name="connsiteX37" fmla="*/ 954076 w 1371746"/>
                  <a:gd name="connsiteY37" fmla="*/ 791802 h 950336"/>
                  <a:gd name="connsiteX38" fmla="*/ 767940 w 1371746"/>
                  <a:gd name="connsiteY38" fmla="*/ 941080 h 950336"/>
                  <a:gd name="connsiteX39" fmla="*/ 757384 w 1371746"/>
                  <a:gd name="connsiteY39" fmla="*/ 950336 h 950336"/>
                  <a:gd name="connsiteX40" fmla="*/ 750552 w 1371746"/>
                  <a:gd name="connsiteY40" fmla="*/ 945897 h 950336"/>
                  <a:gd name="connsiteX41" fmla="*/ 727778 w 1371746"/>
                  <a:gd name="connsiteY41" fmla="*/ 934968 h 950336"/>
                  <a:gd name="connsiteX42" fmla="*/ 713122 w 1371746"/>
                  <a:gd name="connsiteY42" fmla="*/ 921682 h 950336"/>
                  <a:gd name="connsiteX43" fmla="*/ 713122 w 1371746"/>
                  <a:gd name="connsiteY43" fmla="*/ 914039 h 950336"/>
                  <a:gd name="connsiteX44" fmla="*/ 687674 w 1371746"/>
                  <a:gd name="connsiteY44" fmla="*/ 888967 h 950336"/>
                  <a:gd name="connsiteX45" fmla="*/ 664204 w 1371746"/>
                  <a:gd name="connsiteY45" fmla="*/ 902304 h 950336"/>
                  <a:gd name="connsiteX46" fmla="*/ 660496 w 1371746"/>
                  <a:gd name="connsiteY46" fmla="*/ 869600 h 950336"/>
                  <a:gd name="connsiteX47" fmla="*/ 652537 w 1371746"/>
                  <a:gd name="connsiteY47" fmla="*/ 868930 h 950336"/>
                  <a:gd name="connsiteX48" fmla="*/ 649452 w 1371746"/>
                  <a:gd name="connsiteY48" fmla="*/ 842251 h 950336"/>
                  <a:gd name="connsiteX49" fmla="*/ 556471 w 1371746"/>
                  <a:gd name="connsiteY49" fmla="*/ 834680 h 950336"/>
                  <a:gd name="connsiteX50" fmla="*/ 555032 w 1371746"/>
                  <a:gd name="connsiteY50" fmla="*/ 832021 h 950336"/>
                  <a:gd name="connsiteX51" fmla="*/ 550003 w 1371746"/>
                  <a:gd name="connsiteY51" fmla="*/ 810758 h 950336"/>
                  <a:gd name="connsiteX52" fmla="*/ 554258 w 1371746"/>
                  <a:gd name="connsiteY52" fmla="*/ 789582 h 950336"/>
                  <a:gd name="connsiteX53" fmla="*/ 556471 w 1371746"/>
                  <a:gd name="connsiteY53" fmla="*/ 785678 h 950336"/>
                  <a:gd name="connsiteX54" fmla="*/ 519441 w 1371746"/>
                  <a:gd name="connsiteY54" fmla="*/ 724459 h 950336"/>
                  <a:gd name="connsiteX55" fmla="*/ 509923 w 1371746"/>
                  <a:gd name="connsiteY55" fmla="*/ 629888 h 950336"/>
                  <a:gd name="connsiteX56" fmla="*/ 501043 w 1371746"/>
                  <a:gd name="connsiteY56" fmla="*/ 619638 h 950336"/>
                  <a:gd name="connsiteX57" fmla="*/ 500227 w 1371746"/>
                  <a:gd name="connsiteY57" fmla="*/ 611744 h 950336"/>
                  <a:gd name="connsiteX58" fmla="*/ 436457 w 1371746"/>
                  <a:gd name="connsiteY58" fmla="*/ 540385 h 950336"/>
                  <a:gd name="connsiteX59" fmla="*/ 346908 w 1371746"/>
                  <a:gd name="connsiteY59" fmla="*/ 546781 h 950336"/>
                  <a:gd name="connsiteX60" fmla="*/ 256446 w 1371746"/>
                  <a:gd name="connsiteY60" fmla="*/ 499566 h 950336"/>
                  <a:gd name="connsiteX61" fmla="*/ 167162 w 1371746"/>
                  <a:gd name="connsiteY61" fmla="*/ 496407 h 950336"/>
                  <a:gd name="connsiteX62" fmla="*/ 127174 w 1371746"/>
                  <a:gd name="connsiteY62" fmla="*/ 496407 h 950336"/>
                  <a:gd name="connsiteX63" fmla="*/ 102360 w 1371746"/>
                  <a:gd name="connsiteY63" fmla="*/ 483454 h 950336"/>
                  <a:gd name="connsiteX64" fmla="*/ 21361 w 1371746"/>
                  <a:gd name="connsiteY64" fmla="*/ 480383 h 950336"/>
                  <a:gd name="connsiteX65" fmla="*/ 0 w 1371746"/>
                  <a:gd name="connsiteY65" fmla="*/ 466191 h 950336"/>
                  <a:gd name="connsiteX66" fmla="*/ 59718 w 1371746"/>
                  <a:gd name="connsiteY66" fmla="*/ 421768 h 950336"/>
                  <a:gd name="connsiteX67" fmla="*/ 126681 w 1371746"/>
                  <a:gd name="connsiteY67" fmla="*/ 328568 h 950336"/>
                  <a:gd name="connsiteX68" fmla="*/ 126681 w 1371746"/>
                  <a:gd name="connsiteY68" fmla="*/ 322032 h 950336"/>
                  <a:gd name="connsiteX69" fmla="*/ 137062 w 1371746"/>
                  <a:gd name="connsiteY69" fmla="*/ 322146 h 950336"/>
                  <a:gd name="connsiteX70" fmla="*/ 146237 w 1371746"/>
                  <a:gd name="connsiteY70" fmla="*/ 279797 h 950336"/>
                  <a:gd name="connsiteX71" fmla="*/ 162622 w 1371746"/>
                  <a:gd name="connsiteY71" fmla="*/ 261433 h 950336"/>
                  <a:gd name="connsiteX72" fmla="*/ 187591 w 1371746"/>
                  <a:gd name="connsiteY72" fmla="*/ 189954 h 950336"/>
                  <a:gd name="connsiteX73" fmla="*/ 190601 w 1371746"/>
                  <a:gd name="connsiteY73" fmla="*/ 185153 h 950336"/>
                  <a:gd name="connsiteX74" fmla="*/ 240812 w 1371746"/>
                  <a:gd name="connsiteY74" fmla="*/ 134086 h 950336"/>
                  <a:gd name="connsiteX75" fmla="*/ 282803 w 1371746"/>
                  <a:gd name="connsiteY75" fmla="*/ 73176 h 950336"/>
                  <a:gd name="connsiteX76" fmla="*/ 288047 w 1371746"/>
                  <a:gd name="connsiteY76" fmla="*/ 69249 h 950336"/>
                  <a:gd name="connsiteX77" fmla="*/ 286103 w 1371746"/>
                  <a:gd name="connsiteY77" fmla="*/ 93136 h 950336"/>
                  <a:gd name="connsiteX78" fmla="*/ 289282 w 1371746"/>
                  <a:gd name="connsiteY78" fmla="*/ 76153 h 950336"/>
                  <a:gd name="connsiteX79" fmla="*/ 290815 w 1371746"/>
                  <a:gd name="connsiteY79" fmla="*/ 67175 h 950336"/>
                  <a:gd name="connsiteX80" fmla="*/ 305628 w 1371746"/>
                  <a:gd name="connsiteY80" fmla="*/ 56078 h 950336"/>
                  <a:gd name="connsiteX81" fmla="*/ 306385 w 1371746"/>
                  <a:gd name="connsiteY81" fmla="*/ 39492 h 950336"/>
                  <a:gd name="connsiteX82" fmla="*/ 376753 w 1371746"/>
                  <a:gd name="connsiteY82" fmla="*/ 0 h 950336"/>
                  <a:gd name="connsiteX0" fmla="*/ 376753 w 1371746"/>
                  <a:gd name="connsiteY0" fmla="*/ 0 h 950336"/>
                  <a:gd name="connsiteX1" fmla="*/ 455823 w 1371746"/>
                  <a:gd name="connsiteY1" fmla="*/ 26459 h 950336"/>
                  <a:gd name="connsiteX2" fmla="*/ 560619 w 1371746"/>
                  <a:gd name="connsiteY2" fmla="*/ 21720 h 950336"/>
                  <a:gd name="connsiteX3" fmla="*/ 574238 w 1371746"/>
                  <a:gd name="connsiteY3" fmla="*/ 48575 h 950336"/>
                  <a:gd name="connsiteX4" fmla="*/ 574238 w 1371746"/>
                  <a:gd name="connsiteY4" fmla="*/ 74639 h 950336"/>
                  <a:gd name="connsiteX5" fmla="*/ 635149 w 1371746"/>
                  <a:gd name="connsiteY5" fmla="*/ 88856 h 950336"/>
                  <a:gd name="connsiteX6" fmla="*/ 670711 w 1371746"/>
                  <a:gd name="connsiteY6" fmla="*/ 67135 h 950336"/>
                  <a:gd name="connsiteX7" fmla="*/ 767940 w 1371746"/>
                  <a:gd name="connsiteY7" fmla="*/ 74639 h 950336"/>
                  <a:gd name="connsiteX8" fmla="*/ 816744 w 1371746"/>
                  <a:gd name="connsiteY8" fmla="*/ 40281 h 950336"/>
                  <a:gd name="connsiteX9" fmla="*/ 882951 w 1371746"/>
                  <a:gd name="connsiteY9" fmla="*/ 63976 h 950336"/>
                  <a:gd name="connsiteX10" fmla="*/ 903381 w 1371746"/>
                  <a:gd name="connsiteY10" fmla="*/ 93595 h 950336"/>
                  <a:gd name="connsiteX11" fmla="*/ 893166 w 1371746"/>
                  <a:gd name="connsiteY11" fmla="*/ 119659 h 950336"/>
                  <a:gd name="connsiteX12" fmla="*/ 918135 w 1371746"/>
                  <a:gd name="connsiteY12" fmla="*/ 168233 h 950336"/>
                  <a:gd name="connsiteX13" fmla="*/ 900354 w 1371746"/>
                  <a:gd name="connsiteY13" fmla="*/ 197457 h 950336"/>
                  <a:gd name="connsiteX14" fmla="*/ 928728 w 1371746"/>
                  <a:gd name="connsiteY14" fmla="*/ 283548 h 950336"/>
                  <a:gd name="connsiteX15" fmla="*/ 954076 w 1371746"/>
                  <a:gd name="connsiteY15" fmla="*/ 301714 h 950336"/>
                  <a:gd name="connsiteX16" fmla="*/ 996070 w 1371746"/>
                  <a:gd name="connsiteY16" fmla="*/ 306453 h 950336"/>
                  <a:gd name="connsiteX17" fmla="*/ 1003258 w 1371746"/>
                  <a:gd name="connsiteY17" fmla="*/ 336072 h 950336"/>
                  <a:gd name="connsiteX18" fmla="*/ 974884 w 1371746"/>
                  <a:gd name="connsiteY18" fmla="*/ 437170 h 950336"/>
                  <a:gd name="connsiteX19" fmla="*/ 989639 w 1371746"/>
                  <a:gd name="connsiteY19" fmla="*/ 466788 h 950336"/>
                  <a:gd name="connsiteX20" fmla="*/ 1031633 w 1371746"/>
                  <a:gd name="connsiteY20" fmla="*/ 511808 h 950336"/>
                  <a:gd name="connsiteX21" fmla="*/ 1025579 w 1371746"/>
                  <a:gd name="connsiteY21" fmla="*/ 536688 h 950336"/>
                  <a:gd name="connsiteX22" fmla="*/ 1046765 w 1371746"/>
                  <a:gd name="connsiteY22" fmla="*/ 559988 h 950336"/>
                  <a:gd name="connsiteX23" fmla="*/ 1115242 w 1371746"/>
                  <a:gd name="connsiteY23" fmla="*/ 552090 h 950336"/>
                  <a:gd name="connsiteX24" fmla="*/ 1136050 w 1371746"/>
                  <a:gd name="connsiteY24" fmla="*/ 518127 h 950336"/>
                  <a:gd name="connsiteX25" fmla="*/ 1225713 w 1371746"/>
                  <a:gd name="connsiteY25" fmla="*/ 507069 h 950336"/>
                  <a:gd name="connsiteX26" fmla="*/ 1279057 w 1371746"/>
                  <a:gd name="connsiteY26" fmla="*/ 488509 h 950336"/>
                  <a:gd name="connsiteX27" fmla="*/ 1307431 w 1371746"/>
                  <a:gd name="connsiteY27" fmla="*/ 522471 h 950336"/>
                  <a:gd name="connsiteX28" fmla="*/ 1365693 w 1371746"/>
                  <a:gd name="connsiteY28" fmla="*/ 522471 h 950336"/>
                  <a:gd name="connsiteX29" fmla="*/ 1371746 w 1371746"/>
                  <a:gd name="connsiteY29" fmla="*/ 530764 h 950336"/>
                  <a:gd name="connsiteX30" fmla="*/ 1335805 w 1371746"/>
                  <a:gd name="connsiteY30" fmla="*/ 568281 h 950336"/>
                  <a:gd name="connsiteX31" fmla="*/ 1268842 w 1371746"/>
                  <a:gd name="connsiteY31" fmla="*/ 586447 h 950336"/>
                  <a:gd name="connsiteX32" fmla="*/ 1258249 w 1371746"/>
                  <a:gd name="connsiteY32" fmla="*/ 623964 h 950336"/>
                  <a:gd name="connsiteX33" fmla="*/ 1261275 w 1371746"/>
                  <a:gd name="connsiteY33" fmla="*/ 656742 h 950336"/>
                  <a:gd name="connsiteX34" fmla="*/ 1156858 w 1371746"/>
                  <a:gd name="connsiteY34" fmla="*/ 717164 h 950336"/>
                  <a:gd name="connsiteX35" fmla="*/ 1143238 w 1371746"/>
                  <a:gd name="connsiteY35" fmla="*/ 738884 h 950336"/>
                  <a:gd name="connsiteX36" fmla="*/ 1082328 w 1371746"/>
                  <a:gd name="connsiteY36" fmla="*/ 731380 h 950336"/>
                  <a:gd name="connsiteX37" fmla="*/ 954076 w 1371746"/>
                  <a:gd name="connsiteY37" fmla="*/ 791802 h 950336"/>
                  <a:gd name="connsiteX38" fmla="*/ 767940 w 1371746"/>
                  <a:gd name="connsiteY38" fmla="*/ 941080 h 950336"/>
                  <a:gd name="connsiteX39" fmla="*/ 757384 w 1371746"/>
                  <a:gd name="connsiteY39" fmla="*/ 950336 h 950336"/>
                  <a:gd name="connsiteX40" fmla="*/ 750552 w 1371746"/>
                  <a:gd name="connsiteY40" fmla="*/ 945897 h 950336"/>
                  <a:gd name="connsiteX41" fmla="*/ 727778 w 1371746"/>
                  <a:gd name="connsiteY41" fmla="*/ 934968 h 950336"/>
                  <a:gd name="connsiteX42" fmla="*/ 713122 w 1371746"/>
                  <a:gd name="connsiteY42" fmla="*/ 921682 h 950336"/>
                  <a:gd name="connsiteX43" fmla="*/ 713122 w 1371746"/>
                  <a:gd name="connsiteY43" fmla="*/ 914039 h 950336"/>
                  <a:gd name="connsiteX44" fmla="*/ 687674 w 1371746"/>
                  <a:gd name="connsiteY44" fmla="*/ 888967 h 950336"/>
                  <a:gd name="connsiteX45" fmla="*/ 664204 w 1371746"/>
                  <a:gd name="connsiteY45" fmla="*/ 902304 h 950336"/>
                  <a:gd name="connsiteX46" fmla="*/ 660496 w 1371746"/>
                  <a:gd name="connsiteY46" fmla="*/ 869600 h 950336"/>
                  <a:gd name="connsiteX47" fmla="*/ 652537 w 1371746"/>
                  <a:gd name="connsiteY47" fmla="*/ 868930 h 950336"/>
                  <a:gd name="connsiteX48" fmla="*/ 649452 w 1371746"/>
                  <a:gd name="connsiteY48" fmla="*/ 842251 h 950336"/>
                  <a:gd name="connsiteX49" fmla="*/ 556471 w 1371746"/>
                  <a:gd name="connsiteY49" fmla="*/ 834680 h 950336"/>
                  <a:gd name="connsiteX50" fmla="*/ 555032 w 1371746"/>
                  <a:gd name="connsiteY50" fmla="*/ 832021 h 950336"/>
                  <a:gd name="connsiteX51" fmla="*/ 550003 w 1371746"/>
                  <a:gd name="connsiteY51" fmla="*/ 810758 h 950336"/>
                  <a:gd name="connsiteX52" fmla="*/ 554258 w 1371746"/>
                  <a:gd name="connsiteY52" fmla="*/ 789582 h 950336"/>
                  <a:gd name="connsiteX53" fmla="*/ 556471 w 1371746"/>
                  <a:gd name="connsiteY53" fmla="*/ 785678 h 950336"/>
                  <a:gd name="connsiteX54" fmla="*/ 519441 w 1371746"/>
                  <a:gd name="connsiteY54" fmla="*/ 724459 h 950336"/>
                  <a:gd name="connsiteX55" fmla="*/ 509923 w 1371746"/>
                  <a:gd name="connsiteY55" fmla="*/ 629888 h 950336"/>
                  <a:gd name="connsiteX56" fmla="*/ 501043 w 1371746"/>
                  <a:gd name="connsiteY56" fmla="*/ 619638 h 950336"/>
                  <a:gd name="connsiteX57" fmla="*/ 500227 w 1371746"/>
                  <a:gd name="connsiteY57" fmla="*/ 611744 h 950336"/>
                  <a:gd name="connsiteX58" fmla="*/ 436457 w 1371746"/>
                  <a:gd name="connsiteY58" fmla="*/ 540385 h 950336"/>
                  <a:gd name="connsiteX59" fmla="*/ 346908 w 1371746"/>
                  <a:gd name="connsiteY59" fmla="*/ 546781 h 950336"/>
                  <a:gd name="connsiteX60" fmla="*/ 237396 w 1371746"/>
                  <a:gd name="connsiteY60" fmla="*/ 511472 h 950336"/>
                  <a:gd name="connsiteX61" fmla="*/ 167162 w 1371746"/>
                  <a:gd name="connsiteY61" fmla="*/ 496407 h 950336"/>
                  <a:gd name="connsiteX62" fmla="*/ 127174 w 1371746"/>
                  <a:gd name="connsiteY62" fmla="*/ 496407 h 950336"/>
                  <a:gd name="connsiteX63" fmla="*/ 102360 w 1371746"/>
                  <a:gd name="connsiteY63" fmla="*/ 483454 h 950336"/>
                  <a:gd name="connsiteX64" fmla="*/ 21361 w 1371746"/>
                  <a:gd name="connsiteY64" fmla="*/ 480383 h 950336"/>
                  <a:gd name="connsiteX65" fmla="*/ 0 w 1371746"/>
                  <a:gd name="connsiteY65" fmla="*/ 466191 h 950336"/>
                  <a:gd name="connsiteX66" fmla="*/ 59718 w 1371746"/>
                  <a:gd name="connsiteY66" fmla="*/ 421768 h 950336"/>
                  <a:gd name="connsiteX67" fmla="*/ 126681 w 1371746"/>
                  <a:gd name="connsiteY67" fmla="*/ 328568 h 950336"/>
                  <a:gd name="connsiteX68" fmla="*/ 126681 w 1371746"/>
                  <a:gd name="connsiteY68" fmla="*/ 322032 h 950336"/>
                  <a:gd name="connsiteX69" fmla="*/ 137062 w 1371746"/>
                  <a:gd name="connsiteY69" fmla="*/ 322146 h 950336"/>
                  <a:gd name="connsiteX70" fmla="*/ 146237 w 1371746"/>
                  <a:gd name="connsiteY70" fmla="*/ 279797 h 950336"/>
                  <a:gd name="connsiteX71" fmla="*/ 162622 w 1371746"/>
                  <a:gd name="connsiteY71" fmla="*/ 261433 h 950336"/>
                  <a:gd name="connsiteX72" fmla="*/ 187591 w 1371746"/>
                  <a:gd name="connsiteY72" fmla="*/ 189954 h 950336"/>
                  <a:gd name="connsiteX73" fmla="*/ 190601 w 1371746"/>
                  <a:gd name="connsiteY73" fmla="*/ 185153 h 950336"/>
                  <a:gd name="connsiteX74" fmla="*/ 240812 w 1371746"/>
                  <a:gd name="connsiteY74" fmla="*/ 134086 h 950336"/>
                  <a:gd name="connsiteX75" fmla="*/ 282803 w 1371746"/>
                  <a:gd name="connsiteY75" fmla="*/ 73176 h 950336"/>
                  <a:gd name="connsiteX76" fmla="*/ 288047 w 1371746"/>
                  <a:gd name="connsiteY76" fmla="*/ 69249 h 950336"/>
                  <a:gd name="connsiteX77" fmla="*/ 286103 w 1371746"/>
                  <a:gd name="connsiteY77" fmla="*/ 93136 h 950336"/>
                  <a:gd name="connsiteX78" fmla="*/ 289282 w 1371746"/>
                  <a:gd name="connsiteY78" fmla="*/ 76153 h 950336"/>
                  <a:gd name="connsiteX79" fmla="*/ 290815 w 1371746"/>
                  <a:gd name="connsiteY79" fmla="*/ 67175 h 950336"/>
                  <a:gd name="connsiteX80" fmla="*/ 305628 w 1371746"/>
                  <a:gd name="connsiteY80" fmla="*/ 56078 h 950336"/>
                  <a:gd name="connsiteX81" fmla="*/ 306385 w 1371746"/>
                  <a:gd name="connsiteY81" fmla="*/ 39492 h 950336"/>
                  <a:gd name="connsiteX82" fmla="*/ 376753 w 1371746"/>
                  <a:gd name="connsiteY82" fmla="*/ 0 h 950336"/>
                  <a:gd name="connsiteX0" fmla="*/ 386278 w 1381271"/>
                  <a:gd name="connsiteY0" fmla="*/ 0 h 950336"/>
                  <a:gd name="connsiteX1" fmla="*/ 465348 w 1381271"/>
                  <a:gd name="connsiteY1" fmla="*/ 26459 h 950336"/>
                  <a:gd name="connsiteX2" fmla="*/ 570144 w 1381271"/>
                  <a:gd name="connsiteY2" fmla="*/ 21720 h 950336"/>
                  <a:gd name="connsiteX3" fmla="*/ 583763 w 1381271"/>
                  <a:gd name="connsiteY3" fmla="*/ 48575 h 950336"/>
                  <a:gd name="connsiteX4" fmla="*/ 583763 w 1381271"/>
                  <a:gd name="connsiteY4" fmla="*/ 74639 h 950336"/>
                  <a:gd name="connsiteX5" fmla="*/ 644674 w 1381271"/>
                  <a:gd name="connsiteY5" fmla="*/ 88856 h 950336"/>
                  <a:gd name="connsiteX6" fmla="*/ 680236 w 1381271"/>
                  <a:gd name="connsiteY6" fmla="*/ 67135 h 950336"/>
                  <a:gd name="connsiteX7" fmla="*/ 777465 w 1381271"/>
                  <a:gd name="connsiteY7" fmla="*/ 74639 h 950336"/>
                  <a:gd name="connsiteX8" fmla="*/ 826269 w 1381271"/>
                  <a:gd name="connsiteY8" fmla="*/ 40281 h 950336"/>
                  <a:gd name="connsiteX9" fmla="*/ 892476 w 1381271"/>
                  <a:gd name="connsiteY9" fmla="*/ 63976 h 950336"/>
                  <a:gd name="connsiteX10" fmla="*/ 912906 w 1381271"/>
                  <a:gd name="connsiteY10" fmla="*/ 93595 h 950336"/>
                  <a:gd name="connsiteX11" fmla="*/ 902691 w 1381271"/>
                  <a:gd name="connsiteY11" fmla="*/ 119659 h 950336"/>
                  <a:gd name="connsiteX12" fmla="*/ 927660 w 1381271"/>
                  <a:gd name="connsiteY12" fmla="*/ 168233 h 950336"/>
                  <a:gd name="connsiteX13" fmla="*/ 909879 w 1381271"/>
                  <a:gd name="connsiteY13" fmla="*/ 197457 h 950336"/>
                  <a:gd name="connsiteX14" fmla="*/ 938253 w 1381271"/>
                  <a:gd name="connsiteY14" fmla="*/ 283548 h 950336"/>
                  <a:gd name="connsiteX15" fmla="*/ 963601 w 1381271"/>
                  <a:gd name="connsiteY15" fmla="*/ 301714 h 950336"/>
                  <a:gd name="connsiteX16" fmla="*/ 1005595 w 1381271"/>
                  <a:gd name="connsiteY16" fmla="*/ 306453 h 950336"/>
                  <a:gd name="connsiteX17" fmla="*/ 1012783 w 1381271"/>
                  <a:gd name="connsiteY17" fmla="*/ 336072 h 950336"/>
                  <a:gd name="connsiteX18" fmla="*/ 984409 w 1381271"/>
                  <a:gd name="connsiteY18" fmla="*/ 437170 h 950336"/>
                  <a:gd name="connsiteX19" fmla="*/ 999164 w 1381271"/>
                  <a:gd name="connsiteY19" fmla="*/ 466788 h 950336"/>
                  <a:gd name="connsiteX20" fmla="*/ 1041158 w 1381271"/>
                  <a:gd name="connsiteY20" fmla="*/ 511808 h 950336"/>
                  <a:gd name="connsiteX21" fmla="*/ 1035104 w 1381271"/>
                  <a:gd name="connsiteY21" fmla="*/ 536688 h 950336"/>
                  <a:gd name="connsiteX22" fmla="*/ 1056290 w 1381271"/>
                  <a:gd name="connsiteY22" fmla="*/ 559988 h 950336"/>
                  <a:gd name="connsiteX23" fmla="*/ 1124767 w 1381271"/>
                  <a:gd name="connsiteY23" fmla="*/ 552090 h 950336"/>
                  <a:gd name="connsiteX24" fmla="*/ 1145575 w 1381271"/>
                  <a:gd name="connsiteY24" fmla="*/ 518127 h 950336"/>
                  <a:gd name="connsiteX25" fmla="*/ 1235238 w 1381271"/>
                  <a:gd name="connsiteY25" fmla="*/ 507069 h 950336"/>
                  <a:gd name="connsiteX26" fmla="*/ 1288582 w 1381271"/>
                  <a:gd name="connsiteY26" fmla="*/ 488509 h 950336"/>
                  <a:gd name="connsiteX27" fmla="*/ 1316956 w 1381271"/>
                  <a:gd name="connsiteY27" fmla="*/ 522471 h 950336"/>
                  <a:gd name="connsiteX28" fmla="*/ 1375218 w 1381271"/>
                  <a:gd name="connsiteY28" fmla="*/ 522471 h 950336"/>
                  <a:gd name="connsiteX29" fmla="*/ 1381271 w 1381271"/>
                  <a:gd name="connsiteY29" fmla="*/ 530764 h 950336"/>
                  <a:gd name="connsiteX30" fmla="*/ 1345330 w 1381271"/>
                  <a:gd name="connsiteY30" fmla="*/ 568281 h 950336"/>
                  <a:gd name="connsiteX31" fmla="*/ 1278367 w 1381271"/>
                  <a:gd name="connsiteY31" fmla="*/ 586447 h 950336"/>
                  <a:gd name="connsiteX32" fmla="*/ 1267774 w 1381271"/>
                  <a:gd name="connsiteY32" fmla="*/ 623964 h 950336"/>
                  <a:gd name="connsiteX33" fmla="*/ 1270800 w 1381271"/>
                  <a:gd name="connsiteY33" fmla="*/ 656742 h 950336"/>
                  <a:gd name="connsiteX34" fmla="*/ 1166383 w 1381271"/>
                  <a:gd name="connsiteY34" fmla="*/ 717164 h 950336"/>
                  <a:gd name="connsiteX35" fmla="*/ 1152763 w 1381271"/>
                  <a:gd name="connsiteY35" fmla="*/ 738884 h 950336"/>
                  <a:gd name="connsiteX36" fmla="*/ 1091853 w 1381271"/>
                  <a:gd name="connsiteY36" fmla="*/ 731380 h 950336"/>
                  <a:gd name="connsiteX37" fmla="*/ 963601 w 1381271"/>
                  <a:gd name="connsiteY37" fmla="*/ 791802 h 950336"/>
                  <a:gd name="connsiteX38" fmla="*/ 777465 w 1381271"/>
                  <a:gd name="connsiteY38" fmla="*/ 941080 h 950336"/>
                  <a:gd name="connsiteX39" fmla="*/ 766909 w 1381271"/>
                  <a:gd name="connsiteY39" fmla="*/ 950336 h 950336"/>
                  <a:gd name="connsiteX40" fmla="*/ 760077 w 1381271"/>
                  <a:gd name="connsiteY40" fmla="*/ 945897 h 950336"/>
                  <a:gd name="connsiteX41" fmla="*/ 737303 w 1381271"/>
                  <a:gd name="connsiteY41" fmla="*/ 934968 h 950336"/>
                  <a:gd name="connsiteX42" fmla="*/ 722647 w 1381271"/>
                  <a:gd name="connsiteY42" fmla="*/ 921682 h 950336"/>
                  <a:gd name="connsiteX43" fmla="*/ 722647 w 1381271"/>
                  <a:gd name="connsiteY43" fmla="*/ 914039 h 950336"/>
                  <a:gd name="connsiteX44" fmla="*/ 697199 w 1381271"/>
                  <a:gd name="connsiteY44" fmla="*/ 888967 h 950336"/>
                  <a:gd name="connsiteX45" fmla="*/ 673729 w 1381271"/>
                  <a:gd name="connsiteY45" fmla="*/ 902304 h 950336"/>
                  <a:gd name="connsiteX46" fmla="*/ 670021 w 1381271"/>
                  <a:gd name="connsiteY46" fmla="*/ 869600 h 950336"/>
                  <a:gd name="connsiteX47" fmla="*/ 662062 w 1381271"/>
                  <a:gd name="connsiteY47" fmla="*/ 868930 h 950336"/>
                  <a:gd name="connsiteX48" fmla="*/ 658977 w 1381271"/>
                  <a:gd name="connsiteY48" fmla="*/ 842251 h 950336"/>
                  <a:gd name="connsiteX49" fmla="*/ 565996 w 1381271"/>
                  <a:gd name="connsiteY49" fmla="*/ 834680 h 950336"/>
                  <a:gd name="connsiteX50" fmla="*/ 564557 w 1381271"/>
                  <a:gd name="connsiteY50" fmla="*/ 832021 h 950336"/>
                  <a:gd name="connsiteX51" fmla="*/ 559528 w 1381271"/>
                  <a:gd name="connsiteY51" fmla="*/ 810758 h 950336"/>
                  <a:gd name="connsiteX52" fmla="*/ 563783 w 1381271"/>
                  <a:gd name="connsiteY52" fmla="*/ 789582 h 950336"/>
                  <a:gd name="connsiteX53" fmla="*/ 565996 w 1381271"/>
                  <a:gd name="connsiteY53" fmla="*/ 785678 h 950336"/>
                  <a:gd name="connsiteX54" fmla="*/ 528966 w 1381271"/>
                  <a:gd name="connsiteY54" fmla="*/ 724459 h 950336"/>
                  <a:gd name="connsiteX55" fmla="*/ 519448 w 1381271"/>
                  <a:gd name="connsiteY55" fmla="*/ 629888 h 950336"/>
                  <a:gd name="connsiteX56" fmla="*/ 510568 w 1381271"/>
                  <a:gd name="connsiteY56" fmla="*/ 619638 h 950336"/>
                  <a:gd name="connsiteX57" fmla="*/ 509752 w 1381271"/>
                  <a:gd name="connsiteY57" fmla="*/ 611744 h 950336"/>
                  <a:gd name="connsiteX58" fmla="*/ 445982 w 1381271"/>
                  <a:gd name="connsiteY58" fmla="*/ 540385 h 950336"/>
                  <a:gd name="connsiteX59" fmla="*/ 356433 w 1381271"/>
                  <a:gd name="connsiteY59" fmla="*/ 546781 h 950336"/>
                  <a:gd name="connsiteX60" fmla="*/ 246921 w 1381271"/>
                  <a:gd name="connsiteY60" fmla="*/ 511472 h 950336"/>
                  <a:gd name="connsiteX61" fmla="*/ 176687 w 1381271"/>
                  <a:gd name="connsiteY61" fmla="*/ 496407 h 950336"/>
                  <a:gd name="connsiteX62" fmla="*/ 136699 w 1381271"/>
                  <a:gd name="connsiteY62" fmla="*/ 496407 h 950336"/>
                  <a:gd name="connsiteX63" fmla="*/ 111885 w 1381271"/>
                  <a:gd name="connsiteY63" fmla="*/ 483454 h 950336"/>
                  <a:gd name="connsiteX64" fmla="*/ 30886 w 1381271"/>
                  <a:gd name="connsiteY64" fmla="*/ 480383 h 950336"/>
                  <a:gd name="connsiteX65" fmla="*/ 0 w 1381271"/>
                  <a:gd name="connsiteY65" fmla="*/ 451904 h 950336"/>
                  <a:gd name="connsiteX66" fmla="*/ 69243 w 1381271"/>
                  <a:gd name="connsiteY66" fmla="*/ 421768 h 950336"/>
                  <a:gd name="connsiteX67" fmla="*/ 136206 w 1381271"/>
                  <a:gd name="connsiteY67" fmla="*/ 328568 h 950336"/>
                  <a:gd name="connsiteX68" fmla="*/ 136206 w 1381271"/>
                  <a:gd name="connsiteY68" fmla="*/ 322032 h 950336"/>
                  <a:gd name="connsiteX69" fmla="*/ 146587 w 1381271"/>
                  <a:gd name="connsiteY69" fmla="*/ 322146 h 950336"/>
                  <a:gd name="connsiteX70" fmla="*/ 155762 w 1381271"/>
                  <a:gd name="connsiteY70" fmla="*/ 279797 h 950336"/>
                  <a:gd name="connsiteX71" fmla="*/ 172147 w 1381271"/>
                  <a:gd name="connsiteY71" fmla="*/ 261433 h 950336"/>
                  <a:gd name="connsiteX72" fmla="*/ 197116 w 1381271"/>
                  <a:gd name="connsiteY72" fmla="*/ 189954 h 950336"/>
                  <a:gd name="connsiteX73" fmla="*/ 200126 w 1381271"/>
                  <a:gd name="connsiteY73" fmla="*/ 185153 h 950336"/>
                  <a:gd name="connsiteX74" fmla="*/ 250337 w 1381271"/>
                  <a:gd name="connsiteY74" fmla="*/ 134086 h 950336"/>
                  <a:gd name="connsiteX75" fmla="*/ 292328 w 1381271"/>
                  <a:gd name="connsiteY75" fmla="*/ 73176 h 950336"/>
                  <a:gd name="connsiteX76" fmla="*/ 297572 w 1381271"/>
                  <a:gd name="connsiteY76" fmla="*/ 69249 h 950336"/>
                  <a:gd name="connsiteX77" fmla="*/ 295628 w 1381271"/>
                  <a:gd name="connsiteY77" fmla="*/ 93136 h 950336"/>
                  <a:gd name="connsiteX78" fmla="*/ 298807 w 1381271"/>
                  <a:gd name="connsiteY78" fmla="*/ 76153 h 950336"/>
                  <a:gd name="connsiteX79" fmla="*/ 300340 w 1381271"/>
                  <a:gd name="connsiteY79" fmla="*/ 67175 h 950336"/>
                  <a:gd name="connsiteX80" fmla="*/ 315153 w 1381271"/>
                  <a:gd name="connsiteY80" fmla="*/ 56078 h 950336"/>
                  <a:gd name="connsiteX81" fmla="*/ 315910 w 1381271"/>
                  <a:gd name="connsiteY81" fmla="*/ 39492 h 950336"/>
                  <a:gd name="connsiteX82" fmla="*/ 386278 w 1381271"/>
                  <a:gd name="connsiteY82" fmla="*/ 0 h 950336"/>
                  <a:gd name="connsiteX0" fmla="*/ 386278 w 1381271"/>
                  <a:gd name="connsiteY0" fmla="*/ 0 h 950336"/>
                  <a:gd name="connsiteX1" fmla="*/ 465348 w 1381271"/>
                  <a:gd name="connsiteY1" fmla="*/ 26459 h 950336"/>
                  <a:gd name="connsiteX2" fmla="*/ 570144 w 1381271"/>
                  <a:gd name="connsiteY2" fmla="*/ 21720 h 950336"/>
                  <a:gd name="connsiteX3" fmla="*/ 583763 w 1381271"/>
                  <a:gd name="connsiteY3" fmla="*/ 48575 h 950336"/>
                  <a:gd name="connsiteX4" fmla="*/ 583763 w 1381271"/>
                  <a:gd name="connsiteY4" fmla="*/ 74639 h 950336"/>
                  <a:gd name="connsiteX5" fmla="*/ 644674 w 1381271"/>
                  <a:gd name="connsiteY5" fmla="*/ 88856 h 950336"/>
                  <a:gd name="connsiteX6" fmla="*/ 680236 w 1381271"/>
                  <a:gd name="connsiteY6" fmla="*/ 67135 h 950336"/>
                  <a:gd name="connsiteX7" fmla="*/ 777465 w 1381271"/>
                  <a:gd name="connsiteY7" fmla="*/ 74639 h 950336"/>
                  <a:gd name="connsiteX8" fmla="*/ 826269 w 1381271"/>
                  <a:gd name="connsiteY8" fmla="*/ 40281 h 950336"/>
                  <a:gd name="connsiteX9" fmla="*/ 892476 w 1381271"/>
                  <a:gd name="connsiteY9" fmla="*/ 63976 h 950336"/>
                  <a:gd name="connsiteX10" fmla="*/ 912906 w 1381271"/>
                  <a:gd name="connsiteY10" fmla="*/ 93595 h 950336"/>
                  <a:gd name="connsiteX11" fmla="*/ 902691 w 1381271"/>
                  <a:gd name="connsiteY11" fmla="*/ 119659 h 950336"/>
                  <a:gd name="connsiteX12" fmla="*/ 927660 w 1381271"/>
                  <a:gd name="connsiteY12" fmla="*/ 168233 h 950336"/>
                  <a:gd name="connsiteX13" fmla="*/ 909879 w 1381271"/>
                  <a:gd name="connsiteY13" fmla="*/ 197457 h 950336"/>
                  <a:gd name="connsiteX14" fmla="*/ 938253 w 1381271"/>
                  <a:gd name="connsiteY14" fmla="*/ 283548 h 950336"/>
                  <a:gd name="connsiteX15" fmla="*/ 963601 w 1381271"/>
                  <a:gd name="connsiteY15" fmla="*/ 301714 h 950336"/>
                  <a:gd name="connsiteX16" fmla="*/ 1005595 w 1381271"/>
                  <a:gd name="connsiteY16" fmla="*/ 306453 h 950336"/>
                  <a:gd name="connsiteX17" fmla="*/ 1012783 w 1381271"/>
                  <a:gd name="connsiteY17" fmla="*/ 336072 h 950336"/>
                  <a:gd name="connsiteX18" fmla="*/ 984409 w 1381271"/>
                  <a:gd name="connsiteY18" fmla="*/ 437170 h 950336"/>
                  <a:gd name="connsiteX19" fmla="*/ 999164 w 1381271"/>
                  <a:gd name="connsiteY19" fmla="*/ 466788 h 950336"/>
                  <a:gd name="connsiteX20" fmla="*/ 1041158 w 1381271"/>
                  <a:gd name="connsiteY20" fmla="*/ 511808 h 950336"/>
                  <a:gd name="connsiteX21" fmla="*/ 1035104 w 1381271"/>
                  <a:gd name="connsiteY21" fmla="*/ 536688 h 950336"/>
                  <a:gd name="connsiteX22" fmla="*/ 1056290 w 1381271"/>
                  <a:gd name="connsiteY22" fmla="*/ 559988 h 950336"/>
                  <a:gd name="connsiteX23" fmla="*/ 1124767 w 1381271"/>
                  <a:gd name="connsiteY23" fmla="*/ 552090 h 950336"/>
                  <a:gd name="connsiteX24" fmla="*/ 1145575 w 1381271"/>
                  <a:gd name="connsiteY24" fmla="*/ 518127 h 950336"/>
                  <a:gd name="connsiteX25" fmla="*/ 1235238 w 1381271"/>
                  <a:gd name="connsiteY25" fmla="*/ 507069 h 950336"/>
                  <a:gd name="connsiteX26" fmla="*/ 1288582 w 1381271"/>
                  <a:gd name="connsiteY26" fmla="*/ 488509 h 950336"/>
                  <a:gd name="connsiteX27" fmla="*/ 1316956 w 1381271"/>
                  <a:gd name="connsiteY27" fmla="*/ 522471 h 950336"/>
                  <a:gd name="connsiteX28" fmla="*/ 1375218 w 1381271"/>
                  <a:gd name="connsiteY28" fmla="*/ 522471 h 950336"/>
                  <a:gd name="connsiteX29" fmla="*/ 1381271 w 1381271"/>
                  <a:gd name="connsiteY29" fmla="*/ 530764 h 950336"/>
                  <a:gd name="connsiteX30" fmla="*/ 1345330 w 1381271"/>
                  <a:gd name="connsiteY30" fmla="*/ 568281 h 950336"/>
                  <a:gd name="connsiteX31" fmla="*/ 1278367 w 1381271"/>
                  <a:gd name="connsiteY31" fmla="*/ 586447 h 950336"/>
                  <a:gd name="connsiteX32" fmla="*/ 1267774 w 1381271"/>
                  <a:gd name="connsiteY32" fmla="*/ 623964 h 950336"/>
                  <a:gd name="connsiteX33" fmla="*/ 1270800 w 1381271"/>
                  <a:gd name="connsiteY33" fmla="*/ 656742 h 950336"/>
                  <a:gd name="connsiteX34" fmla="*/ 1166383 w 1381271"/>
                  <a:gd name="connsiteY34" fmla="*/ 717164 h 950336"/>
                  <a:gd name="connsiteX35" fmla="*/ 1152763 w 1381271"/>
                  <a:gd name="connsiteY35" fmla="*/ 738884 h 950336"/>
                  <a:gd name="connsiteX36" fmla="*/ 1091853 w 1381271"/>
                  <a:gd name="connsiteY36" fmla="*/ 731380 h 950336"/>
                  <a:gd name="connsiteX37" fmla="*/ 963601 w 1381271"/>
                  <a:gd name="connsiteY37" fmla="*/ 791802 h 950336"/>
                  <a:gd name="connsiteX38" fmla="*/ 777465 w 1381271"/>
                  <a:gd name="connsiteY38" fmla="*/ 941080 h 950336"/>
                  <a:gd name="connsiteX39" fmla="*/ 766909 w 1381271"/>
                  <a:gd name="connsiteY39" fmla="*/ 950336 h 950336"/>
                  <a:gd name="connsiteX40" fmla="*/ 760077 w 1381271"/>
                  <a:gd name="connsiteY40" fmla="*/ 945897 h 950336"/>
                  <a:gd name="connsiteX41" fmla="*/ 737303 w 1381271"/>
                  <a:gd name="connsiteY41" fmla="*/ 934968 h 950336"/>
                  <a:gd name="connsiteX42" fmla="*/ 722647 w 1381271"/>
                  <a:gd name="connsiteY42" fmla="*/ 921682 h 950336"/>
                  <a:gd name="connsiteX43" fmla="*/ 722647 w 1381271"/>
                  <a:gd name="connsiteY43" fmla="*/ 914039 h 950336"/>
                  <a:gd name="connsiteX44" fmla="*/ 697199 w 1381271"/>
                  <a:gd name="connsiteY44" fmla="*/ 888967 h 950336"/>
                  <a:gd name="connsiteX45" fmla="*/ 673729 w 1381271"/>
                  <a:gd name="connsiteY45" fmla="*/ 902304 h 950336"/>
                  <a:gd name="connsiteX46" fmla="*/ 670021 w 1381271"/>
                  <a:gd name="connsiteY46" fmla="*/ 869600 h 950336"/>
                  <a:gd name="connsiteX47" fmla="*/ 662062 w 1381271"/>
                  <a:gd name="connsiteY47" fmla="*/ 868930 h 950336"/>
                  <a:gd name="connsiteX48" fmla="*/ 658977 w 1381271"/>
                  <a:gd name="connsiteY48" fmla="*/ 842251 h 950336"/>
                  <a:gd name="connsiteX49" fmla="*/ 565996 w 1381271"/>
                  <a:gd name="connsiteY49" fmla="*/ 834680 h 950336"/>
                  <a:gd name="connsiteX50" fmla="*/ 564557 w 1381271"/>
                  <a:gd name="connsiteY50" fmla="*/ 832021 h 950336"/>
                  <a:gd name="connsiteX51" fmla="*/ 559528 w 1381271"/>
                  <a:gd name="connsiteY51" fmla="*/ 810758 h 950336"/>
                  <a:gd name="connsiteX52" fmla="*/ 563783 w 1381271"/>
                  <a:gd name="connsiteY52" fmla="*/ 789582 h 950336"/>
                  <a:gd name="connsiteX53" fmla="*/ 565996 w 1381271"/>
                  <a:gd name="connsiteY53" fmla="*/ 785678 h 950336"/>
                  <a:gd name="connsiteX54" fmla="*/ 528966 w 1381271"/>
                  <a:gd name="connsiteY54" fmla="*/ 724459 h 950336"/>
                  <a:gd name="connsiteX55" fmla="*/ 519448 w 1381271"/>
                  <a:gd name="connsiteY55" fmla="*/ 629888 h 950336"/>
                  <a:gd name="connsiteX56" fmla="*/ 510568 w 1381271"/>
                  <a:gd name="connsiteY56" fmla="*/ 619638 h 950336"/>
                  <a:gd name="connsiteX57" fmla="*/ 509752 w 1381271"/>
                  <a:gd name="connsiteY57" fmla="*/ 611744 h 950336"/>
                  <a:gd name="connsiteX58" fmla="*/ 445982 w 1381271"/>
                  <a:gd name="connsiteY58" fmla="*/ 540385 h 950336"/>
                  <a:gd name="connsiteX59" fmla="*/ 356433 w 1381271"/>
                  <a:gd name="connsiteY59" fmla="*/ 546781 h 950336"/>
                  <a:gd name="connsiteX60" fmla="*/ 246921 w 1381271"/>
                  <a:gd name="connsiteY60" fmla="*/ 511472 h 950336"/>
                  <a:gd name="connsiteX61" fmla="*/ 176687 w 1381271"/>
                  <a:gd name="connsiteY61" fmla="*/ 496407 h 950336"/>
                  <a:gd name="connsiteX62" fmla="*/ 136699 w 1381271"/>
                  <a:gd name="connsiteY62" fmla="*/ 496407 h 950336"/>
                  <a:gd name="connsiteX63" fmla="*/ 111885 w 1381271"/>
                  <a:gd name="connsiteY63" fmla="*/ 483454 h 950336"/>
                  <a:gd name="connsiteX64" fmla="*/ 30886 w 1381271"/>
                  <a:gd name="connsiteY64" fmla="*/ 480383 h 950336"/>
                  <a:gd name="connsiteX65" fmla="*/ 0 w 1381271"/>
                  <a:gd name="connsiteY65" fmla="*/ 451904 h 950336"/>
                  <a:gd name="connsiteX66" fmla="*/ 69243 w 1381271"/>
                  <a:gd name="connsiteY66" fmla="*/ 412243 h 950336"/>
                  <a:gd name="connsiteX67" fmla="*/ 136206 w 1381271"/>
                  <a:gd name="connsiteY67" fmla="*/ 328568 h 950336"/>
                  <a:gd name="connsiteX68" fmla="*/ 136206 w 1381271"/>
                  <a:gd name="connsiteY68" fmla="*/ 322032 h 950336"/>
                  <a:gd name="connsiteX69" fmla="*/ 146587 w 1381271"/>
                  <a:gd name="connsiteY69" fmla="*/ 322146 h 950336"/>
                  <a:gd name="connsiteX70" fmla="*/ 155762 w 1381271"/>
                  <a:gd name="connsiteY70" fmla="*/ 279797 h 950336"/>
                  <a:gd name="connsiteX71" fmla="*/ 172147 w 1381271"/>
                  <a:gd name="connsiteY71" fmla="*/ 261433 h 950336"/>
                  <a:gd name="connsiteX72" fmla="*/ 197116 w 1381271"/>
                  <a:gd name="connsiteY72" fmla="*/ 189954 h 950336"/>
                  <a:gd name="connsiteX73" fmla="*/ 200126 w 1381271"/>
                  <a:gd name="connsiteY73" fmla="*/ 185153 h 950336"/>
                  <a:gd name="connsiteX74" fmla="*/ 250337 w 1381271"/>
                  <a:gd name="connsiteY74" fmla="*/ 134086 h 950336"/>
                  <a:gd name="connsiteX75" fmla="*/ 292328 w 1381271"/>
                  <a:gd name="connsiteY75" fmla="*/ 73176 h 950336"/>
                  <a:gd name="connsiteX76" fmla="*/ 297572 w 1381271"/>
                  <a:gd name="connsiteY76" fmla="*/ 69249 h 950336"/>
                  <a:gd name="connsiteX77" fmla="*/ 295628 w 1381271"/>
                  <a:gd name="connsiteY77" fmla="*/ 93136 h 950336"/>
                  <a:gd name="connsiteX78" fmla="*/ 298807 w 1381271"/>
                  <a:gd name="connsiteY78" fmla="*/ 76153 h 950336"/>
                  <a:gd name="connsiteX79" fmla="*/ 300340 w 1381271"/>
                  <a:gd name="connsiteY79" fmla="*/ 67175 h 950336"/>
                  <a:gd name="connsiteX80" fmla="*/ 315153 w 1381271"/>
                  <a:gd name="connsiteY80" fmla="*/ 56078 h 950336"/>
                  <a:gd name="connsiteX81" fmla="*/ 315910 w 1381271"/>
                  <a:gd name="connsiteY81" fmla="*/ 39492 h 950336"/>
                  <a:gd name="connsiteX82" fmla="*/ 386278 w 1381271"/>
                  <a:gd name="connsiteY82" fmla="*/ 0 h 950336"/>
                  <a:gd name="connsiteX0" fmla="*/ 386278 w 1381271"/>
                  <a:gd name="connsiteY0" fmla="*/ 0 h 950336"/>
                  <a:gd name="connsiteX1" fmla="*/ 465348 w 1381271"/>
                  <a:gd name="connsiteY1" fmla="*/ 26459 h 950336"/>
                  <a:gd name="connsiteX2" fmla="*/ 570144 w 1381271"/>
                  <a:gd name="connsiteY2" fmla="*/ 21720 h 950336"/>
                  <a:gd name="connsiteX3" fmla="*/ 583763 w 1381271"/>
                  <a:gd name="connsiteY3" fmla="*/ 48575 h 950336"/>
                  <a:gd name="connsiteX4" fmla="*/ 583763 w 1381271"/>
                  <a:gd name="connsiteY4" fmla="*/ 74639 h 950336"/>
                  <a:gd name="connsiteX5" fmla="*/ 644674 w 1381271"/>
                  <a:gd name="connsiteY5" fmla="*/ 88856 h 950336"/>
                  <a:gd name="connsiteX6" fmla="*/ 680236 w 1381271"/>
                  <a:gd name="connsiteY6" fmla="*/ 67135 h 950336"/>
                  <a:gd name="connsiteX7" fmla="*/ 777465 w 1381271"/>
                  <a:gd name="connsiteY7" fmla="*/ 74639 h 950336"/>
                  <a:gd name="connsiteX8" fmla="*/ 826269 w 1381271"/>
                  <a:gd name="connsiteY8" fmla="*/ 40281 h 950336"/>
                  <a:gd name="connsiteX9" fmla="*/ 892476 w 1381271"/>
                  <a:gd name="connsiteY9" fmla="*/ 63976 h 950336"/>
                  <a:gd name="connsiteX10" fmla="*/ 912906 w 1381271"/>
                  <a:gd name="connsiteY10" fmla="*/ 93595 h 950336"/>
                  <a:gd name="connsiteX11" fmla="*/ 902691 w 1381271"/>
                  <a:gd name="connsiteY11" fmla="*/ 119659 h 950336"/>
                  <a:gd name="connsiteX12" fmla="*/ 927660 w 1381271"/>
                  <a:gd name="connsiteY12" fmla="*/ 168233 h 950336"/>
                  <a:gd name="connsiteX13" fmla="*/ 909879 w 1381271"/>
                  <a:gd name="connsiteY13" fmla="*/ 197457 h 950336"/>
                  <a:gd name="connsiteX14" fmla="*/ 938253 w 1381271"/>
                  <a:gd name="connsiteY14" fmla="*/ 283548 h 950336"/>
                  <a:gd name="connsiteX15" fmla="*/ 963601 w 1381271"/>
                  <a:gd name="connsiteY15" fmla="*/ 301714 h 950336"/>
                  <a:gd name="connsiteX16" fmla="*/ 1005595 w 1381271"/>
                  <a:gd name="connsiteY16" fmla="*/ 306453 h 950336"/>
                  <a:gd name="connsiteX17" fmla="*/ 1012783 w 1381271"/>
                  <a:gd name="connsiteY17" fmla="*/ 336072 h 950336"/>
                  <a:gd name="connsiteX18" fmla="*/ 984409 w 1381271"/>
                  <a:gd name="connsiteY18" fmla="*/ 437170 h 950336"/>
                  <a:gd name="connsiteX19" fmla="*/ 999164 w 1381271"/>
                  <a:gd name="connsiteY19" fmla="*/ 466788 h 950336"/>
                  <a:gd name="connsiteX20" fmla="*/ 1041158 w 1381271"/>
                  <a:gd name="connsiteY20" fmla="*/ 511808 h 950336"/>
                  <a:gd name="connsiteX21" fmla="*/ 1035104 w 1381271"/>
                  <a:gd name="connsiteY21" fmla="*/ 536688 h 950336"/>
                  <a:gd name="connsiteX22" fmla="*/ 1056290 w 1381271"/>
                  <a:gd name="connsiteY22" fmla="*/ 559988 h 950336"/>
                  <a:gd name="connsiteX23" fmla="*/ 1124767 w 1381271"/>
                  <a:gd name="connsiteY23" fmla="*/ 552090 h 950336"/>
                  <a:gd name="connsiteX24" fmla="*/ 1145575 w 1381271"/>
                  <a:gd name="connsiteY24" fmla="*/ 518127 h 950336"/>
                  <a:gd name="connsiteX25" fmla="*/ 1235238 w 1381271"/>
                  <a:gd name="connsiteY25" fmla="*/ 507069 h 950336"/>
                  <a:gd name="connsiteX26" fmla="*/ 1288582 w 1381271"/>
                  <a:gd name="connsiteY26" fmla="*/ 488509 h 950336"/>
                  <a:gd name="connsiteX27" fmla="*/ 1316956 w 1381271"/>
                  <a:gd name="connsiteY27" fmla="*/ 522471 h 950336"/>
                  <a:gd name="connsiteX28" fmla="*/ 1375218 w 1381271"/>
                  <a:gd name="connsiteY28" fmla="*/ 522471 h 950336"/>
                  <a:gd name="connsiteX29" fmla="*/ 1381271 w 1381271"/>
                  <a:gd name="connsiteY29" fmla="*/ 530764 h 950336"/>
                  <a:gd name="connsiteX30" fmla="*/ 1345330 w 1381271"/>
                  <a:gd name="connsiteY30" fmla="*/ 568281 h 950336"/>
                  <a:gd name="connsiteX31" fmla="*/ 1278367 w 1381271"/>
                  <a:gd name="connsiteY31" fmla="*/ 586447 h 950336"/>
                  <a:gd name="connsiteX32" fmla="*/ 1267774 w 1381271"/>
                  <a:gd name="connsiteY32" fmla="*/ 623964 h 950336"/>
                  <a:gd name="connsiteX33" fmla="*/ 1270800 w 1381271"/>
                  <a:gd name="connsiteY33" fmla="*/ 656742 h 950336"/>
                  <a:gd name="connsiteX34" fmla="*/ 1166383 w 1381271"/>
                  <a:gd name="connsiteY34" fmla="*/ 717164 h 950336"/>
                  <a:gd name="connsiteX35" fmla="*/ 1152763 w 1381271"/>
                  <a:gd name="connsiteY35" fmla="*/ 738884 h 950336"/>
                  <a:gd name="connsiteX36" fmla="*/ 1091853 w 1381271"/>
                  <a:gd name="connsiteY36" fmla="*/ 731380 h 950336"/>
                  <a:gd name="connsiteX37" fmla="*/ 963601 w 1381271"/>
                  <a:gd name="connsiteY37" fmla="*/ 791802 h 950336"/>
                  <a:gd name="connsiteX38" fmla="*/ 777465 w 1381271"/>
                  <a:gd name="connsiteY38" fmla="*/ 941080 h 950336"/>
                  <a:gd name="connsiteX39" fmla="*/ 766909 w 1381271"/>
                  <a:gd name="connsiteY39" fmla="*/ 950336 h 950336"/>
                  <a:gd name="connsiteX40" fmla="*/ 760077 w 1381271"/>
                  <a:gd name="connsiteY40" fmla="*/ 945897 h 950336"/>
                  <a:gd name="connsiteX41" fmla="*/ 737303 w 1381271"/>
                  <a:gd name="connsiteY41" fmla="*/ 934968 h 950336"/>
                  <a:gd name="connsiteX42" fmla="*/ 722647 w 1381271"/>
                  <a:gd name="connsiteY42" fmla="*/ 921682 h 950336"/>
                  <a:gd name="connsiteX43" fmla="*/ 722647 w 1381271"/>
                  <a:gd name="connsiteY43" fmla="*/ 914039 h 950336"/>
                  <a:gd name="connsiteX44" fmla="*/ 697199 w 1381271"/>
                  <a:gd name="connsiteY44" fmla="*/ 888967 h 950336"/>
                  <a:gd name="connsiteX45" fmla="*/ 673729 w 1381271"/>
                  <a:gd name="connsiteY45" fmla="*/ 902304 h 950336"/>
                  <a:gd name="connsiteX46" fmla="*/ 670021 w 1381271"/>
                  <a:gd name="connsiteY46" fmla="*/ 869600 h 950336"/>
                  <a:gd name="connsiteX47" fmla="*/ 662062 w 1381271"/>
                  <a:gd name="connsiteY47" fmla="*/ 868930 h 950336"/>
                  <a:gd name="connsiteX48" fmla="*/ 658977 w 1381271"/>
                  <a:gd name="connsiteY48" fmla="*/ 842251 h 950336"/>
                  <a:gd name="connsiteX49" fmla="*/ 565996 w 1381271"/>
                  <a:gd name="connsiteY49" fmla="*/ 834680 h 950336"/>
                  <a:gd name="connsiteX50" fmla="*/ 564557 w 1381271"/>
                  <a:gd name="connsiteY50" fmla="*/ 832021 h 950336"/>
                  <a:gd name="connsiteX51" fmla="*/ 559528 w 1381271"/>
                  <a:gd name="connsiteY51" fmla="*/ 810758 h 950336"/>
                  <a:gd name="connsiteX52" fmla="*/ 563783 w 1381271"/>
                  <a:gd name="connsiteY52" fmla="*/ 789582 h 950336"/>
                  <a:gd name="connsiteX53" fmla="*/ 565996 w 1381271"/>
                  <a:gd name="connsiteY53" fmla="*/ 785678 h 950336"/>
                  <a:gd name="connsiteX54" fmla="*/ 528966 w 1381271"/>
                  <a:gd name="connsiteY54" fmla="*/ 724459 h 950336"/>
                  <a:gd name="connsiteX55" fmla="*/ 519448 w 1381271"/>
                  <a:gd name="connsiteY55" fmla="*/ 629888 h 950336"/>
                  <a:gd name="connsiteX56" fmla="*/ 510568 w 1381271"/>
                  <a:gd name="connsiteY56" fmla="*/ 619638 h 950336"/>
                  <a:gd name="connsiteX57" fmla="*/ 509752 w 1381271"/>
                  <a:gd name="connsiteY57" fmla="*/ 611744 h 950336"/>
                  <a:gd name="connsiteX58" fmla="*/ 445982 w 1381271"/>
                  <a:gd name="connsiteY58" fmla="*/ 540385 h 950336"/>
                  <a:gd name="connsiteX59" fmla="*/ 356433 w 1381271"/>
                  <a:gd name="connsiteY59" fmla="*/ 546781 h 950336"/>
                  <a:gd name="connsiteX60" fmla="*/ 246921 w 1381271"/>
                  <a:gd name="connsiteY60" fmla="*/ 511472 h 950336"/>
                  <a:gd name="connsiteX61" fmla="*/ 176687 w 1381271"/>
                  <a:gd name="connsiteY61" fmla="*/ 496407 h 950336"/>
                  <a:gd name="connsiteX62" fmla="*/ 136699 w 1381271"/>
                  <a:gd name="connsiteY62" fmla="*/ 496407 h 950336"/>
                  <a:gd name="connsiteX63" fmla="*/ 111885 w 1381271"/>
                  <a:gd name="connsiteY63" fmla="*/ 483454 h 950336"/>
                  <a:gd name="connsiteX64" fmla="*/ 30886 w 1381271"/>
                  <a:gd name="connsiteY64" fmla="*/ 480383 h 950336"/>
                  <a:gd name="connsiteX65" fmla="*/ 0 w 1381271"/>
                  <a:gd name="connsiteY65" fmla="*/ 451904 h 950336"/>
                  <a:gd name="connsiteX66" fmla="*/ 69243 w 1381271"/>
                  <a:gd name="connsiteY66" fmla="*/ 412243 h 950336"/>
                  <a:gd name="connsiteX67" fmla="*/ 136206 w 1381271"/>
                  <a:gd name="connsiteY67" fmla="*/ 328568 h 950336"/>
                  <a:gd name="connsiteX68" fmla="*/ 136206 w 1381271"/>
                  <a:gd name="connsiteY68" fmla="*/ 322032 h 950336"/>
                  <a:gd name="connsiteX69" fmla="*/ 129918 w 1381271"/>
                  <a:gd name="connsiteY69" fmla="*/ 315002 h 950336"/>
                  <a:gd name="connsiteX70" fmla="*/ 155762 w 1381271"/>
                  <a:gd name="connsiteY70" fmla="*/ 279797 h 950336"/>
                  <a:gd name="connsiteX71" fmla="*/ 172147 w 1381271"/>
                  <a:gd name="connsiteY71" fmla="*/ 261433 h 950336"/>
                  <a:gd name="connsiteX72" fmla="*/ 197116 w 1381271"/>
                  <a:gd name="connsiteY72" fmla="*/ 189954 h 950336"/>
                  <a:gd name="connsiteX73" fmla="*/ 200126 w 1381271"/>
                  <a:gd name="connsiteY73" fmla="*/ 185153 h 950336"/>
                  <a:gd name="connsiteX74" fmla="*/ 250337 w 1381271"/>
                  <a:gd name="connsiteY74" fmla="*/ 134086 h 950336"/>
                  <a:gd name="connsiteX75" fmla="*/ 292328 w 1381271"/>
                  <a:gd name="connsiteY75" fmla="*/ 73176 h 950336"/>
                  <a:gd name="connsiteX76" fmla="*/ 297572 w 1381271"/>
                  <a:gd name="connsiteY76" fmla="*/ 69249 h 950336"/>
                  <a:gd name="connsiteX77" fmla="*/ 295628 w 1381271"/>
                  <a:gd name="connsiteY77" fmla="*/ 93136 h 950336"/>
                  <a:gd name="connsiteX78" fmla="*/ 298807 w 1381271"/>
                  <a:gd name="connsiteY78" fmla="*/ 76153 h 950336"/>
                  <a:gd name="connsiteX79" fmla="*/ 300340 w 1381271"/>
                  <a:gd name="connsiteY79" fmla="*/ 67175 h 950336"/>
                  <a:gd name="connsiteX80" fmla="*/ 315153 w 1381271"/>
                  <a:gd name="connsiteY80" fmla="*/ 56078 h 950336"/>
                  <a:gd name="connsiteX81" fmla="*/ 315910 w 1381271"/>
                  <a:gd name="connsiteY81" fmla="*/ 39492 h 950336"/>
                  <a:gd name="connsiteX82" fmla="*/ 386278 w 1381271"/>
                  <a:gd name="connsiteY82" fmla="*/ 0 h 950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81271" h="950336">
                    <a:moveTo>
                      <a:pt x="386278" y="0"/>
                    </a:moveTo>
                    <a:lnTo>
                      <a:pt x="465348" y="26459"/>
                    </a:lnTo>
                    <a:lnTo>
                      <a:pt x="570144" y="21720"/>
                    </a:lnTo>
                    <a:lnTo>
                      <a:pt x="583763" y="48575"/>
                    </a:lnTo>
                    <a:lnTo>
                      <a:pt x="583763" y="74639"/>
                    </a:lnTo>
                    <a:lnTo>
                      <a:pt x="644674" y="88856"/>
                    </a:lnTo>
                    <a:lnTo>
                      <a:pt x="680236" y="67135"/>
                    </a:lnTo>
                    <a:lnTo>
                      <a:pt x="777465" y="74639"/>
                    </a:lnTo>
                    <a:lnTo>
                      <a:pt x="826269" y="40281"/>
                    </a:lnTo>
                    <a:lnTo>
                      <a:pt x="892476" y="63976"/>
                    </a:lnTo>
                    <a:lnTo>
                      <a:pt x="912906" y="93595"/>
                    </a:lnTo>
                    <a:lnTo>
                      <a:pt x="902691" y="119659"/>
                    </a:lnTo>
                    <a:lnTo>
                      <a:pt x="927660" y="168233"/>
                    </a:lnTo>
                    <a:lnTo>
                      <a:pt x="909879" y="197457"/>
                    </a:lnTo>
                    <a:lnTo>
                      <a:pt x="938253" y="283548"/>
                    </a:lnTo>
                    <a:lnTo>
                      <a:pt x="963601" y="301714"/>
                    </a:lnTo>
                    <a:lnTo>
                      <a:pt x="1005595" y="306453"/>
                    </a:lnTo>
                    <a:lnTo>
                      <a:pt x="1012783" y="336072"/>
                    </a:lnTo>
                    <a:lnTo>
                      <a:pt x="984409" y="437170"/>
                    </a:lnTo>
                    <a:lnTo>
                      <a:pt x="999164" y="466788"/>
                    </a:lnTo>
                    <a:lnTo>
                      <a:pt x="1041158" y="511808"/>
                    </a:lnTo>
                    <a:lnTo>
                      <a:pt x="1035104" y="536688"/>
                    </a:lnTo>
                    <a:lnTo>
                      <a:pt x="1056290" y="559988"/>
                    </a:lnTo>
                    <a:lnTo>
                      <a:pt x="1124767" y="552090"/>
                    </a:lnTo>
                    <a:lnTo>
                      <a:pt x="1145575" y="518127"/>
                    </a:lnTo>
                    <a:lnTo>
                      <a:pt x="1235238" y="507069"/>
                    </a:lnTo>
                    <a:lnTo>
                      <a:pt x="1288582" y="488509"/>
                    </a:lnTo>
                    <a:lnTo>
                      <a:pt x="1316956" y="522471"/>
                    </a:lnTo>
                    <a:lnTo>
                      <a:pt x="1375218" y="522471"/>
                    </a:lnTo>
                    <a:lnTo>
                      <a:pt x="1381271" y="530764"/>
                    </a:lnTo>
                    <a:lnTo>
                      <a:pt x="1345330" y="568281"/>
                    </a:lnTo>
                    <a:lnTo>
                      <a:pt x="1278367" y="586447"/>
                    </a:lnTo>
                    <a:lnTo>
                      <a:pt x="1267774" y="623964"/>
                    </a:lnTo>
                    <a:lnTo>
                      <a:pt x="1270800" y="656742"/>
                    </a:lnTo>
                    <a:lnTo>
                      <a:pt x="1166383" y="717164"/>
                    </a:lnTo>
                    <a:lnTo>
                      <a:pt x="1152763" y="738884"/>
                    </a:lnTo>
                    <a:lnTo>
                      <a:pt x="1091853" y="731380"/>
                    </a:lnTo>
                    <a:lnTo>
                      <a:pt x="963601" y="791802"/>
                    </a:lnTo>
                    <a:lnTo>
                      <a:pt x="777465" y="941080"/>
                    </a:lnTo>
                    <a:lnTo>
                      <a:pt x="766909" y="950336"/>
                    </a:lnTo>
                    <a:lnTo>
                      <a:pt x="760077" y="945897"/>
                    </a:lnTo>
                    <a:lnTo>
                      <a:pt x="737303" y="934968"/>
                    </a:lnTo>
                    <a:lnTo>
                      <a:pt x="722647" y="921682"/>
                    </a:lnTo>
                    <a:lnTo>
                      <a:pt x="722647" y="914039"/>
                    </a:lnTo>
                    <a:lnTo>
                      <a:pt x="697199" y="888967"/>
                    </a:lnTo>
                    <a:lnTo>
                      <a:pt x="673729" y="902304"/>
                    </a:lnTo>
                    <a:lnTo>
                      <a:pt x="670021" y="869600"/>
                    </a:lnTo>
                    <a:lnTo>
                      <a:pt x="662062" y="868930"/>
                    </a:lnTo>
                    <a:lnTo>
                      <a:pt x="658977" y="842251"/>
                    </a:lnTo>
                    <a:lnTo>
                      <a:pt x="565996" y="834680"/>
                    </a:lnTo>
                    <a:lnTo>
                      <a:pt x="564557" y="832021"/>
                    </a:lnTo>
                    <a:lnTo>
                      <a:pt x="559528" y="810758"/>
                    </a:lnTo>
                    <a:lnTo>
                      <a:pt x="563783" y="789582"/>
                    </a:lnTo>
                    <a:lnTo>
                      <a:pt x="565996" y="785678"/>
                    </a:lnTo>
                    <a:lnTo>
                      <a:pt x="528966" y="724459"/>
                    </a:lnTo>
                    <a:lnTo>
                      <a:pt x="519448" y="629888"/>
                    </a:lnTo>
                    <a:lnTo>
                      <a:pt x="510568" y="619638"/>
                    </a:lnTo>
                    <a:lnTo>
                      <a:pt x="509752" y="611744"/>
                    </a:lnTo>
                    <a:lnTo>
                      <a:pt x="445982" y="540385"/>
                    </a:lnTo>
                    <a:lnTo>
                      <a:pt x="356433" y="546781"/>
                    </a:lnTo>
                    <a:lnTo>
                      <a:pt x="246921" y="511472"/>
                    </a:lnTo>
                    <a:lnTo>
                      <a:pt x="176687" y="496407"/>
                    </a:lnTo>
                    <a:lnTo>
                      <a:pt x="136699" y="496407"/>
                    </a:lnTo>
                    <a:lnTo>
                      <a:pt x="111885" y="483454"/>
                    </a:lnTo>
                    <a:lnTo>
                      <a:pt x="30886" y="480383"/>
                    </a:lnTo>
                    <a:lnTo>
                      <a:pt x="0" y="451904"/>
                    </a:lnTo>
                    <a:lnTo>
                      <a:pt x="69243" y="412243"/>
                    </a:lnTo>
                    <a:lnTo>
                      <a:pt x="136206" y="328568"/>
                    </a:lnTo>
                    <a:lnTo>
                      <a:pt x="136206" y="322032"/>
                    </a:lnTo>
                    <a:lnTo>
                      <a:pt x="129918" y="315002"/>
                    </a:lnTo>
                    <a:lnTo>
                      <a:pt x="155762" y="279797"/>
                    </a:lnTo>
                    <a:lnTo>
                      <a:pt x="172147" y="261433"/>
                    </a:lnTo>
                    <a:lnTo>
                      <a:pt x="197116" y="189954"/>
                    </a:lnTo>
                    <a:lnTo>
                      <a:pt x="200126" y="185153"/>
                    </a:lnTo>
                    <a:lnTo>
                      <a:pt x="250337" y="134086"/>
                    </a:lnTo>
                    <a:lnTo>
                      <a:pt x="292328" y="73176"/>
                    </a:lnTo>
                    <a:lnTo>
                      <a:pt x="297572" y="69249"/>
                    </a:lnTo>
                    <a:lnTo>
                      <a:pt x="295628" y="93136"/>
                    </a:lnTo>
                    <a:cubicBezTo>
                      <a:pt x="295515" y="95799"/>
                      <a:pt x="297161" y="85976"/>
                      <a:pt x="298807" y="76153"/>
                    </a:cubicBezTo>
                    <a:lnTo>
                      <a:pt x="300340" y="67175"/>
                    </a:lnTo>
                    <a:lnTo>
                      <a:pt x="315153" y="56078"/>
                    </a:lnTo>
                    <a:cubicBezTo>
                      <a:pt x="315405" y="50549"/>
                      <a:pt x="315658" y="45021"/>
                      <a:pt x="315910" y="39492"/>
                    </a:cubicBezTo>
                    <a:lnTo>
                      <a:pt x="386278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: ES">
                <a:extLst>
                  <a:ext uri="{FF2B5EF4-FFF2-40B4-BE49-F238E27FC236}">
                    <a16:creationId xmlns:a16="http://schemas.microsoft.com/office/drawing/2014/main" id="{AE3AC00F-0BC5-0F53-79EB-9DE501D021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3213" y="4000526"/>
                <a:ext cx="404968" cy="554819"/>
              </a:xfrm>
              <a:custGeom>
                <a:avLst/>
                <a:gdLst>
                  <a:gd name="connsiteX0" fmla="*/ 238917 w 386152"/>
                  <a:gd name="connsiteY0" fmla="*/ 0 h 555364"/>
                  <a:gd name="connsiteX1" fmla="*/ 294082 w 386152"/>
                  <a:gd name="connsiteY1" fmla="*/ 0 h 555364"/>
                  <a:gd name="connsiteX2" fmla="*/ 386152 w 386152"/>
                  <a:gd name="connsiteY2" fmla="*/ 68712 h 555364"/>
                  <a:gd name="connsiteX3" fmla="*/ 364397 w 386152"/>
                  <a:gd name="connsiteY3" fmla="*/ 197785 h 555364"/>
                  <a:gd name="connsiteX4" fmla="*/ 345750 w 386152"/>
                  <a:gd name="connsiteY4" fmla="*/ 302182 h 555364"/>
                  <a:gd name="connsiteX5" fmla="*/ 251348 w 386152"/>
                  <a:gd name="connsiteY5" fmla="*/ 420246 h 555364"/>
                  <a:gd name="connsiteX6" fmla="*/ 238917 w 386152"/>
                  <a:gd name="connsiteY6" fmla="*/ 463523 h 555364"/>
                  <a:gd name="connsiteX7" fmla="*/ 155005 w 386152"/>
                  <a:gd name="connsiteY7" fmla="*/ 545902 h 555364"/>
                  <a:gd name="connsiteX8" fmla="*/ 151090 w 386152"/>
                  <a:gd name="connsiteY8" fmla="*/ 555364 h 555364"/>
                  <a:gd name="connsiteX9" fmla="*/ 43513 w 386152"/>
                  <a:gd name="connsiteY9" fmla="*/ 524857 h 555364"/>
                  <a:gd name="connsiteX10" fmla="*/ 32610 w 386152"/>
                  <a:gd name="connsiteY10" fmla="*/ 473630 h 555364"/>
                  <a:gd name="connsiteX11" fmla="*/ 19688 w 386152"/>
                  <a:gd name="connsiteY11" fmla="*/ 462293 h 555364"/>
                  <a:gd name="connsiteX12" fmla="*/ 3190 w 386152"/>
                  <a:gd name="connsiteY12" fmla="*/ 476783 h 555364"/>
                  <a:gd name="connsiteX13" fmla="*/ 0 w 386152"/>
                  <a:gd name="connsiteY13" fmla="*/ 474153 h 555364"/>
                  <a:gd name="connsiteX14" fmla="*/ 7770 w 386152"/>
                  <a:gd name="connsiteY14" fmla="*/ 405061 h 555364"/>
                  <a:gd name="connsiteX15" fmla="*/ 36906 w 386152"/>
                  <a:gd name="connsiteY15" fmla="*/ 376589 h 555364"/>
                  <a:gd name="connsiteX16" fmla="*/ 81193 w 386152"/>
                  <a:gd name="connsiteY16" fmla="*/ 381144 h 555364"/>
                  <a:gd name="connsiteX17" fmla="*/ 96344 w 386152"/>
                  <a:gd name="connsiteY17" fmla="*/ 356089 h 555364"/>
                  <a:gd name="connsiteX18" fmla="*/ 155005 w 386152"/>
                  <a:gd name="connsiteY18" fmla="*/ 269534 h 555364"/>
                  <a:gd name="connsiteX19" fmla="*/ 165494 w 386152"/>
                  <a:gd name="connsiteY19" fmla="*/ 233470 h 555364"/>
                  <a:gd name="connsiteX20" fmla="*/ 155005 w 386152"/>
                  <a:gd name="connsiteY20" fmla="*/ 169313 h 555364"/>
                  <a:gd name="connsiteX21" fmla="*/ 170156 w 386152"/>
                  <a:gd name="connsiteY21" fmla="*/ 140462 h 555364"/>
                  <a:gd name="connsiteX22" fmla="*/ 165494 w 386152"/>
                  <a:gd name="connsiteY22" fmla="*/ 115027 h 555364"/>
                  <a:gd name="connsiteX23" fmla="*/ 155005 w 386152"/>
                  <a:gd name="connsiteY23" fmla="*/ 64157 h 555364"/>
                  <a:gd name="connsiteX24" fmla="*/ 172875 w 386152"/>
                  <a:gd name="connsiteY24" fmla="*/ 28472 h 555364"/>
                  <a:gd name="connsiteX25" fmla="*/ 238917 w 386152"/>
                  <a:gd name="connsiteY25" fmla="*/ 0 h 555364"/>
                  <a:gd name="connsiteX0" fmla="*/ 238917 w 404878"/>
                  <a:gd name="connsiteY0" fmla="*/ 0 h 555364"/>
                  <a:gd name="connsiteX1" fmla="*/ 294082 w 404878"/>
                  <a:gd name="connsiteY1" fmla="*/ 0 h 555364"/>
                  <a:gd name="connsiteX2" fmla="*/ 386152 w 404878"/>
                  <a:gd name="connsiteY2" fmla="*/ 68712 h 555364"/>
                  <a:gd name="connsiteX3" fmla="*/ 404878 w 404878"/>
                  <a:gd name="connsiteY3" fmla="*/ 209691 h 555364"/>
                  <a:gd name="connsiteX4" fmla="*/ 345750 w 404878"/>
                  <a:gd name="connsiteY4" fmla="*/ 302182 h 555364"/>
                  <a:gd name="connsiteX5" fmla="*/ 251348 w 404878"/>
                  <a:gd name="connsiteY5" fmla="*/ 420246 h 555364"/>
                  <a:gd name="connsiteX6" fmla="*/ 238917 w 404878"/>
                  <a:gd name="connsiteY6" fmla="*/ 463523 h 555364"/>
                  <a:gd name="connsiteX7" fmla="*/ 155005 w 404878"/>
                  <a:gd name="connsiteY7" fmla="*/ 545902 h 555364"/>
                  <a:gd name="connsiteX8" fmla="*/ 151090 w 404878"/>
                  <a:gd name="connsiteY8" fmla="*/ 555364 h 555364"/>
                  <a:gd name="connsiteX9" fmla="*/ 43513 w 404878"/>
                  <a:gd name="connsiteY9" fmla="*/ 524857 h 555364"/>
                  <a:gd name="connsiteX10" fmla="*/ 32610 w 404878"/>
                  <a:gd name="connsiteY10" fmla="*/ 473630 h 555364"/>
                  <a:gd name="connsiteX11" fmla="*/ 19688 w 404878"/>
                  <a:gd name="connsiteY11" fmla="*/ 462293 h 555364"/>
                  <a:gd name="connsiteX12" fmla="*/ 3190 w 404878"/>
                  <a:gd name="connsiteY12" fmla="*/ 476783 h 555364"/>
                  <a:gd name="connsiteX13" fmla="*/ 0 w 404878"/>
                  <a:gd name="connsiteY13" fmla="*/ 474153 h 555364"/>
                  <a:gd name="connsiteX14" fmla="*/ 7770 w 404878"/>
                  <a:gd name="connsiteY14" fmla="*/ 405061 h 555364"/>
                  <a:gd name="connsiteX15" fmla="*/ 36906 w 404878"/>
                  <a:gd name="connsiteY15" fmla="*/ 376589 h 555364"/>
                  <a:gd name="connsiteX16" fmla="*/ 81193 w 404878"/>
                  <a:gd name="connsiteY16" fmla="*/ 381144 h 555364"/>
                  <a:gd name="connsiteX17" fmla="*/ 96344 w 404878"/>
                  <a:gd name="connsiteY17" fmla="*/ 356089 h 555364"/>
                  <a:gd name="connsiteX18" fmla="*/ 155005 w 404878"/>
                  <a:gd name="connsiteY18" fmla="*/ 269534 h 555364"/>
                  <a:gd name="connsiteX19" fmla="*/ 165494 w 404878"/>
                  <a:gd name="connsiteY19" fmla="*/ 233470 h 555364"/>
                  <a:gd name="connsiteX20" fmla="*/ 155005 w 404878"/>
                  <a:gd name="connsiteY20" fmla="*/ 169313 h 555364"/>
                  <a:gd name="connsiteX21" fmla="*/ 170156 w 404878"/>
                  <a:gd name="connsiteY21" fmla="*/ 140462 h 555364"/>
                  <a:gd name="connsiteX22" fmla="*/ 165494 w 404878"/>
                  <a:gd name="connsiteY22" fmla="*/ 115027 h 555364"/>
                  <a:gd name="connsiteX23" fmla="*/ 155005 w 404878"/>
                  <a:gd name="connsiteY23" fmla="*/ 64157 h 555364"/>
                  <a:gd name="connsiteX24" fmla="*/ 172875 w 404878"/>
                  <a:gd name="connsiteY24" fmla="*/ 28472 h 555364"/>
                  <a:gd name="connsiteX25" fmla="*/ 238917 w 404878"/>
                  <a:gd name="connsiteY25" fmla="*/ 0 h 555364"/>
                  <a:gd name="connsiteX0" fmla="*/ 238917 w 404878"/>
                  <a:gd name="connsiteY0" fmla="*/ 0 h 555364"/>
                  <a:gd name="connsiteX1" fmla="*/ 294082 w 404878"/>
                  <a:gd name="connsiteY1" fmla="*/ 0 h 555364"/>
                  <a:gd name="connsiteX2" fmla="*/ 386152 w 404878"/>
                  <a:gd name="connsiteY2" fmla="*/ 68712 h 555364"/>
                  <a:gd name="connsiteX3" fmla="*/ 404878 w 404878"/>
                  <a:gd name="connsiteY3" fmla="*/ 209691 h 555364"/>
                  <a:gd name="connsiteX4" fmla="*/ 362419 w 404878"/>
                  <a:gd name="connsiteY4" fmla="*/ 292657 h 555364"/>
                  <a:gd name="connsiteX5" fmla="*/ 251348 w 404878"/>
                  <a:gd name="connsiteY5" fmla="*/ 420246 h 555364"/>
                  <a:gd name="connsiteX6" fmla="*/ 238917 w 404878"/>
                  <a:gd name="connsiteY6" fmla="*/ 463523 h 555364"/>
                  <a:gd name="connsiteX7" fmla="*/ 155005 w 404878"/>
                  <a:gd name="connsiteY7" fmla="*/ 545902 h 555364"/>
                  <a:gd name="connsiteX8" fmla="*/ 151090 w 404878"/>
                  <a:gd name="connsiteY8" fmla="*/ 555364 h 555364"/>
                  <a:gd name="connsiteX9" fmla="*/ 43513 w 404878"/>
                  <a:gd name="connsiteY9" fmla="*/ 524857 h 555364"/>
                  <a:gd name="connsiteX10" fmla="*/ 32610 w 404878"/>
                  <a:gd name="connsiteY10" fmla="*/ 473630 h 555364"/>
                  <a:gd name="connsiteX11" fmla="*/ 19688 w 404878"/>
                  <a:gd name="connsiteY11" fmla="*/ 462293 h 555364"/>
                  <a:gd name="connsiteX12" fmla="*/ 3190 w 404878"/>
                  <a:gd name="connsiteY12" fmla="*/ 476783 h 555364"/>
                  <a:gd name="connsiteX13" fmla="*/ 0 w 404878"/>
                  <a:gd name="connsiteY13" fmla="*/ 474153 h 555364"/>
                  <a:gd name="connsiteX14" fmla="*/ 7770 w 404878"/>
                  <a:gd name="connsiteY14" fmla="*/ 405061 h 555364"/>
                  <a:gd name="connsiteX15" fmla="*/ 36906 w 404878"/>
                  <a:gd name="connsiteY15" fmla="*/ 376589 h 555364"/>
                  <a:gd name="connsiteX16" fmla="*/ 81193 w 404878"/>
                  <a:gd name="connsiteY16" fmla="*/ 381144 h 555364"/>
                  <a:gd name="connsiteX17" fmla="*/ 96344 w 404878"/>
                  <a:gd name="connsiteY17" fmla="*/ 356089 h 555364"/>
                  <a:gd name="connsiteX18" fmla="*/ 155005 w 404878"/>
                  <a:gd name="connsiteY18" fmla="*/ 269534 h 555364"/>
                  <a:gd name="connsiteX19" fmla="*/ 165494 w 404878"/>
                  <a:gd name="connsiteY19" fmla="*/ 233470 h 555364"/>
                  <a:gd name="connsiteX20" fmla="*/ 155005 w 404878"/>
                  <a:gd name="connsiteY20" fmla="*/ 169313 h 555364"/>
                  <a:gd name="connsiteX21" fmla="*/ 170156 w 404878"/>
                  <a:gd name="connsiteY21" fmla="*/ 140462 h 555364"/>
                  <a:gd name="connsiteX22" fmla="*/ 165494 w 404878"/>
                  <a:gd name="connsiteY22" fmla="*/ 115027 h 555364"/>
                  <a:gd name="connsiteX23" fmla="*/ 155005 w 404878"/>
                  <a:gd name="connsiteY23" fmla="*/ 64157 h 555364"/>
                  <a:gd name="connsiteX24" fmla="*/ 172875 w 404878"/>
                  <a:gd name="connsiteY24" fmla="*/ 28472 h 555364"/>
                  <a:gd name="connsiteX25" fmla="*/ 238917 w 404878"/>
                  <a:gd name="connsiteY25" fmla="*/ 0 h 555364"/>
                  <a:gd name="connsiteX0" fmla="*/ 238917 w 404878"/>
                  <a:gd name="connsiteY0" fmla="*/ 0 h 555364"/>
                  <a:gd name="connsiteX1" fmla="*/ 294082 w 404878"/>
                  <a:gd name="connsiteY1" fmla="*/ 0 h 555364"/>
                  <a:gd name="connsiteX2" fmla="*/ 386152 w 404878"/>
                  <a:gd name="connsiteY2" fmla="*/ 68712 h 555364"/>
                  <a:gd name="connsiteX3" fmla="*/ 404878 w 404878"/>
                  <a:gd name="connsiteY3" fmla="*/ 209691 h 555364"/>
                  <a:gd name="connsiteX4" fmla="*/ 362419 w 404878"/>
                  <a:gd name="connsiteY4" fmla="*/ 292657 h 555364"/>
                  <a:gd name="connsiteX5" fmla="*/ 284686 w 404878"/>
                  <a:gd name="connsiteY5" fmla="*/ 444059 h 555364"/>
                  <a:gd name="connsiteX6" fmla="*/ 238917 w 404878"/>
                  <a:gd name="connsiteY6" fmla="*/ 463523 h 555364"/>
                  <a:gd name="connsiteX7" fmla="*/ 155005 w 404878"/>
                  <a:gd name="connsiteY7" fmla="*/ 545902 h 555364"/>
                  <a:gd name="connsiteX8" fmla="*/ 151090 w 404878"/>
                  <a:gd name="connsiteY8" fmla="*/ 555364 h 555364"/>
                  <a:gd name="connsiteX9" fmla="*/ 43513 w 404878"/>
                  <a:gd name="connsiteY9" fmla="*/ 524857 h 555364"/>
                  <a:gd name="connsiteX10" fmla="*/ 32610 w 404878"/>
                  <a:gd name="connsiteY10" fmla="*/ 473630 h 555364"/>
                  <a:gd name="connsiteX11" fmla="*/ 19688 w 404878"/>
                  <a:gd name="connsiteY11" fmla="*/ 462293 h 555364"/>
                  <a:gd name="connsiteX12" fmla="*/ 3190 w 404878"/>
                  <a:gd name="connsiteY12" fmla="*/ 476783 h 555364"/>
                  <a:gd name="connsiteX13" fmla="*/ 0 w 404878"/>
                  <a:gd name="connsiteY13" fmla="*/ 474153 h 555364"/>
                  <a:gd name="connsiteX14" fmla="*/ 7770 w 404878"/>
                  <a:gd name="connsiteY14" fmla="*/ 405061 h 555364"/>
                  <a:gd name="connsiteX15" fmla="*/ 36906 w 404878"/>
                  <a:gd name="connsiteY15" fmla="*/ 376589 h 555364"/>
                  <a:gd name="connsiteX16" fmla="*/ 81193 w 404878"/>
                  <a:gd name="connsiteY16" fmla="*/ 381144 h 555364"/>
                  <a:gd name="connsiteX17" fmla="*/ 96344 w 404878"/>
                  <a:gd name="connsiteY17" fmla="*/ 356089 h 555364"/>
                  <a:gd name="connsiteX18" fmla="*/ 155005 w 404878"/>
                  <a:gd name="connsiteY18" fmla="*/ 269534 h 555364"/>
                  <a:gd name="connsiteX19" fmla="*/ 165494 w 404878"/>
                  <a:gd name="connsiteY19" fmla="*/ 233470 h 555364"/>
                  <a:gd name="connsiteX20" fmla="*/ 155005 w 404878"/>
                  <a:gd name="connsiteY20" fmla="*/ 169313 h 555364"/>
                  <a:gd name="connsiteX21" fmla="*/ 170156 w 404878"/>
                  <a:gd name="connsiteY21" fmla="*/ 140462 h 555364"/>
                  <a:gd name="connsiteX22" fmla="*/ 165494 w 404878"/>
                  <a:gd name="connsiteY22" fmla="*/ 115027 h 555364"/>
                  <a:gd name="connsiteX23" fmla="*/ 155005 w 404878"/>
                  <a:gd name="connsiteY23" fmla="*/ 64157 h 555364"/>
                  <a:gd name="connsiteX24" fmla="*/ 172875 w 404878"/>
                  <a:gd name="connsiteY24" fmla="*/ 28472 h 555364"/>
                  <a:gd name="connsiteX25" fmla="*/ 238917 w 404878"/>
                  <a:gd name="connsiteY25" fmla="*/ 0 h 555364"/>
                  <a:gd name="connsiteX0" fmla="*/ 238917 w 404878"/>
                  <a:gd name="connsiteY0" fmla="*/ 0 h 555364"/>
                  <a:gd name="connsiteX1" fmla="*/ 294082 w 404878"/>
                  <a:gd name="connsiteY1" fmla="*/ 0 h 555364"/>
                  <a:gd name="connsiteX2" fmla="*/ 386152 w 404878"/>
                  <a:gd name="connsiteY2" fmla="*/ 68712 h 555364"/>
                  <a:gd name="connsiteX3" fmla="*/ 404878 w 404878"/>
                  <a:gd name="connsiteY3" fmla="*/ 209691 h 555364"/>
                  <a:gd name="connsiteX4" fmla="*/ 362419 w 404878"/>
                  <a:gd name="connsiteY4" fmla="*/ 292657 h 555364"/>
                  <a:gd name="connsiteX5" fmla="*/ 284686 w 404878"/>
                  <a:gd name="connsiteY5" fmla="*/ 444059 h 555364"/>
                  <a:gd name="connsiteX6" fmla="*/ 243680 w 404878"/>
                  <a:gd name="connsiteY6" fmla="*/ 470666 h 555364"/>
                  <a:gd name="connsiteX7" fmla="*/ 155005 w 404878"/>
                  <a:gd name="connsiteY7" fmla="*/ 545902 h 555364"/>
                  <a:gd name="connsiteX8" fmla="*/ 151090 w 404878"/>
                  <a:gd name="connsiteY8" fmla="*/ 555364 h 555364"/>
                  <a:gd name="connsiteX9" fmla="*/ 43513 w 404878"/>
                  <a:gd name="connsiteY9" fmla="*/ 524857 h 555364"/>
                  <a:gd name="connsiteX10" fmla="*/ 32610 w 404878"/>
                  <a:gd name="connsiteY10" fmla="*/ 473630 h 555364"/>
                  <a:gd name="connsiteX11" fmla="*/ 19688 w 404878"/>
                  <a:gd name="connsiteY11" fmla="*/ 462293 h 555364"/>
                  <a:gd name="connsiteX12" fmla="*/ 3190 w 404878"/>
                  <a:gd name="connsiteY12" fmla="*/ 476783 h 555364"/>
                  <a:gd name="connsiteX13" fmla="*/ 0 w 404878"/>
                  <a:gd name="connsiteY13" fmla="*/ 474153 h 555364"/>
                  <a:gd name="connsiteX14" fmla="*/ 7770 w 404878"/>
                  <a:gd name="connsiteY14" fmla="*/ 405061 h 555364"/>
                  <a:gd name="connsiteX15" fmla="*/ 36906 w 404878"/>
                  <a:gd name="connsiteY15" fmla="*/ 376589 h 555364"/>
                  <a:gd name="connsiteX16" fmla="*/ 81193 w 404878"/>
                  <a:gd name="connsiteY16" fmla="*/ 381144 h 555364"/>
                  <a:gd name="connsiteX17" fmla="*/ 96344 w 404878"/>
                  <a:gd name="connsiteY17" fmla="*/ 356089 h 555364"/>
                  <a:gd name="connsiteX18" fmla="*/ 155005 w 404878"/>
                  <a:gd name="connsiteY18" fmla="*/ 269534 h 555364"/>
                  <a:gd name="connsiteX19" fmla="*/ 165494 w 404878"/>
                  <a:gd name="connsiteY19" fmla="*/ 233470 h 555364"/>
                  <a:gd name="connsiteX20" fmla="*/ 155005 w 404878"/>
                  <a:gd name="connsiteY20" fmla="*/ 169313 h 555364"/>
                  <a:gd name="connsiteX21" fmla="*/ 170156 w 404878"/>
                  <a:gd name="connsiteY21" fmla="*/ 140462 h 555364"/>
                  <a:gd name="connsiteX22" fmla="*/ 165494 w 404878"/>
                  <a:gd name="connsiteY22" fmla="*/ 115027 h 555364"/>
                  <a:gd name="connsiteX23" fmla="*/ 155005 w 404878"/>
                  <a:gd name="connsiteY23" fmla="*/ 64157 h 555364"/>
                  <a:gd name="connsiteX24" fmla="*/ 172875 w 404878"/>
                  <a:gd name="connsiteY24" fmla="*/ 28472 h 555364"/>
                  <a:gd name="connsiteX25" fmla="*/ 238917 w 404878"/>
                  <a:gd name="connsiteY25" fmla="*/ 0 h 555364"/>
                  <a:gd name="connsiteX0" fmla="*/ 238917 w 404878"/>
                  <a:gd name="connsiteY0" fmla="*/ 0 h 574414"/>
                  <a:gd name="connsiteX1" fmla="*/ 294082 w 404878"/>
                  <a:gd name="connsiteY1" fmla="*/ 0 h 574414"/>
                  <a:gd name="connsiteX2" fmla="*/ 386152 w 404878"/>
                  <a:gd name="connsiteY2" fmla="*/ 68712 h 574414"/>
                  <a:gd name="connsiteX3" fmla="*/ 404878 w 404878"/>
                  <a:gd name="connsiteY3" fmla="*/ 209691 h 574414"/>
                  <a:gd name="connsiteX4" fmla="*/ 362419 w 404878"/>
                  <a:gd name="connsiteY4" fmla="*/ 292657 h 574414"/>
                  <a:gd name="connsiteX5" fmla="*/ 284686 w 404878"/>
                  <a:gd name="connsiteY5" fmla="*/ 444059 h 574414"/>
                  <a:gd name="connsiteX6" fmla="*/ 243680 w 404878"/>
                  <a:gd name="connsiteY6" fmla="*/ 470666 h 574414"/>
                  <a:gd name="connsiteX7" fmla="*/ 155005 w 404878"/>
                  <a:gd name="connsiteY7" fmla="*/ 545902 h 574414"/>
                  <a:gd name="connsiteX8" fmla="*/ 172521 w 404878"/>
                  <a:gd name="connsiteY8" fmla="*/ 574414 h 574414"/>
                  <a:gd name="connsiteX9" fmla="*/ 43513 w 404878"/>
                  <a:gd name="connsiteY9" fmla="*/ 524857 h 574414"/>
                  <a:gd name="connsiteX10" fmla="*/ 32610 w 404878"/>
                  <a:gd name="connsiteY10" fmla="*/ 473630 h 574414"/>
                  <a:gd name="connsiteX11" fmla="*/ 19688 w 404878"/>
                  <a:gd name="connsiteY11" fmla="*/ 462293 h 574414"/>
                  <a:gd name="connsiteX12" fmla="*/ 3190 w 404878"/>
                  <a:gd name="connsiteY12" fmla="*/ 476783 h 574414"/>
                  <a:gd name="connsiteX13" fmla="*/ 0 w 404878"/>
                  <a:gd name="connsiteY13" fmla="*/ 474153 h 574414"/>
                  <a:gd name="connsiteX14" fmla="*/ 7770 w 404878"/>
                  <a:gd name="connsiteY14" fmla="*/ 405061 h 574414"/>
                  <a:gd name="connsiteX15" fmla="*/ 36906 w 404878"/>
                  <a:gd name="connsiteY15" fmla="*/ 376589 h 574414"/>
                  <a:gd name="connsiteX16" fmla="*/ 81193 w 404878"/>
                  <a:gd name="connsiteY16" fmla="*/ 381144 h 574414"/>
                  <a:gd name="connsiteX17" fmla="*/ 96344 w 404878"/>
                  <a:gd name="connsiteY17" fmla="*/ 356089 h 574414"/>
                  <a:gd name="connsiteX18" fmla="*/ 155005 w 404878"/>
                  <a:gd name="connsiteY18" fmla="*/ 269534 h 574414"/>
                  <a:gd name="connsiteX19" fmla="*/ 165494 w 404878"/>
                  <a:gd name="connsiteY19" fmla="*/ 233470 h 574414"/>
                  <a:gd name="connsiteX20" fmla="*/ 155005 w 404878"/>
                  <a:gd name="connsiteY20" fmla="*/ 169313 h 574414"/>
                  <a:gd name="connsiteX21" fmla="*/ 170156 w 404878"/>
                  <a:gd name="connsiteY21" fmla="*/ 140462 h 574414"/>
                  <a:gd name="connsiteX22" fmla="*/ 165494 w 404878"/>
                  <a:gd name="connsiteY22" fmla="*/ 115027 h 574414"/>
                  <a:gd name="connsiteX23" fmla="*/ 155005 w 404878"/>
                  <a:gd name="connsiteY23" fmla="*/ 64157 h 574414"/>
                  <a:gd name="connsiteX24" fmla="*/ 172875 w 404878"/>
                  <a:gd name="connsiteY24" fmla="*/ 28472 h 574414"/>
                  <a:gd name="connsiteX25" fmla="*/ 238917 w 404878"/>
                  <a:gd name="connsiteY25" fmla="*/ 0 h 574414"/>
                  <a:gd name="connsiteX0" fmla="*/ 238917 w 404878"/>
                  <a:gd name="connsiteY0" fmla="*/ 0 h 574414"/>
                  <a:gd name="connsiteX1" fmla="*/ 294082 w 404878"/>
                  <a:gd name="connsiteY1" fmla="*/ 0 h 574414"/>
                  <a:gd name="connsiteX2" fmla="*/ 386152 w 404878"/>
                  <a:gd name="connsiteY2" fmla="*/ 68712 h 574414"/>
                  <a:gd name="connsiteX3" fmla="*/ 404878 w 404878"/>
                  <a:gd name="connsiteY3" fmla="*/ 209691 h 574414"/>
                  <a:gd name="connsiteX4" fmla="*/ 362419 w 404878"/>
                  <a:gd name="connsiteY4" fmla="*/ 292657 h 574414"/>
                  <a:gd name="connsiteX5" fmla="*/ 284686 w 404878"/>
                  <a:gd name="connsiteY5" fmla="*/ 444059 h 574414"/>
                  <a:gd name="connsiteX6" fmla="*/ 243680 w 404878"/>
                  <a:gd name="connsiteY6" fmla="*/ 470666 h 574414"/>
                  <a:gd name="connsiteX7" fmla="*/ 193105 w 404878"/>
                  <a:gd name="connsiteY7" fmla="*/ 555427 h 574414"/>
                  <a:gd name="connsiteX8" fmla="*/ 172521 w 404878"/>
                  <a:gd name="connsiteY8" fmla="*/ 574414 h 574414"/>
                  <a:gd name="connsiteX9" fmla="*/ 43513 w 404878"/>
                  <a:gd name="connsiteY9" fmla="*/ 524857 h 574414"/>
                  <a:gd name="connsiteX10" fmla="*/ 32610 w 404878"/>
                  <a:gd name="connsiteY10" fmla="*/ 473630 h 574414"/>
                  <a:gd name="connsiteX11" fmla="*/ 19688 w 404878"/>
                  <a:gd name="connsiteY11" fmla="*/ 462293 h 574414"/>
                  <a:gd name="connsiteX12" fmla="*/ 3190 w 404878"/>
                  <a:gd name="connsiteY12" fmla="*/ 476783 h 574414"/>
                  <a:gd name="connsiteX13" fmla="*/ 0 w 404878"/>
                  <a:gd name="connsiteY13" fmla="*/ 474153 h 574414"/>
                  <a:gd name="connsiteX14" fmla="*/ 7770 w 404878"/>
                  <a:gd name="connsiteY14" fmla="*/ 405061 h 574414"/>
                  <a:gd name="connsiteX15" fmla="*/ 36906 w 404878"/>
                  <a:gd name="connsiteY15" fmla="*/ 376589 h 574414"/>
                  <a:gd name="connsiteX16" fmla="*/ 81193 w 404878"/>
                  <a:gd name="connsiteY16" fmla="*/ 381144 h 574414"/>
                  <a:gd name="connsiteX17" fmla="*/ 96344 w 404878"/>
                  <a:gd name="connsiteY17" fmla="*/ 356089 h 574414"/>
                  <a:gd name="connsiteX18" fmla="*/ 155005 w 404878"/>
                  <a:gd name="connsiteY18" fmla="*/ 269534 h 574414"/>
                  <a:gd name="connsiteX19" fmla="*/ 165494 w 404878"/>
                  <a:gd name="connsiteY19" fmla="*/ 233470 h 574414"/>
                  <a:gd name="connsiteX20" fmla="*/ 155005 w 404878"/>
                  <a:gd name="connsiteY20" fmla="*/ 169313 h 574414"/>
                  <a:gd name="connsiteX21" fmla="*/ 170156 w 404878"/>
                  <a:gd name="connsiteY21" fmla="*/ 140462 h 574414"/>
                  <a:gd name="connsiteX22" fmla="*/ 165494 w 404878"/>
                  <a:gd name="connsiteY22" fmla="*/ 115027 h 574414"/>
                  <a:gd name="connsiteX23" fmla="*/ 155005 w 404878"/>
                  <a:gd name="connsiteY23" fmla="*/ 64157 h 574414"/>
                  <a:gd name="connsiteX24" fmla="*/ 172875 w 404878"/>
                  <a:gd name="connsiteY24" fmla="*/ 28472 h 574414"/>
                  <a:gd name="connsiteX25" fmla="*/ 238917 w 404878"/>
                  <a:gd name="connsiteY25" fmla="*/ 0 h 574414"/>
                  <a:gd name="connsiteX0" fmla="*/ 238917 w 404878"/>
                  <a:gd name="connsiteY0" fmla="*/ 0 h 574414"/>
                  <a:gd name="connsiteX1" fmla="*/ 294082 w 404878"/>
                  <a:gd name="connsiteY1" fmla="*/ 0 h 574414"/>
                  <a:gd name="connsiteX2" fmla="*/ 398058 w 404878"/>
                  <a:gd name="connsiteY2" fmla="*/ 56805 h 574414"/>
                  <a:gd name="connsiteX3" fmla="*/ 404878 w 404878"/>
                  <a:gd name="connsiteY3" fmla="*/ 209691 h 574414"/>
                  <a:gd name="connsiteX4" fmla="*/ 362419 w 404878"/>
                  <a:gd name="connsiteY4" fmla="*/ 292657 h 574414"/>
                  <a:gd name="connsiteX5" fmla="*/ 284686 w 404878"/>
                  <a:gd name="connsiteY5" fmla="*/ 444059 h 574414"/>
                  <a:gd name="connsiteX6" fmla="*/ 243680 w 404878"/>
                  <a:gd name="connsiteY6" fmla="*/ 470666 h 574414"/>
                  <a:gd name="connsiteX7" fmla="*/ 193105 w 404878"/>
                  <a:gd name="connsiteY7" fmla="*/ 555427 h 574414"/>
                  <a:gd name="connsiteX8" fmla="*/ 172521 w 404878"/>
                  <a:gd name="connsiteY8" fmla="*/ 574414 h 574414"/>
                  <a:gd name="connsiteX9" fmla="*/ 43513 w 404878"/>
                  <a:gd name="connsiteY9" fmla="*/ 524857 h 574414"/>
                  <a:gd name="connsiteX10" fmla="*/ 32610 w 404878"/>
                  <a:gd name="connsiteY10" fmla="*/ 473630 h 574414"/>
                  <a:gd name="connsiteX11" fmla="*/ 19688 w 404878"/>
                  <a:gd name="connsiteY11" fmla="*/ 462293 h 574414"/>
                  <a:gd name="connsiteX12" fmla="*/ 3190 w 404878"/>
                  <a:gd name="connsiteY12" fmla="*/ 476783 h 574414"/>
                  <a:gd name="connsiteX13" fmla="*/ 0 w 404878"/>
                  <a:gd name="connsiteY13" fmla="*/ 474153 h 574414"/>
                  <a:gd name="connsiteX14" fmla="*/ 7770 w 404878"/>
                  <a:gd name="connsiteY14" fmla="*/ 405061 h 574414"/>
                  <a:gd name="connsiteX15" fmla="*/ 36906 w 404878"/>
                  <a:gd name="connsiteY15" fmla="*/ 376589 h 574414"/>
                  <a:gd name="connsiteX16" fmla="*/ 81193 w 404878"/>
                  <a:gd name="connsiteY16" fmla="*/ 381144 h 574414"/>
                  <a:gd name="connsiteX17" fmla="*/ 96344 w 404878"/>
                  <a:gd name="connsiteY17" fmla="*/ 356089 h 574414"/>
                  <a:gd name="connsiteX18" fmla="*/ 155005 w 404878"/>
                  <a:gd name="connsiteY18" fmla="*/ 269534 h 574414"/>
                  <a:gd name="connsiteX19" fmla="*/ 165494 w 404878"/>
                  <a:gd name="connsiteY19" fmla="*/ 233470 h 574414"/>
                  <a:gd name="connsiteX20" fmla="*/ 155005 w 404878"/>
                  <a:gd name="connsiteY20" fmla="*/ 169313 h 574414"/>
                  <a:gd name="connsiteX21" fmla="*/ 170156 w 404878"/>
                  <a:gd name="connsiteY21" fmla="*/ 140462 h 574414"/>
                  <a:gd name="connsiteX22" fmla="*/ 165494 w 404878"/>
                  <a:gd name="connsiteY22" fmla="*/ 115027 h 574414"/>
                  <a:gd name="connsiteX23" fmla="*/ 155005 w 404878"/>
                  <a:gd name="connsiteY23" fmla="*/ 64157 h 574414"/>
                  <a:gd name="connsiteX24" fmla="*/ 172875 w 404878"/>
                  <a:gd name="connsiteY24" fmla="*/ 28472 h 574414"/>
                  <a:gd name="connsiteX25" fmla="*/ 238917 w 404878"/>
                  <a:gd name="connsiteY25" fmla="*/ 0 h 574414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96344 w 404878"/>
                  <a:gd name="connsiteY17" fmla="*/ 358471 h 576796"/>
                  <a:gd name="connsiteX18" fmla="*/ 155005 w 404878"/>
                  <a:gd name="connsiteY18" fmla="*/ 271916 h 576796"/>
                  <a:gd name="connsiteX19" fmla="*/ 165494 w 404878"/>
                  <a:gd name="connsiteY19" fmla="*/ 235852 h 576796"/>
                  <a:gd name="connsiteX20" fmla="*/ 155005 w 404878"/>
                  <a:gd name="connsiteY20" fmla="*/ 171695 h 576796"/>
                  <a:gd name="connsiteX21" fmla="*/ 170156 w 404878"/>
                  <a:gd name="connsiteY21" fmla="*/ 142844 h 576796"/>
                  <a:gd name="connsiteX22" fmla="*/ 165494 w 404878"/>
                  <a:gd name="connsiteY22" fmla="*/ 117409 h 576796"/>
                  <a:gd name="connsiteX23" fmla="*/ 155005 w 404878"/>
                  <a:gd name="connsiteY23" fmla="*/ 66539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96344 w 404878"/>
                  <a:gd name="connsiteY17" fmla="*/ 358471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55005 w 404878"/>
                  <a:gd name="connsiteY20" fmla="*/ 171695 h 576796"/>
                  <a:gd name="connsiteX21" fmla="*/ 170156 w 404878"/>
                  <a:gd name="connsiteY21" fmla="*/ 142844 h 576796"/>
                  <a:gd name="connsiteX22" fmla="*/ 165494 w 404878"/>
                  <a:gd name="connsiteY22" fmla="*/ 117409 h 576796"/>
                  <a:gd name="connsiteX23" fmla="*/ 155005 w 404878"/>
                  <a:gd name="connsiteY23" fmla="*/ 66539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96344 w 404878"/>
                  <a:gd name="connsiteY17" fmla="*/ 358471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74055 w 404878"/>
                  <a:gd name="connsiteY20" fmla="*/ 169314 h 576796"/>
                  <a:gd name="connsiteX21" fmla="*/ 170156 w 404878"/>
                  <a:gd name="connsiteY21" fmla="*/ 142844 h 576796"/>
                  <a:gd name="connsiteX22" fmla="*/ 165494 w 404878"/>
                  <a:gd name="connsiteY22" fmla="*/ 117409 h 576796"/>
                  <a:gd name="connsiteX23" fmla="*/ 155005 w 404878"/>
                  <a:gd name="connsiteY23" fmla="*/ 66539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96344 w 404878"/>
                  <a:gd name="connsiteY17" fmla="*/ 358471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74055 w 404878"/>
                  <a:gd name="connsiteY20" fmla="*/ 169314 h 576796"/>
                  <a:gd name="connsiteX21" fmla="*/ 170156 w 404878"/>
                  <a:gd name="connsiteY21" fmla="*/ 142844 h 576796"/>
                  <a:gd name="connsiteX22" fmla="*/ 196450 w 404878"/>
                  <a:gd name="connsiteY22" fmla="*/ 122171 h 576796"/>
                  <a:gd name="connsiteX23" fmla="*/ 155005 w 404878"/>
                  <a:gd name="connsiteY23" fmla="*/ 66539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96344 w 404878"/>
                  <a:gd name="connsiteY17" fmla="*/ 358471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74055 w 404878"/>
                  <a:gd name="connsiteY20" fmla="*/ 169314 h 576796"/>
                  <a:gd name="connsiteX21" fmla="*/ 170156 w 404878"/>
                  <a:gd name="connsiteY21" fmla="*/ 142844 h 576796"/>
                  <a:gd name="connsiteX22" fmla="*/ 196450 w 404878"/>
                  <a:gd name="connsiteY22" fmla="*/ 122171 h 576796"/>
                  <a:gd name="connsiteX23" fmla="*/ 181198 w 404878"/>
                  <a:gd name="connsiteY23" fmla="*/ 64158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1193 w 404878"/>
                  <a:gd name="connsiteY16" fmla="*/ 383526 h 576796"/>
                  <a:gd name="connsiteX17" fmla="*/ 124919 w 404878"/>
                  <a:gd name="connsiteY17" fmla="*/ 367996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74055 w 404878"/>
                  <a:gd name="connsiteY20" fmla="*/ 169314 h 576796"/>
                  <a:gd name="connsiteX21" fmla="*/ 170156 w 404878"/>
                  <a:gd name="connsiteY21" fmla="*/ 142844 h 576796"/>
                  <a:gd name="connsiteX22" fmla="*/ 196450 w 404878"/>
                  <a:gd name="connsiteY22" fmla="*/ 122171 h 576796"/>
                  <a:gd name="connsiteX23" fmla="*/ 181198 w 404878"/>
                  <a:gd name="connsiteY23" fmla="*/ 64158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  <a:gd name="connsiteX0" fmla="*/ 238917 w 404878"/>
                  <a:gd name="connsiteY0" fmla="*/ 2382 h 576796"/>
                  <a:gd name="connsiteX1" fmla="*/ 294082 w 404878"/>
                  <a:gd name="connsiteY1" fmla="*/ 0 h 576796"/>
                  <a:gd name="connsiteX2" fmla="*/ 398058 w 404878"/>
                  <a:gd name="connsiteY2" fmla="*/ 59187 h 576796"/>
                  <a:gd name="connsiteX3" fmla="*/ 404878 w 404878"/>
                  <a:gd name="connsiteY3" fmla="*/ 212073 h 576796"/>
                  <a:gd name="connsiteX4" fmla="*/ 362419 w 404878"/>
                  <a:gd name="connsiteY4" fmla="*/ 295039 h 576796"/>
                  <a:gd name="connsiteX5" fmla="*/ 284686 w 404878"/>
                  <a:gd name="connsiteY5" fmla="*/ 446441 h 576796"/>
                  <a:gd name="connsiteX6" fmla="*/ 243680 w 404878"/>
                  <a:gd name="connsiteY6" fmla="*/ 473048 h 576796"/>
                  <a:gd name="connsiteX7" fmla="*/ 193105 w 404878"/>
                  <a:gd name="connsiteY7" fmla="*/ 557809 h 576796"/>
                  <a:gd name="connsiteX8" fmla="*/ 172521 w 404878"/>
                  <a:gd name="connsiteY8" fmla="*/ 576796 h 576796"/>
                  <a:gd name="connsiteX9" fmla="*/ 43513 w 404878"/>
                  <a:gd name="connsiteY9" fmla="*/ 527239 h 576796"/>
                  <a:gd name="connsiteX10" fmla="*/ 32610 w 404878"/>
                  <a:gd name="connsiteY10" fmla="*/ 476012 h 576796"/>
                  <a:gd name="connsiteX11" fmla="*/ 19688 w 404878"/>
                  <a:gd name="connsiteY11" fmla="*/ 464675 h 576796"/>
                  <a:gd name="connsiteX12" fmla="*/ 3190 w 404878"/>
                  <a:gd name="connsiteY12" fmla="*/ 479165 h 576796"/>
                  <a:gd name="connsiteX13" fmla="*/ 0 w 404878"/>
                  <a:gd name="connsiteY13" fmla="*/ 476535 h 576796"/>
                  <a:gd name="connsiteX14" fmla="*/ 7770 w 404878"/>
                  <a:gd name="connsiteY14" fmla="*/ 407443 h 576796"/>
                  <a:gd name="connsiteX15" fmla="*/ 36906 w 404878"/>
                  <a:gd name="connsiteY15" fmla="*/ 378971 h 576796"/>
                  <a:gd name="connsiteX16" fmla="*/ 83574 w 404878"/>
                  <a:gd name="connsiteY16" fmla="*/ 390670 h 576796"/>
                  <a:gd name="connsiteX17" fmla="*/ 124919 w 404878"/>
                  <a:gd name="connsiteY17" fmla="*/ 367996 h 576796"/>
                  <a:gd name="connsiteX18" fmla="*/ 155005 w 404878"/>
                  <a:gd name="connsiteY18" fmla="*/ 271916 h 576796"/>
                  <a:gd name="connsiteX19" fmla="*/ 189307 w 404878"/>
                  <a:gd name="connsiteY19" fmla="*/ 245377 h 576796"/>
                  <a:gd name="connsiteX20" fmla="*/ 174055 w 404878"/>
                  <a:gd name="connsiteY20" fmla="*/ 169314 h 576796"/>
                  <a:gd name="connsiteX21" fmla="*/ 170156 w 404878"/>
                  <a:gd name="connsiteY21" fmla="*/ 142844 h 576796"/>
                  <a:gd name="connsiteX22" fmla="*/ 196450 w 404878"/>
                  <a:gd name="connsiteY22" fmla="*/ 122171 h 576796"/>
                  <a:gd name="connsiteX23" fmla="*/ 181198 w 404878"/>
                  <a:gd name="connsiteY23" fmla="*/ 64158 h 576796"/>
                  <a:gd name="connsiteX24" fmla="*/ 172875 w 404878"/>
                  <a:gd name="connsiteY24" fmla="*/ 30854 h 576796"/>
                  <a:gd name="connsiteX25" fmla="*/ 238917 w 404878"/>
                  <a:gd name="connsiteY25" fmla="*/ 2382 h 576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04878" h="576796">
                    <a:moveTo>
                      <a:pt x="238917" y="2382"/>
                    </a:moveTo>
                    <a:lnTo>
                      <a:pt x="294082" y="0"/>
                    </a:lnTo>
                    <a:lnTo>
                      <a:pt x="398058" y="59187"/>
                    </a:lnTo>
                    <a:lnTo>
                      <a:pt x="404878" y="212073"/>
                    </a:lnTo>
                    <a:lnTo>
                      <a:pt x="362419" y="295039"/>
                    </a:lnTo>
                    <a:lnTo>
                      <a:pt x="284686" y="446441"/>
                    </a:lnTo>
                    <a:lnTo>
                      <a:pt x="243680" y="473048"/>
                    </a:lnTo>
                    <a:lnTo>
                      <a:pt x="193105" y="557809"/>
                    </a:lnTo>
                    <a:lnTo>
                      <a:pt x="172521" y="576796"/>
                    </a:lnTo>
                    <a:lnTo>
                      <a:pt x="43513" y="527239"/>
                    </a:lnTo>
                    <a:lnTo>
                      <a:pt x="32610" y="476012"/>
                    </a:lnTo>
                    <a:lnTo>
                      <a:pt x="19688" y="464675"/>
                    </a:lnTo>
                    <a:lnTo>
                      <a:pt x="3190" y="479165"/>
                    </a:lnTo>
                    <a:lnTo>
                      <a:pt x="0" y="476535"/>
                    </a:lnTo>
                    <a:lnTo>
                      <a:pt x="7770" y="407443"/>
                    </a:lnTo>
                    <a:lnTo>
                      <a:pt x="36906" y="378971"/>
                    </a:lnTo>
                    <a:lnTo>
                      <a:pt x="83574" y="390670"/>
                    </a:lnTo>
                    <a:lnTo>
                      <a:pt x="124919" y="367996"/>
                    </a:lnTo>
                    <a:lnTo>
                      <a:pt x="155005" y="271916"/>
                    </a:lnTo>
                    <a:lnTo>
                      <a:pt x="189307" y="245377"/>
                    </a:lnTo>
                    <a:lnTo>
                      <a:pt x="174055" y="169314"/>
                    </a:lnTo>
                    <a:lnTo>
                      <a:pt x="170156" y="142844"/>
                    </a:lnTo>
                    <a:lnTo>
                      <a:pt x="196450" y="122171"/>
                    </a:lnTo>
                    <a:lnTo>
                      <a:pt x="181198" y="64158"/>
                    </a:lnTo>
                    <a:lnTo>
                      <a:pt x="172875" y="30854"/>
                    </a:lnTo>
                    <a:lnTo>
                      <a:pt x="238917" y="2382"/>
                    </a:lnTo>
                    <a:close/>
                  </a:path>
                </a:pathLst>
              </a:custGeom>
              <a:solidFill>
                <a:srgbClr val="ED7D31"/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: MG">
                <a:hlinkClick r:id="" action="ppaction://noaction"/>
                <a:extLst>
                  <a:ext uri="{FF2B5EF4-FFF2-40B4-BE49-F238E27FC236}">
                    <a16:creationId xmlns:a16="http://schemas.microsoft.com/office/drawing/2014/main" id="{4C22D87C-3034-EADD-98A9-458BD7FE9B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089" y="3386422"/>
                <a:ext cx="1803997" cy="1411681"/>
              </a:xfrm>
              <a:custGeom>
                <a:avLst/>
                <a:gdLst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84615 w 1905853"/>
                  <a:gd name="connsiteY42" fmla="*/ 1165770 h 1467600"/>
                  <a:gd name="connsiteX43" fmla="*/ 1622480 w 1905853"/>
                  <a:gd name="connsiteY43" fmla="*/ 1180315 h 1467600"/>
                  <a:gd name="connsiteX44" fmla="*/ 1622602 w 1905853"/>
                  <a:gd name="connsiteY44" fmla="*/ 1183180 h 1467600"/>
                  <a:gd name="connsiteX45" fmla="*/ 1583960 w 1905853"/>
                  <a:gd name="connsiteY45" fmla="*/ 1172882 h 1467600"/>
                  <a:gd name="connsiteX46" fmla="*/ 1573471 w 1905853"/>
                  <a:gd name="connsiteY46" fmla="*/ 1126567 h 1467600"/>
                  <a:gd name="connsiteX47" fmla="*/ 1564230 w 1905853"/>
                  <a:gd name="connsiteY47" fmla="*/ 1118948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84615 w 1905853"/>
                  <a:gd name="connsiteY42" fmla="*/ 1165770 h 1467600"/>
                  <a:gd name="connsiteX43" fmla="*/ 1622480 w 1905853"/>
                  <a:gd name="connsiteY43" fmla="*/ 1180315 h 1467600"/>
                  <a:gd name="connsiteX44" fmla="*/ 1503539 w 1905853"/>
                  <a:gd name="connsiteY44" fmla="*/ 1085549 h 1467600"/>
                  <a:gd name="connsiteX45" fmla="*/ 1583960 w 1905853"/>
                  <a:gd name="connsiteY45" fmla="*/ 1172882 h 1467600"/>
                  <a:gd name="connsiteX46" fmla="*/ 1573471 w 1905853"/>
                  <a:gd name="connsiteY46" fmla="*/ 1126567 h 1467600"/>
                  <a:gd name="connsiteX47" fmla="*/ 1564230 w 1905853"/>
                  <a:gd name="connsiteY47" fmla="*/ 1118948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84615 w 1905853"/>
                  <a:gd name="connsiteY42" fmla="*/ 1165770 h 1467600"/>
                  <a:gd name="connsiteX43" fmla="*/ 1622480 w 1905853"/>
                  <a:gd name="connsiteY43" fmla="*/ 1180315 h 1467600"/>
                  <a:gd name="connsiteX44" fmla="*/ 1503539 w 1905853"/>
                  <a:gd name="connsiteY44" fmla="*/ 1085549 h 1467600"/>
                  <a:gd name="connsiteX45" fmla="*/ 1560147 w 1905853"/>
                  <a:gd name="connsiteY45" fmla="*/ 1130020 h 1467600"/>
                  <a:gd name="connsiteX46" fmla="*/ 1573471 w 1905853"/>
                  <a:gd name="connsiteY46" fmla="*/ 1126567 h 1467600"/>
                  <a:gd name="connsiteX47" fmla="*/ 1564230 w 1905853"/>
                  <a:gd name="connsiteY47" fmla="*/ 1118948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84615 w 1905853"/>
                  <a:gd name="connsiteY42" fmla="*/ 1165770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60147 w 1905853"/>
                  <a:gd name="connsiteY45" fmla="*/ 1130020 h 1467600"/>
                  <a:gd name="connsiteX46" fmla="*/ 1573471 w 1905853"/>
                  <a:gd name="connsiteY46" fmla="*/ 1126567 h 1467600"/>
                  <a:gd name="connsiteX47" fmla="*/ 1564230 w 1905853"/>
                  <a:gd name="connsiteY47" fmla="*/ 1118948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60147 w 1905853"/>
                  <a:gd name="connsiteY45" fmla="*/ 1130020 h 1467600"/>
                  <a:gd name="connsiteX46" fmla="*/ 1573471 w 1905853"/>
                  <a:gd name="connsiteY46" fmla="*/ 1126567 h 1467600"/>
                  <a:gd name="connsiteX47" fmla="*/ 1564230 w 1905853"/>
                  <a:gd name="connsiteY47" fmla="*/ 1118948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60147 w 1905853"/>
                  <a:gd name="connsiteY45" fmla="*/ 1130020 h 1467600"/>
                  <a:gd name="connsiteX46" fmla="*/ 1573471 w 1905853"/>
                  <a:gd name="connsiteY46" fmla="*/ 112656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60147 w 1905853"/>
                  <a:gd name="connsiteY45" fmla="*/ 1130020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73712 w 1905853"/>
                  <a:gd name="connsiteY41" fmla="*/ 1114543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71254 w 1905853"/>
                  <a:gd name="connsiteY88" fmla="*/ 814872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149836 w 1905853"/>
                  <a:gd name="connsiteY88" fmla="*/ 826778 h 1467600"/>
                  <a:gd name="connsiteX89" fmla="*/ 0 w 1905853"/>
                  <a:gd name="connsiteY89" fmla="*/ 785808 h 1467600"/>
                  <a:gd name="connsiteX90" fmla="*/ 11290 w 1905853"/>
                  <a:gd name="connsiteY90" fmla="*/ 767534 h 1467600"/>
                  <a:gd name="connsiteX91" fmla="*/ 19621 w 1905853"/>
                  <a:gd name="connsiteY91" fmla="*/ 740987 h 1467600"/>
                  <a:gd name="connsiteX92" fmla="*/ 179619 w 1905853"/>
                  <a:gd name="connsiteY92" fmla="*/ 803768 h 1467600"/>
                  <a:gd name="connsiteX93" fmla="*/ 229797 w 1905853"/>
                  <a:gd name="connsiteY93" fmla="*/ 729043 h 1467600"/>
                  <a:gd name="connsiteX94" fmla="*/ 359796 w 1905853"/>
                  <a:gd name="connsiteY94" fmla="*/ 703989 h 1467600"/>
                  <a:gd name="connsiteX95" fmla="*/ 385153 w 1905853"/>
                  <a:gd name="connsiteY95" fmla="*/ 716953 h 1467600"/>
                  <a:gd name="connsiteX96" fmla="*/ 430331 w 1905853"/>
                  <a:gd name="connsiteY96" fmla="*/ 678206 h 1467600"/>
                  <a:gd name="connsiteX97" fmla="*/ 551759 w 1905853"/>
                  <a:gd name="connsiteY97" fmla="*/ 685781 h 1467600"/>
                  <a:gd name="connsiteX98" fmla="*/ 629615 w 1905853"/>
                  <a:gd name="connsiteY98" fmla="*/ 693064 h 1467600"/>
                  <a:gd name="connsiteX99" fmla="*/ 710686 w 1905853"/>
                  <a:gd name="connsiteY99" fmla="*/ 627370 h 1467600"/>
                  <a:gd name="connsiteX100" fmla="*/ 713721 w 1905853"/>
                  <a:gd name="connsiteY100" fmla="*/ 545507 h 1467600"/>
                  <a:gd name="connsiteX101" fmla="*/ 686043 w 1905853"/>
                  <a:gd name="connsiteY101" fmla="*/ 531815 h 1467600"/>
                  <a:gd name="connsiteX102" fmla="*/ 682650 w 1905853"/>
                  <a:gd name="connsiteY102" fmla="*/ 516958 h 1467600"/>
                  <a:gd name="connsiteX103" fmla="*/ 735864 w 1905853"/>
                  <a:gd name="connsiteY103" fmla="*/ 435095 h 1467600"/>
                  <a:gd name="connsiteX104" fmla="*/ 718186 w 1905853"/>
                  <a:gd name="connsiteY104" fmla="*/ 383822 h 1467600"/>
                  <a:gd name="connsiteX105" fmla="*/ 700507 w 1905853"/>
                  <a:gd name="connsiteY105" fmla="*/ 366051 h 1467600"/>
                  <a:gd name="connsiteX106" fmla="*/ 713721 w 1905853"/>
                  <a:gd name="connsiteY106" fmla="*/ 280692 h 1467600"/>
                  <a:gd name="connsiteX107" fmla="*/ 789078 w 1905853"/>
                  <a:gd name="connsiteY107" fmla="*/ 255638 h 1467600"/>
                  <a:gd name="connsiteX108" fmla="*/ 789078 w 1905853"/>
                  <a:gd name="connsiteY108" fmla="*/ 212085 h 1467600"/>
                  <a:gd name="connsiteX109" fmla="*/ 784614 w 1905853"/>
                  <a:gd name="connsiteY109" fmla="*/ 173339 h 1467600"/>
                  <a:gd name="connsiteX110" fmla="*/ 796042 w 1905853"/>
                  <a:gd name="connsiteY110" fmla="*/ 119444 h 1467600"/>
                  <a:gd name="connsiteX111" fmla="*/ 842113 w 1905853"/>
                  <a:gd name="connsiteY111" fmla="*/ 107354 h 1467600"/>
                  <a:gd name="connsiteX112" fmla="*/ 845149 w 1905853"/>
                  <a:gd name="connsiteY112" fmla="*/ 68607 h 1467600"/>
                  <a:gd name="connsiteX113" fmla="*/ 869791 w 1905853"/>
                  <a:gd name="connsiteY113" fmla="*/ 68607 h 1467600"/>
                  <a:gd name="connsiteX114" fmla="*/ 890684 w 1905853"/>
                  <a:gd name="connsiteY114" fmla="*/ 101673 h 1467600"/>
                  <a:gd name="connsiteX115" fmla="*/ 930505 w 1905853"/>
                  <a:gd name="connsiteY115" fmla="*/ 101673 h 1467600"/>
                  <a:gd name="connsiteX116" fmla="*/ 926041 w 1905853"/>
                  <a:gd name="connsiteY116" fmla="*/ 147994 h 1467600"/>
                  <a:gd name="connsiteX117" fmla="*/ 1008719 w 1905853"/>
                  <a:gd name="connsiteY117" fmla="*/ 119444 h 1467600"/>
                  <a:gd name="connsiteX118" fmla="*/ 1196217 w 1905853"/>
                  <a:gd name="connsiteY118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149836 w 1905853"/>
                  <a:gd name="connsiteY88" fmla="*/ 826778 h 1467600"/>
                  <a:gd name="connsiteX89" fmla="*/ 161475 w 1905853"/>
                  <a:gd name="connsiteY89" fmla="*/ 802794 h 1467600"/>
                  <a:gd name="connsiteX90" fmla="*/ 0 w 1905853"/>
                  <a:gd name="connsiteY90" fmla="*/ 785808 h 1467600"/>
                  <a:gd name="connsiteX91" fmla="*/ 11290 w 1905853"/>
                  <a:gd name="connsiteY91" fmla="*/ 767534 h 1467600"/>
                  <a:gd name="connsiteX92" fmla="*/ 19621 w 1905853"/>
                  <a:gd name="connsiteY92" fmla="*/ 740987 h 1467600"/>
                  <a:gd name="connsiteX93" fmla="*/ 179619 w 1905853"/>
                  <a:gd name="connsiteY93" fmla="*/ 803768 h 1467600"/>
                  <a:gd name="connsiteX94" fmla="*/ 229797 w 1905853"/>
                  <a:gd name="connsiteY94" fmla="*/ 729043 h 1467600"/>
                  <a:gd name="connsiteX95" fmla="*/ 359796 w 1905853"/>
                  <a:gd name="connsiteY95" fmla="*/ 703989 h 1467600"/>
                  <a:gd name="connsiteX96" fmla="*/ 385153 w 1905853"/>
                  <a:gd name="connsiteY96" fmla="*/ 716953 h 1467600"/>
                  <a:gd name="connsiteX97" fmla="*/ 430331 w 1905853"/>
                  <a:gd name="connsiteY97" fmla="*/ 678206 h 1467600"/>
                  <a:gd name="connsiteX98" fmla="*/ 551759 w 1905853"/>
                  <a:gd name="connsiteY98" fmla="*/ 685781 h 1467600"/>
                  <a:gd name="connsiteX99" fmla="*/ 629615 w 1905853"/>
                  <a:gd name="connsiteY99" fmla="*/ 693064 h 1467600"/>
                  <a:gd name="connsiteX100" fmla="*/ 710686 w 1905853"/>
                  <a:gd name="connsiteY100" fmla="*/ 627370 h 1467600"/>
                  <a:gd name="connsiteX101" fmla="*/ 713721 w 1905853"/>
                  <a:gd name="connsiteY101" fmla="*/ 545507 h 1467600"/>
                  <a:gd name="connsiteX102" fmla="*/ 686043 w 1905853"/>
                  <a:gd name="connsiteY102" fmla="*/ 531815 h 1467600"/>
                  <a:gd name="connsiteX103" fmla="*/ 682650 w 1905853"/>
                  <a:gd name="connsiteY103" fmla="*/ 516958 h 1467600"/>
                  <a:gd name="connsiteX104" fmla="*/ 735864 w 1905853"/>
                  <a:gd name="connsiteY104" fmla="*/ 435095 h 1467600"/>
                  <a:gd name="connsiteX105" fmla="*/ 718186 w 1905853"/>
                  <a:gd name="connsiteY105" fmla="*/ 383822 h 1467600"/>
                  <a:gd name="connsiteX106" fmla="*/ 700507 w 1905853"/>
                  <a:gd name="connsiteY106" fmla="*/ 366051 h 1467600"/>
                  <a:gd name="connsiteX107" fmla="*/ 713721 w 1905853"/>
                  <a:gd name="connsiteY107" fmla="*/ 280692 h 1467600"/>
                  <a:gd name="connsiteX108" fmla="*/ 789078 w 1905853"/>
                  <a:gd name="connsiteY108" fmla="*/ 255638 h 1467600"/>
                  <a:gd name="connsiteX109" fmla="*/ 789078 w 1905853"/>
                  <a:gd name="connsiteY109" fmla="*/ 212085 h 1467600"/>
                  <a:gd name="connsiteX110" fmla="*/ 784614 w 1905853"/>
                  <a:gd name="connsiteY110" fmla="*/ 173339 h 1467600"/>
                  <a:gd name="connsiteX111" fmla="*/ 796042 w 1905853"/>
                  <a:gd name="connsiteY111" fmla="*/ 119444 h 1467600"/>
                  <a:gd name="connsiteX112" fmla="*/ 842113 w 1905853"/>
                  <a:gd name="connsiteY112" fmla="*/ 107354 h 1467600"/>
                  <a:gd name="connsiteX113" fmla="*/ 845149 w 1905853"/>
                  <a:gd name="connsiteY113" fmla="*/ 68607 h 1467600"/>
                  <a:gd name="connsiteX114" fmla="*/ 869791 w 1905853"/>
                  <a:gd name="connsiteY114" fmla="*/ 68607 h 1467600"/>
                  <a:gd name="connsiteX115" fmla="*/ 890684 w 1905853"/>
                  <a:gd name="connsiteY115" fmla="*/ 101673 h 1467600"/>
                  <a:gd name="connsiteX116" fmla="*/ 930505 w 1905853"/>
                  <a:gd name="connsiteY116" fmla="*/ 101673 h 1467600"/>
                  <a:gd name="connsiteX117" fmla="*/ 926041 w 1905853"/>
                  <a:gd name="connsiteY117" fmla="*/ 147994 h 1467600"/>
                  <a:gd name="connsiteX118" fmla="*/ 1008719 w 1905853"/>
                  <a:gd name="connsiteY118" fmla="*/ 119444 h 1467600"/>
                  <a:gd name="connsiteX119" fmla="*/ 1196217 w 1905853"/>
                  <a:gd name="connsiteY119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149836 w 1905853"/>
                  <a:gd name="connsiteY88" fmla="*/ 826778 h 1467600"/>
                  <a:gd name="connsiteX89" fmla="*/ 161475 w 1905853"/>
                  <a:gd name="connsiteY89" fmla="*/ 802794 h 1467600"/>
                  <a:gd name="connsiteX90" fmla="*/ 132900 w 1905853"/>
                  <a:gd name="connsiteY90" fmla="*/ 788506 h 1467600"/>
                  <a:gd name="connsiteX91" fmla="*/ 0 w 1905853"/>
                  <a:gd name="connsiteY91" fmla="*/ 785808 h 1467600"/>
                  <a:gd name="connsiteX92" fmla="*/ 11290 w 1905853"/>
                  <a:gd name="connsiteY92" fmla="*/ 767534 h 1467600"/>
                  <a:gd name="connsiteX93" fmla="*/ 19621 w 1905853"/>
                  <a:gd name="connsiteY93" fmla="*/ 740987 h 1467600"/>
                  <a:gd name="connsiteX94" fmla="*/ 179619 w 1905853"/>
                  <a:gd name="connsiteY94" fmla="*/ 803768 h 1467600"/>
                  <a:gd name="connsiteX95" fmla="*/ 229797 w 1905853"/>
                  <a:gd name="connsiteY95" fmla="*/ 729043 h 1467600"/>
                  <a:gd name="connsiteX96" fmla="*/ 359796 w 1905853"/>
                  <a:gd name="connsiteY96" fmla="*/ 703989 h 1467600"/>
                  <a:gd name="connsiteX97" fmla="*/ 385153 w 1905853"/>
                  <a:gd name="connsiteY97" fmla="*/ 716953 h 1467600"/>
                  <a:gd name="connsiteX98" fmla="*/ 430331 w 1905853"/>
                  <a:gd name="connsiteY98" fmla="*/ 678206 h 1467600"/>
                  <a:gd name="connsiteX99" fmla="*/ 551759 w 1905853"/>
                  <a:gd name="connsiteY99" fmla="*/ 685781 h 1467600"/>
                  <a:gd name="connsiteX100" fmla="*/ 629615 w 1905853"/>
                  <a:gd name="connsiteY100" fmla="*/ 693064 h 1467600"/>
                  <a:gd name="connsiteX101" fmla="*/ 710686 w 1905853"/>
                  <a:gd name="connsiteY101" fmla="*/ 627370 h 1467600"/>
                  <a:gd name="connsiteX102" fmla="*/ 713721 w 1905853"/>
                  <a:gd name="connsiteY102" fmla="*/ 545507 h 1467600"/>
                  <a:gd name="connsiteX103" fmla="*/ 686043 w 1905853"/>
                  <a:gd name="connsiteY103" fmla="*/ 531815 h 1467600"/>
                  <a:gd name="connsiteX104" fmla="*/ 682650 w 1905853"/>
                  <a:gd name="connsiteY104" fmla="*/ 516958 h 1467600"/>
                  <a:gd name="connsiteX105" fmla="*/ 735864 w 1905853"/>
                  <a:gd name="connsiteY105" fmla="*/ 435095 h 1467600"/>
                  <a:gd name="connsiteX106" fmla="*/ 718186 w 1905853"/>
                  <a:gd name="connsiteY106" fmla="*/ 383822 h 1467600"/>
                  <a:gd name="connsiteX107" fmla="*/ 700507 w 1905853"/>
                  <a:gd name="connsiteY107" fmla="*/ 366051 h 1467600"/>
                  <a:gd name="connsiteX108" fmla="*/ 713721 w 1905853"/>
                  <a:gd name="connsiteY108" fmla="*/ 280692 h 1467600"/>
                  <a:gd name="connsiteX109" fmla="*/ 789078 w 1905853"/>
                  <a:gd name="connsiteY109" fmla="*/ 255638 h 1467600"/>
                  <a:gd name="connsiteX110" fmla="*/ 789078 w 1905853"/>
                  <a:gd name="connsiteY110" fmla="*/ 212085 h 1467600"/>
                  <a:gd name="connsiteX111" fmla="*/ 784614 w 1905853"/>
                  <a:gd name="connsiteY111" fmla="*/ 173339 h 1467600"/>
                  <a:gd name="connsiteX112" fmla="*/ 796042 w 1905853"/>
                  <a:gd name="connsiteY112" fmla="*/ 119444 h 1467600"/>
                  <a:gd name="connsiteX113" fmla="*/ 842113 w 1905853"/>
                  <a:gd name="connsiteY113" fmla="*/ 107354 h 1467600"/>
                  <a:gd name="connsiteX114" fmla="*/ 845149 w 1905853"/>
                  <a:gd name="connsiteY114" fmla="*/ 68607 h 1467600"/>
                  <a:gd name="connsiteX115" fmla="*/ 869791 w 1905853"/>
                  <a:gd name="connsiteY115" fmla="*/ 68607 h 1467600"/>
                  <a:gd name="connsiteX116" fmla="*/ 890684 w 1905853"/>
                  <a:gd name="connsiteY116" fmla="*/ 101673 h 1467600"/>
                  <a:gd name="connsiteX117" fmla="*/ 930505 w 1905853"/>
                  <a:gd name="connsiteY117" fmla="*/ 101673 h 1467600"/>
                  <a:gd name="connsiteX118" fmla="*/ 926041 w 1905853"/>
                  <a:gd name="connsiteY118" fmla="*/ 147994 h 1467600"/>
                  <a:gd name="connsiteX119" fmla="*/ 1008719 w 1905853"/>
                  <a:gd name="connsiteY119" fmla="*/ 119444 h 1467600"/>
                  <a:gd name="connsiteX120" fmla="*/ 1196217 w 1905853"/>
                  <a:gd name="connsiteY120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149836 w 1905853"/>
                  <a:gd name="connsiteY88" fmla="*/ 826778 h 1467600"/>
                  <a:gd name="connsiteX89" fmla="*/ 161475 w 1905853"/>
                  <a:gd name="connsiteY89" fmla="*/ 802794 h 1467600"/>
                  <a:gd name="connsiteX90" fmla="*/ 132900 w 1905853"/>
                  <a:gd name="connsiteY90" fmla="*/ 788506 h 1467600"/>
                  <a:gd name="connsiteX91" fmla="*/ 0 w 1905853"/>
                  <a:gd name="connsiteY91" fmla="*/ 785808 h 1467600"/>
                  <a:gd name="connsiteX92" fmla="*/ 185122 w 1905853"/>
                  <a:gd name="connsiteY92" fmla="*/ 791347 h 1467600"/>
                  <a:gd name="connsiteX93" fmla="*/ 19621 w 1905853"/>
                  <a:gd name="connsiteY93" fmla="*/ 740987 h 1467600"/>
                  <a:gd name="connsiteX94" fmla="*/ 179619 w 1905853"/>
                  <a:gd name="connsiteY94" fmla="*/ 803768 h 1467600"/>
                  <a:gd name="connsiteX95" fmla="*/ 229797 w 1905853"/>
                  <a:gd name="connsiteY95" fmla="*/ 729043 h 1467600"/>
                  <a:gd name="connsiteX96" fmla="*/ 359796 w 1905853"/>
                  <a:gd name="connsiteY96" fmla="*/ 703989 h 1467600"/>
                  <a:gd name="connsiteX97" fmla="*/ 385153 w 1905853"/>
                  <a:gd name="connsiteY97" fmla="*/ 716953 h 1467600"/>
                  <a:gd name="connsiteX98" fmla="*/ 430331 w 1905853"/>
                  <a:gd name="connsiteY98" fmla="*/ 678206 h 1467600"/>
                  <a:gd name="connsiteX99" fmla="*/ 551759 w 1905853"/>
                  <a:gd name="connsiteY99" fmla="*/ 685781 h 1467600"/>
                  <a:gd name="connsiteX100" fmla="*/ 629615 w 1905853"/>
                  <a:gd name="connsiteY100" fmla="*/ 693064 h 1467600"/>
                  <a:gd name="connsiteX101" fmla="*/ 710686 w 1905853"/>
                  <a:gd name="connsiteY101" fmla="*/ 627370 h 1467600"/>
                  <a:gd name="connsiteX102" fmla="*/ 713721 w 1905853"/>
                  <a:gd name="connsiteY102" fmla="*/ 545507 h 1467600"/>
                  <a:gd name="connsiteX103" fmla="*/ 686043 w 1905853"/>
                  <a:gd name="connsiteY103" fmla="*/ 531815 h 1467600"/>
                  <a:gd name="connsiteX104" fmla="*/ 682650 w 1905853"/>
                  <a:gd name="connsiteY104" fmla="*/ 516958 h 1467600"/>
                  <a:gd name="connsiteX105" fmla="*/ 735864 w 1905853"/>
                  <a:gd name="connsiteY105" fmla="*/ 435095 h 1467600"/>
                  <a:gd name="connsiteX106" fmla="*/ 718186 w 1905853"/>
                  <a:gd name="connsiteY106" fmla="*/ 383822 h 1467600"/>
                  <a:gd name="connsiteX107" fmla="*/ 700507 w 1905853"/>
                  <a:gd name="connsiteY107" fmla="*/ 366051 h 1467600"/>
                  <a:gd name="connsiteX108" fmla="*/ 713721 w 1905853"/>
                  <a:gd name="connsiteY108" fmla="*/ 280692 h 1467600"/>
                  <a:gd name="connsiteX109" fmla="*/ 789078 w 1905853"/>
                  <a:gd name="connsiteY109" fmla="*/ 255638 h 1467600"/>
                  <a:gd name="connsiteX110" fmla="*/ 789078 w 1905853"/>
                  <a:gd name="connsiteY110" fmla="*/ 212085 h 1467600"/>
                  <a:gd name="connsiteX111" fmla="*/ 784614 w 1905853"/>
                  <a:gd name="connsiteY111" fmla="*/ 173339 h 1467600"/>
                  <a:gd name="connsiteX112" fmla="*/ 796042 w 1905853"/>
                  <a:gd name="connsiteY112" fmla="*/ 119444 h 1467600"/>
                  <a:gd name="connsiteX113" fmla="*/ 842113 w 1905853"/>
                  <a:gd name="connsiteY113" fmla="*/ 107354 h 1467600"/>
                  <a:gd name="connsiteX114" fmla="*/ 845149 w 1905853"/>
                  <a:gd name="connsiteY114" fmla="*/ 68607 h 1467600"/>
                  <a:gd name="connsiteX115" fmla="*/ 869791 w 1905853"/>
                  <a:gd name="connsiteY115" fmla="*/ 68607 h 1467600"/>
                  <a:gd name="connsiteX116" fmla="*/ 890684 w 1905853"/>
                  <a:gd name="connsiteY116" fmla="*/ 101673 h 1467600"/>
                  <a:gd name="connsiteX117" fmla="*/ 930505 w 1905853"/>
                  <a:gd name="connsiteY117" fmla="*/ 101673 h 1467600"/>
                  <a:gd name="connsiteX118" fmla="*/ 926041 w 1905853"/>
                  <a:gd name="connsiteY118" fmla="*/ 147994 h 1467600"/>
                  <a:gd name="connsiteX119" fmla="*/ 1008719 w 1905853"/>
                  <a:gd name="connsiteY119" fmla="*/ 119444 h 1467600"/>
                  <a:gd name="connsiteX120" fmla="*/ 1196217 w 1905853"/>
                  <a:gd name="connsiteY120" fmla="*/ 0 h 1467600"/>
                  <a:gd name="connsiteX0" fmla="*/ 1196217 w 1905853"/>
                  <a:gd name="connsiteY0" fmla="*/ 0 h 1467600"/>
                  <a:gd name="connsiteX1" fmla="*/ 1277109 w 1905853"/>
                  <a:gd name="connsiteY1" fmla="*/ 4224 h 1467600"/>
                  <a:gd name="connsiteX2" fmla="*/ 1292287 w 1905853"/>
                  <a:gd name="connsiteY2" fmla="*/ 17771 h 1467600"/>
                  <a:gd name="connsiteX3" fmla="*/ 1280323 w 1905853"/>
                  <a:gd name="connsiteY3" fmla="*/ 50836 h 1467600"/>
                  <a:gd name="connsiteX4" fmla="*/ 1319966 w 1905853"/>
                  <a:gd name="connsiteY4" fmla="*/ 83465 h 1467600"/>
                  <a:gd name="connsiteX5" fmla="*/ 1362644 w 1905853"/>
                  <a:gd name="connsiteY5" fmla="*/ 83465 h 1467600"/>
                  <a:gd name="connsiteX6" fmla="*/ 1386394 w 1905853"/>
                  <a:gd name="connsiteY6" fmla="*/ 68607 h 1467600"/>
                  <a:gd name="connsiteX7" fmla="*/ 1443893 w 1905853"/>
                  <a:gd name="connsiteY7" fmla="*/ 86815 h 1467600"/>
                  <a:gd name="connsiteX8" fmla="*/ 1545678 w 1905853"/>
                  <a:gd name="connsiteY8" fmla="*/ 161540 h 1467600"/>
                  <a:gd name="connsiteX9" fmla="*/ 1624070 w 1905853"/>
                  <a:gd name="connsiteY9" fmla="*/ 168823 h 1467600"/>
                  <a:gd name="connsiteX10" fmla="*/ 1677105 w 1905853"/>
                  <a:gd name="connsiteY10" fmla="*/ 222719 h 1467600"/>
                  <a:gd name="connsiteX11" fmla="*/ 1691569 w 1905853"/>
                  <a:gd name="connsiteY11" fmla="*/ 258260 h 1467600"/>
                  <a:gd name="connsiteX12" fmla="*/ 1709605 w 1905853"/>
                  <a:gd name="connsiteY12" fmla="*/ 273118 h 1467600"/>
                  <a:gd name="connsiteX13" fmla="*/ 1807283 w 1905853"/>
                  <a:gd name="connsiteY13" fmla="*/ 242529 h 1467600"/>
                  <a:gd name="connsiteX14" fmla="*/ 1896567 w 1905853"/>
                  <a:gd name="connsiteY14" fmla="*/ 313030 h 1467600"/>
                  <a:gd name="connsiteX15" fmla="*/ 1905853 w 1905853"/>
                  <a:gd name="connsiteY15" fmla="*/ 335753 h 1467600"/>
                  <a:gd name="connsiteX16" fmla="*/ 1894782 w 1905853"/>
                  <a:gd name="connsiteY16" fmla="*/ 371877 h 1467600"/>
                  <a:gd name="connsiteX17" fmla="*/ 1861568 w 1905853"/>
                  <a:gd name="connsiteY17" fmla="*/ 424025 h 1467600"/>
                  <a:gd name="connsiteX18" fmla="*/ 1807283 w 1905853"/>
                  <a:gd name="connsiteY18" fmla="*/ 459129 h 1467600"/>
                  <a:gd name="connsiteX19" fmla="*/ 1800497 w 1905853"/>
                  <a:gd name="connsiteY19" fmla="*/ 491612 h 1467600"/>
                  <a:gd name="connsiteX20" fmla="*/ 1809425 w 1905853"/>
                  <a:gd name="connsiteY20" fmla="*/ 530067 h 1467600"/>
                  <a:gd name="connsiteX21" fmla="*/ 1814247 w 1905853"/>
                  <a:gd name="connsiteY21" fmla="*/ 563278 h 1467600"/>
                  <a:gd name="connsiteX22" fmla="*/ 1859246 w 1905853"/>
                  <a:gd name="connsiteY22" fmla="*/ 605229 h 1467600"/>
                  <a:gd name="connsiteX23" fmla="*/ 1844157 w 1905853"/>
                  <a:gd name="connsiteY23" fmla="*/ 629045 h 1467600"/>
                  <a:gd name="connsiteX24" fmla="*/ 1836344 w 1905853"/>
                  <a:gd name="connsiteY24" fmla="*/ 639191 h 1467600"/>
                  <a:gd name="connsiteX25" fmla="*/ 1835184 w 1905853"/>
                  <a:gd name="connsiteY25" fmla="*/ 638531 h 1467600"/>
                  <a:gd name="connsiteX26" fmla="*/ 1780019 w 1905853"/>
                  <a:gd name="connsiteY26" fmla="*/ 640913 h 1467600"/>
                  <a:gd name="connsiteX27" fmla="*/ 1713977 w 1905853"/>
                  <a:gd name="connsiteY27" fmla="*/ 669385 h 1467600"/>
                  <a:gd name="connsiteX28" fmla="*/ 1722300 w 1905853"/>
                  <a:gd name="connsiteY28" fmla="*/ 702689 h 1467600"/>
                  <a:gd name="connsiteX29" fmla="*/ 1737552 w 1905853"/>
                  <a:gd name="connsiteY29" fmla="*/ 760702 h 1467600"/>
                  <a:gd name="connsiteX30" fmla="*/ 1711258 w 1905853"/>
                  <a:gd name="connsiteY30" fmla="*/ 781375 h 1467600"/>
                  <a:gd name="connsiteX31" fmla="*/ 1715157 w 1905853"/>
                  <a:gd name="connsiteY31" fmla="*/ 807845 h 1467600"/>
                  <a:gd name="connsiteX32" fmla="*/ 1730409 w 1905853"/>
                  <a:gd name="connsiteY32" fmla="*/ 883908 h 1467600"/>
                  <a:gd name="connsiteX33" fmla="*/ 1696107 w 1905853"/>
                  <a:gd name="connsiteY33" fmla="*/ 910447 h 1467600"/>
                  <a:gd name="connsiteX34" fmla="*/ 1666021 w 1905853"/>
                  <a:gd name="connsiteY34" fmla="*/ 1006527 h 1467600"/>
                  <a:gd name="connsiteX35" fmla="*/ 1624676 w 1905853"/>
                  <a:gd name="connsiteY35" fmla="*/ 1029201 h 1467600"/>
                  <a:gd name="connsiteX36" fmla="*/ 1578008 w 1905853"/>
                  <a:gd name="connsiteY36" fmla="*/ 1017502 h 1467600"/>
                  <a:gd name="connsiteX37" fmla="*/ 1548872 w 1905853"/>
                  <a:gd name="connsiteY37" fmla="*/ 1045974 h 1467600"/>
                  <a:gd name="connsiteX38" fmla="*/ 1541102 w 1905853"/>
                  <a:gd name="connsiteY38" fmla="*/ 1115066 h 1467600"/>
                  <a:gd name="connsiteX39" fmla="*/ 1544292 w 1905853"/>
                  <a:gd name="connsiteY39" fmla="*/ 1117696 h 1467600"/>
                  <a:gd name="connsiteX40" fmla="*/ 1560790 w 1905853"/>
                  <a:gd name="connsiteY40" fmla="*/ 1103206 h 1467600"/>
                  <a:gd name="connsiteX41" fmla="*/ 1533230 w 1905853"/>
                  <a:gd name="connsiteY41" fmla="*/ 1093112 h 1467600"/>
                  <a:gd name="connsiteX42" fmla="*/ 1525084 w 1905853"/>
                  <a:gd name="connsiteY42" fmla="*/ 1115764 h 1467600"/>
                  <a:gd name="connsiteX43" fmla="*/ 1574855 w 1905853"/>
                  <a:gd name="connsiteY43" fmla="*/ 1135071 h 1467600"/>
                  <a:gd name="connsiteX44" fmla="*/ 1503539 w 1905853"/>
                  <a:gd name="connsiteY44" fmla="*/ 1085549 h 1467600"/>
                  <a:gd name="connsiteX45" fmla="*/ 1517284 w 1905853"/>
                  <a:gd name="connsiteY45" fmla="*/ 1101445 h 1467600"/>
                  <a:gd name="connsiteX46" fmla="*/ 1552040 w 1905853"/>
                  <a:gd name="connsiteY46" fmla="*/ 1107517 h 1467600"/>
                  <a:gd name="connsiteX47" fmla="*/ 1540418 w 1905853"/>
                  <a:gd name="connsiteY47" fmla="*/ 1104660 h 1467600"/>
                  <a:gd name="connsiteX48" fmla="*/ 1539135 w 1905853"/>
                  <a:gd name="connsiteY48" fmla="*/ 1140989 h 1467600"/>
                  <a:gd name="connsiteX49" fmla="*/ 1489870 w 1905853"/>
                  <a:gd name="connsiteY49" fmla="*/ 1279972 h 1467600"/>
                  <a:gd name="connsiteX50" fmla="*/ 1344900 w 1905853"/>
                  <a:gd name="connsiteY50" fmla="*/ 1339176 h 1467600"/>
                  <a:gd name="connsiteX51" fmla="*/ 1222948 w 1905853"/>
                  <a:gd name="connsiteY51" fmla="*/ 1330779 h 1467600"/>
                  <a:gd name="connsiteX52" fmla="*/ 1080805 w 1905853"/>
                  <a:gd name="connsiteY52" fmla="*/ 1393762 h 1467600"/>
                  <a:gd name="connsiteX53" fmla="*/ 1084042 w 1905853"/>
                  <a:gd name="connsiteY53" fmla="*/ 1397621 h 1467600"/>
                  <a:gd name="connsiteX54" fmla="*/ 1035009 w 1905853"/>
                  <a:gd name="connsiteY54" fmla="*/ 1414681 h 1467600"/>
                  <a:gd name="connsiteX55" fmla="*/ 945346 w 1905853"/>
                  <a:gd name="connsiteY55" fmla="*/ 1425739 h 1467600"/>
                  <a:gd name="connsiteX56" fmla="*/ 924538 w 1905853"/>
                  <a:gd name="connsiteY56" fmla="*/ 1459702 h 1467600"/>
                  <a:gd name="connsiteX57" fmla="*/ 856061 w 1905853"/>
                  <a:gd name="connsiteY57" fmla="*/ 1467600 h 1467600"/>
                  <a:gd name="connsiteX58" fmla="*/ 834875 w 1905853"/>
                  <a:gd name="connsiteY58" fmla="*/ 1444300 h 1467600"/>
                  <a:gd name="connsiteX59" fmla="*/ 840929 w 1905853"/>
                  <a:gd name="connsiteY59" fmla="*/ 1419420 h 1467600"/>
                  <a:gd name="connsiteX60" fmla="*/ 798935 w 1905853"/>
                  <a:gd name="connsiteY60" fmla="*/ 1374400 h 1467600"/>
                  <a:gd name="connsiteX61" fmla="*/ 784180 w 1905853"/>
                  <a:gd name="connsiteY61" fmla="*/ 1344782 h 1467600"/>
                  <a:gd name="connsiteX62" fmla="*/ 812554 w 1905853"/>
                  <a:gd name="connsiteY62" fmla="*/ 1243684 h 1467600"/>
                  <a:gd name="connsiteX63" fmla="*/ 805366 w 1905853"/>
                  <a:gd name="connsiteY63" fmla="*/ 1214065 h 1467600"/>
                  <a:gd name="connsiteX64" fmla="*/ 763372 w 1905853"/>
                  <a:gd name="connsiteY64" fmla="*/ 1209326 h 1467600"/>
                  <a:gd name="connsiteX65" fmla="*/ 738024 w 1905853"/>
                  <a:gd name="connsiteY65" fmla="*/ 1191160 h 1467600"/>
                  <a:gd name="connsiteX66" fmla="*/ 709650 w 1905853"/>
                  <a:gd name="connsiteY66" fmla="*/ 1105069 h 1467600"/>
                  <a:gd name="connsiteX67" fmla="*/ 727431 w 1905853"/>
                  <a:gd name="connsiteY67" fmla="*/ 1075845 h 1467600"/>
                  <a:gd name="connsiteX68" fmla="*/ 702462 w 1905853"/>
                  <a:gd name="connsiteY68" fmla="*/ 1027271 h 1467600"/>
                  <a:gd name="connsiteX69" fmla="*/ 712677 w 1905853"/>
                  <a:gd name="connsiteY69" fmla="*/ 1001207 h 1467600"/>
                  <a:gd name="connsiteX70" fmla="*/ 692247 w 1905853"/>
                  <a:gd name="connsiteY70" fmla="*/ 971588 h 1467600"/>
                  <a:gd name="connsiteX71" fmla="*/ 626040 w 1905853"/>
                  <a:gd name="connsiteY71" fmla="*/ 947893 h 1467600"/>
                  <a:gd name="connsiteX72" fmla="*/ 577236 w 1905853"/>
                  <a:gd name="connsiteY72" fmla="*/ 982251 h 1467600"/>
                  <a:gd name="connsiteX73" fmla="*/ 480007 w 1905853"/>
                  <a:gd name="connsiteY73" fmla="*/ 974747 h 1467600"/>
                  <a:gd name="connsiteX74" fmla="*/ 444445 w 1905853"/>
                  <a:gd name="connsiteY74" fmla="*/ 996468 h 1467600"/>
                  <a:gd name="connsiteX75" fmla="*/ 383534 w 1905853"/>
                  <a:gd name="connsiteY75" fmla="*/ 982251 h 1467600"/>
                  <a:gd name="connsiteX76" fmla="*/ 383534 w 1905853"/>
                  <a:gd name="connsiteY76" fmla="*/ 956187 h 1467600"/>
                  <a:gd name="connsiteX77" fmla="*/ 369915 w 1905853"/>
                  <a:gd name="connsiteY77" fmla="*/ 929332 h 1467600"/>
                  <a:gd name="connsiteX78" fmla="*/ 265119 w 1905853"/>
                  <a:gd name="connsiteY78" fmla="*/ 934071 h 1467600"/>
                  <a:gd name="connsiteX79" fmla="*/ 186049 w 1905853"/>
                  <a:gd name="connsiteY79" fmla="*/ 907612 h 1467600"/>
                  <a:gd name="connsiteX80" fmla="*/ 115681 w 1905853"/>
                  <a:gd name="connsiteY80" fmla="*/ 947104 h 1467600"/>
                  <a:gd name="connsiteX81" fmla="*/ 114924 w 1905853"/>
                  <a:gd name="connsiteY81" fmla="*/ 963690 h 1467600"/>
                  <a:gd name="connsiteX82" fmla="*/ 105226 w 1905853"/>
                  <a:gd name="connsiteY82" fmla="*/ 970956 h 1467600"/>
                  <a:gd name="connsiteX83" fmla="*/ 105400 w 1905853"/>
                  <a:gd name="connsiteY83" fmla="*/ 969934 h 1467600"/>
                  <a:gd name="connsiteX84" fmla="*/ 106329 w 1905853"/>
                  <a:gd name="connsiteY84" fmla="*/ 966125 h 1467600"/>
                  <a:gd name="connsiteX85" fmla="*/ 102255 w 1905853"/>
                  <a:gd name="connsiteY85" fmla="*/ 972035 h 1467600"/>
                  <a:gd name="connsiteX86" fmla="*/ 102775 w 1905853"/>
                  <a:gd name="connsiteY86" fmla="*/ 965641 h 1467600"/>
                  <a:gd name="connsiteX87" fmla="*/ 113821 w 1905853"/>
                  <a:gd name="connsiteY87" fmla="*/ 843513 h 1467600"/>
                  <a:gd name="connsiteX88" fmla="*/ 149836 w 1905853"/>
                  <a:gd name="connsiteY88" fmla="*/ 826778 h 1467600"/>
                  <a:gd name="connsiteX89" fmla="*/ 161475 w 1905853"/>
                  <a:gd name="connsiteY89" fmla="*/ 802794 h 1467600"/>
                  <a:gd name="connsiteX90" fmla="*/ 132900 w 1905853"/>
                  <a:gd name="connsiteY90" fmla="*/ 788506 h 1467600"/>
                  <a:gd name="connsiteX91" fmla="*/ 0 w 1905853"/>
                  <a:gd name="connsiteY91" fmla="*/ 785808 h 1467600"/>
                  <a:gd name="connsiteX92" fmla="*/ 175762 w 1905853"/>
                  <a:gd name="connsiteY92" fmla="*/ 800412 h 1467600"/>
                  <a:gd name="connsiteX93" fmla="*/ 185122 w 1905853"/>
                  <a:gd name="connsiteY93" fmla="*/ 791347 h 1467600"/>
                  <a:gd name="connsiteX94" fmla="*/ 19621 w 1905853"/>
                  <a:gd name="connsiteY94" fmla="*/ 740987 h 1467600"/>
                  <a:gd name="connsiteX95" fmla="*/ 179619 w 1905853"/>
                  <a:gd name="connsiteY95" fmla="*/ 803768 h 1467600"/>
                  <a:gd name="connsiteX96" fmla="*/ 229797 w 1905853"/>
                  <a:gd name="connsiteY96" fmla="*/ 729043 h 1467600"/>
                  <a:gd name="connsiteX97" fmla="*/ 359796 w 1905853"/>
                  <a:gd name="connsiteY97" fmla="*/ 703989 h 1467600"/>
                  <a:gd name="connsiteX98" fmla="*/ 385153 w 1905853"/>
                  <a:gd name="connsiteY98" fmla="*/ 716953 h 1467600"/>
                  <a:gd name="connsiteX99" fmla="*/ 430331 w 1905853"/>
                  <a:gd name="connsiteY99" fmla="*/ 678206 h 1467600"/>
                  <a:gd name="connsiteX100" fmla="*/ 551759 w 1905853"/>
                  <a:gd name="connsiteY100" fmla="*/ 685781 h 1467600"/>
                  <a:gd name="connsiteX101" fmla="*/ 629615 w 1905853"/>
                  <a:gd name="connsiteY101" fmla="*/ 693064 h 1467600"/>
                  <a:gd name="connsiteX102" fmla="*/ 710686 w 1905853"/>
                  <a:gd name="connsiteY102" fmla="*/ 627370 h 1467600"/>
                  <a:gd name="connsiteX103" fmla="*/ 713721 w 1905853"/>
                  <a:gd name="connsiteY103" fmla="*/ 545507 h 1467600"/>
                  <a:gd name="connsiteX104" fmla="*/ 686043 w 1905853"/>
                  <a:gd name="connsiteY104" fmla="*/ 531815 h 1467600"/>
                  <a:gd name="connsiteX105" fmla="*/ 682650 w 1905853"/>
                  <a:gd name="connsiteY105" fmla="*/ 516958 h 1467600"/>
                  <a:gd name="connsiteX106" fmla="*/ 735864 w 1905853"/>
                  <a:gd name="connsiteY106" fmla="*/ 435095 h 1467600"/>
                  <a:gd name="connsiteX107" fmla="*/ 718186 w 1905853"/>
                  <a:gd name="connsiteY107" fmla="*/ 383822 h 1467600"/>
                  <a:gd name="connsiteX108" fmla="*/ 700507 w 1905853"/>
                  <a:gd name="connsiteY108" fmla="*/ 366051 h 1467600"/>
                  <a:gd name="connsiteX109" fmla="*/ 713721 w 1905853"/>
                  <a:gd name="connsiteY109" fmla="*/ 280692 h 1467600"/>
                  <a:gd name="connsiteX110" fmla="*/ 789078 w 1905853"/>
                  <a:gd name="connsiteY110" fmla="*/ 255638 h 1467600"/>
                  <a:gd name="connsiteX111" fmla="*/ 789078 w 1905853"/>
                  <a:gd name="connsiteY111" fmla="*/ 212085 h 1467600"/>
                  <a:gd name="connsiteX112" fmla="*/ 784614 w 1905853"/>
                  <a:gd name="connsiteY112" fmla="*/ 173339 h 1467600"/>
                  <a:gd name="connsiteX113" fmla="*/ 796042 w 1905853"/>
                  <a:gd name="connsiteY113" fmla="*/ 119444 h 1467600"/>
                  <a:gd name="connsiteX114" fmla="*/ 842113 w 1905853"/>
                  <a:gd name="connsiteY114" fmla="*/ 107354 h 1467600"/>
                  <a:gd name="connsiteX115" fmla="*/ 845149 w 1905853"/>
                  <a:gd name="connsiteY115" fmla="*/ 68607 h 1467600"/>
                  <a:gd name="connsiteX116" fmla="*/ 869791 w 1905853"/>
                  <a:gd name="connsiteY116" fmla="*/ 68607 h 1467600"/>
                  <a:gd name="connsiteX117" fmla="*/ 890684 w 1905853"/>
                  <a:gd name="connsiteY117" fmla="*/ 101673 h 1467600"/>
                  <a:gd name="connsiteX118" fmla="*/ 930505 w 1905853"/>
                  <a:gd name="connsiteY118" fmla="*/ 101673 h 1467600"/>
                  <a:gd name="connsiteX119" fmla="*/ 926041 w 1905853"/>
                  <a:gd name="connsiteY119" fmla="*/ 147994 h 1467600"/>
                  <a:gd name="connsiteX120" fmla="*/ 1008719 w 1905853"/>
                  <a:gd name="connsiteY120" fmla="*/ 119444 h 1467600"/>
                  <a:gd name="connsiteX121" fmla="*/ 1196217 w 1905853"/>
                  <a:gd name="connsiteY121" fmla="*/ 0 h 1467600"/>
                  <a:gd name="connsiteX0" fmla="*/ 1176598 w 1886234"/>
                  <a:gd name="connsiteY0" fmla="*/ 0 h 1467600"/>
                  <a:gd name="connsiteX1" fmla="*/ 1257490 w 1886234"/>
                  <a:gd name="connsiteY1" fmla="*/ 4224 h 1467600"/>
                  <a:gd name="connsiteX2" fmla="*/ 1272668 w 1886234"/>
                  <a:gd name="connsiteY2" fmla="*/ 17771 h 1467600"/>
                  <a:gd name="connsiteX3" fmla="*/ 1260704 w 1886234"/>
                  <a:gd name="connsiteY3" fmla="*/ 50836 h 1467600"/>
                  <a:gd name="connsiteX4" fmla="*/ 1300347 w 1886234"/>
                  <a:gd name="connsiteY4" fmla="*/ 83465 h 1467600"/>
                  <a:gd name="connsiteX5" fmla="*/ 1343025 w 1886234"/>
                  <a:gd name="connsiteY5" fmla="*/ 83465 h 1467600"/>
                  <a:gd name="connsiteX6" fmla="*/ 1366775 w 1886234"/>
                  <a:gd name="connsiteY6" fmla="*/ 68607 h 1467600"/>
                  <a:gd name="connsiteX7" fmla="*/ 1424274 w 1886234"/>
                  <a:gd name="connsiteY7" fmla="*/ 86815 h 1467600"/>
                  <a:gd name="connsiteX8" fmla="*/ 1526059 w 1886234"/>
                  <a:gd name="connsiteY8" fmla="*/ 161540 h 1467600"/>
                  <a:gd name="connsiteX9" fmla="*/ 1604451 w 1886234"/>
                  <a:gd name="connsiteY9" fmla="*/ 168823 h 1467600"/>
                  <a:gd name="connsiteX10" fmla="*/ 1657486 w 1886234"/>
                  <a:gd name="connsiteY10" fmla="*/ 222719 h 1467600"/>
                  <a:gd name="connsiteX11" fmla="*/ 1671950 w 1886234"/>
                  <a:gd name="connsiteY11" fmla="*/ 258260 h 1467600"/>
                  <a:gd name="connsiteX12" fmla="*/ 1689986 w 1886234"/>
                  <a:gd name="connsiteY12" fmla="*/ 273118 h 1467600"/>
                  <a:gd name="connsiteX13" fmla="*/ 1787664 w 1886234"/>
                  <a:gd name="connsiteY13" fmla="*/ 242529 h 1467600"/>
                  <a:gd name="connsiteX14" fmla="*/ 1876948 w 1886234"/>
                  <a:gd name="connsiteY14" fmla="*/ 313030 h 1467600"/>
                  <a:gd name="connsiteX15" fmla="*/ 1886234 w 1886234"/>
                  <a:gd name="connsiteY15" fmla="*/ 335753 h 1467600"/>
                  <a:gd name="connsiteX16" fmla="*/ 1875163 w 1886234"/>
                  <a:gd name="connsiteY16" fmla="*/ 371877 h 1467600"/>
                  <a:gd name="connsiteX17" fmla="*/ 1841949 w 1886234"/>
                  <a:gd name="connsiteY17" fmla="*/ 424025 h 1467600"/>
                  <a:gd name="connsiteX18" fmla="*/ 1787664 w 1886234"/>
                  <a:gd name="connsiteY18" fmla="*/ 459129 h 1467600"/>
                  <a:gd name="connsiteX19" fmla="*/ 1780878 w 1886234"/>
                  <a:gd name="connsiteY19" fmla="*/ 491612 h 1467600"/>
                  <a:gd name="connsiteX20" fmla="*/ 1789806 w 1886234"/>
                  <a:gd name="connsiteY20" fmla="*/ 530067 h 1467600"/>
                  <a:gd name="connsiteX21" fmla="*/ 1794628 w 1886234"/>
                  <a:gd name="connsiteY21" fmla="*/ 563278 h 1467600"/>
                  <a:gd name="connsiteX22" fmla="*/ 1839627 w 1886234"/>
                  <a:gd name="connsiteY22" fmla="*/ 605229 h 1467600"/>
                  <a:gd name="connsiteX23" fmla="*/ 1824538 w 1886234"/>
                  <a:gd name="connsiteY23" fmla="*/ 629045 h 1467600"/>
                  <a:gd name="connsiteX24" fmla="*/ 1816725 w 1886234"/>
                  <a:gd name="connsiteY24" fmla="*/ 639191 h 1467600"/>
                  <a:gd name="connsiteX25" fmla="*/ 1815565 w 1886234"/>
                  <a:gd name="connsiteY25" fmla="*/ 638531 h 1467600"/>
                  <a:gd name="connsiteX26" fmla="*/ 1760400 w 1886234"/>
                  <a:gd name="connsiteY26" fmla="*/ 640913 h 1467600"/>
                  <a:gd name="connsiteX27" fmla="*/ 1694358 w 1886234"/>
                  <a:gd name="connsiteY27" fmla="*/ 669385 h 1467600"/>
                  <a:gd name="connsiteX28" fmla="*/ 1702681 w 1886234"/>
                  <a:gd name="connsiteY28" fmla="*/ 702689 h 1467600"/>
                  <a:gd name="connsiteX29" fmla="*/ 1717933 w 1886234"/>
                  <a:gd name="connsiteY29" fmla="*/ 760702 h 1467600"/>
                  <a:gd name="connsiteX30" fmla="*/ 1691639 w 1886234"/>
                  <a:gd name="connsiteY30" fmla="*/ 781375 h 1467600"/>
                  <a:gd name="connsiteX31" fmla="*/ 1695538 w 1886234"/>
                  <a:gd name="connsiteY31" fmla="*/ 807845 h 1467600"/>
                  <a:gd name="connsiteX32" fmla="*/ 1710790 w 1886234"/>
                  <a:gd name="connsiteY32" fmla="*/ 883908 h 1467600"/>
                  <a:gd name="connsiteX33" fmla="*/ 1676488 w 1886234"/>
                  <a:gd name="connsiteY33" fmla="*/ 910447 h 1467600"/>
                  <a:gd name="connsiteX34" fmla="*/ 1646402 w 1886234"/>
                  <a:gd name="connsiteY34" fmla="*/ 1006527 h 1467600"/>
                  <a:gd name="connsiteX35" fmla="*/ 1605057 w 1886234"/>
                  <a:gd name="connsiteY35" fmla="*/ 1029201 h 1467600"/>
                  <a:gd name="connsiteX36" fmla="*/ 1558389 w 1886234"/>
                  <a:gd name="connsiteY36" fmla="*/ 1017502 h 1467600"/>
                  <a:gd name="connsiteX37" fmla="*/ 1529253 w 1886234"/>
                  <a:gd name="connsiteY37" fmla="*/ 1045974 h 1467600"/>
                  <a:gd name="connsiteX38" fmla="*/ 1521483 w 1886234"/>
                  <a:gd name="connsiteY38" fmla="*/ 1115066 h 1467600"/>
                  <a:gd name="connsiteX39" fmla="*/ 1524673 w 1886234"/>
                  <a:gd name="connsiteY39" fmla="*/ 1117696 h 1467600"/>
                  <a:gd name="connsiteX40" fmla="*/ 1541171 w 1886234"/>
                  <a:gd name="connsiteY40" fmla="*/ 1103206 h 1467600"/>
                  <a:gd name="connsiteX41" fmla="*/ 1513611 w 1886234"/>
                  <a:gd name="connsiteY41" fmla="*/ 1093112 h 1467600"/>
                  <a:gd name="connsiteX42" fmla="*/ 1505465 w 1886234"/>
                  <a:gd name="connsiteY42" fmla="*/ 1115764 h 1467600"/>
                  <a:gd name="connsiteX43" fmla="*/ 1555236 w 1886234"/>
                  <a:gd name="connsiteY43" fmla="*/ 1135071 h 1467600"/>
                  <a:gd name="connsiteX44" fmla="*/ 1483920 w 1886234"/>
                  <a:gd name="connsiteY44" fmla="*/ 1085549 h 1467600"/>
                  <a:gd name="connsiteX45" fmla="*/ 1497665 w 1886234"/>
                  <a:gd name="connsiteY45" fmla="*/ 1101445 h 1467600"/>
                  <a:gd name="connsiteX46" fmla="*/ 1532421 w 1886234"/>
                  <a:gd name="connsiteY46" fmla="*/ 1107517 h 1467600"/>
                  <a:gd name="connsiteX47" fmla="*/ 1520799 w 1886234"/>
                  <a:gd name="connsiteY47" fmla="*/ 1104660 h 1467600"/>
                  <a:gd name="connsiteX48" fmla="*/ 1519516 w 1886234"/>
                  <a:gd name="connsiteY48" fmla="*/ 1140989 h 1467600"/>
                  <a:gd name="connsiteX49" fmla="*/ 1470251 w 1886234"/>
                  <a:gd name="connsiteY49" fmla="*/ 1279972 h 1467600"/>
                  <a:gd name="connsiteX50" fmla="*/ 1325281 w 1886234"/>
                  <a:gd name="connsiteY50" fmla="*/ 1339176 h 1467600"/>
                  <a:gd name="connsiteX51" fmla="*/ 1203329 w 1886234"/>
                  <a:gd name="connsiteY51" fmla="*/ 1330779 h 1467600"/>
                  <a:gd name="connsiteX52" fmla="*/ 1061186 w 1886234"/>
                  <a:gd name="connsiteY52" fmla="*/ 1393762 h 1467600"/>
                  <a:gd name="connsiteX53" fmla="*/ 1064423 w 1886234"/>
                  <a:gd name="connsiteY53" fmla="*/ 1397621 h 1467600"/>
                  <a:gd name="connsiteX54" fmla="*/ 1015390 w 1886234"/>
                  <a:gd name="connsiteY54" fmla="*/ 1414681 h 1467600"/>
                  <a:gd name="connsiteX55" fmla="*/ 925727 w 1886234"/>
                  <a:gd name="connsiteY55" fmla="*/ 1425739 h 1467600"/>
                  <a:gd name="connsiteX56" fmla="*/ 904919 w 1886234"/>
                  <a:gd name="connsiteY56" fmla="*/ 1459702 h 1467600"/>
                  <a:gd name="connsiteX57" fmla="*/ 836442 w 1886234"/>
                  <a:gd name="connsiteY57" fmla="*/ 1467600 h 1467600"/>
                  <a:gd name="connsiteX58" fmla="*/ 815256 w 1886234"/>
                  <a:gd name="connsiteY58" fmla="*/ 1444300 h 1467600"/>
                  <a:gd name="connsiteX59" fmla="*/ 821310 w 1886234"/>
                  <a:gd name="connsiteY59" fmla="*/ 1419420 h 1467600"/>
                  <a:gd name="connsiteX60" fmla="*/ 779316 w 1886234"/>
                  <a:gd name="connsiteY60" fmla="*/ 1374400 h 1467600"/>
                  <a:gd name="connsiteX61" fmla="*/ 764561 w 1886234"/>
                  <a:gd name="connsiteY61" fmla="*/ 1344782 h 1467600"/>
                  <a:gd name="connsiteX62" fmla="*/ 792935 w 1886234"/>
                  <a:gd name="connsiteY62" fmla="*/ 1243684 h 1467600"/>
                  <a:gd name="connsiteX63" fmla="*/ 785747 w 1886234"/>
                  <a:gd name="connsiteY63" fmla="*/ 1214065 h 1467600"/>
                  <a:gd name="connsiteX64" fmla="*/ 743753 w 1886234"/>
                  <a:gd name="connsiteY64" fmla="*/ 1209326 h 1467600"/>
                  <a:gd name="connsiteX65" fmla="*/ 718405 w 1886234"/>
                  <a:gd name="connsiteY65" fmla="*/ 1191160 h 1467600"/>
                  <a:gd name="connsiteX66" fmla="*/ 690031 w 1886234"/>
                  <a:gd name="connsiteY66" fmla="*/ 1105069 h 1467600"/>
                  <a:gd name="connsiteX67" fmla="*/ 707812 w 1886234"/>
                  <a:gd name="connsiteY67" fmla="*/ 1075845 h 1467600"/>
                  <a:gd name="connsiteX68" fmla="*/ 682843 w 1886234"/>
                  <a:gd name="connsiteY68" fmla="*/ 1027271 h 1467600"/>
                  <a:gd name="connsiteX69" fmla="*/ 693058 w 1886234"/>
                  <a:gd name="connsiteY69" fmla="*/ 1001207 h 1467600"/>
                  <a:gd name="connsiteX70" fmla="*/ 672628 w 1886234"/>
                  <a:gd name="connsiteY70" fmla="*/ 971588 h 1467600"/>
                  <a:gd name="connsiteX71" fmla="*/ 606421 w 1886234"/>
                  <a:gd name="connsiteY71" fmla="*/ 947893 h 1467600"/>
                  <a:gd name="connsiteX72" fmla="*/ 557617 w 1886234"/>
                  <a:gd name="connsiteY72" fmla="*/ 982251 h 1467600"/>
                  <a:gd name="connsiteX73" fmla="*/ 460388 w 1886234"/>
                  <a:gd name="connsiteY73" fmla="*/ 974747 h 1467600"/>
                  <a:gd name="connsiteX74" fmla="*/ 424826 w 1886234"/>
                  <a:gd name="connsiteY74" fmla="*/ 996468 h 1467600"/>
                  <a:gd name="connsiteX75" fmla="*/ 363915 w 1886234"/>
                  <a:gd name="connsiteY75" fmla="*/ 982251 h 1467600"/>
                  <a:gd name="connsiteX76" fmla="*/ 363915 w 1886234"/>
                  <a:gd name="connsiteY76" fmla="*/ 956187 h 1467600"/>
                  <a:gd name="connsiteX77" fmla="*/ 350296 w 1886234"/>
                  <a:gd name="connsiteY77" fmla="*/ 929332 h 1467600"/>
                  <a:gd name="connsiteX78" fmla="*/ 245500 w 1886234"/>
                  <a:gd name="connsiteY78" fmla="*/ 934071 h 1467600"/>
                  <a:gd name="connsiteX79" fmla="*/ 166430 w 1886234"/>
                  <a:gd name="connsiteY79" fmla="*/ 907612 h 1467600"/>
                  <a:gd name="connsiteX80" fmla="*/ 96062 w 1886234"/>
                  <a:gd name="connsiteY80" fmla="*/ 947104 h 1467600"/>
                  <a:gd name="connsiteX81" fmla="*/ 95305 w 1886234"/>
                  <a:gd name="connsiteY81" fmla="*/ 963690 h 1467600"/>
                  <a:gd name="connsiteX82" fmla="*/ 85607 w 1886234"/>
                  <a:gd name="connsiteY82" fmla="*/ 970956 h 1467600"/>
                  <a:gd name="connsiteX83" fmla="*/ 85781 w 1886234"/>
                  <a:gd name="connsiteY83" fmla="*/ 969934 h 1467600"/>
                  <a:gd name="connsiteX84" fmla="*/ 86710 w 1886234"/>
                  <a:gd name="connsiteY84" fmla="*/ 966125 h 1467600"/>
                  <a:gd name="connsiteX85" fmla="*/ 82636 w 1886234"/>
                  <a:gd name="connsiteY85" fmla="*/ 972035 h 1467600"/>
                  <a:gd name="connsiteX86" fmla="*/ 83156 w 1886234"/>
                  <a:gd name="connsiteY86" fmla="*/ 965641 h 1467600"/>
                  <a:gd name="connsiteX87" fmla="*/ 94202 w 1886234"/>
                  <a:gd name="connsiteY87" fmla="*/ 843513 h 1467600"/>
                  <a:gd name="connsiteX88" fmla="*/ 130217 w 1886234"/>
                  <a:gd name="connsiteY88" fmla="*/ 826778 h 1467600"/>
                  <a:gd name="connsiteX89" fmla="*/ 141856 w 1886234"/>
                  <a:gd name="connsiteY89" fmla="*/ 802794 h 1467600"/>
                  <a:gd name="connsiteX90" fmla="*/ 113281 w 1886234"/>
                  <a:gd name="connsiteY90" fmla="*/ 788506 h 1467600"/>
                  <a:gd name="connsiteX91" fmla="*/ 199456 w 1886234"/>
                  <a:gd name="connsiteY91" fmla="*/ 792952 h 1467600"/>
                  <a:gd name="connsiteX92" fmla="*/ 156143 w 1886234"/>
                  <a:gd name="connsiteY92" fmla="*/ 800412 h 1467600"/>
                  <a:gd name="connsiteX93" fmla="*/ 165503 w 1886234"/>
                  <a:gd name="connsiteY93" fmla="*/ 791347 h 1467600"/>
                  <a:gd name="connsiteX94" fmla="*/ 2 w 1886234"/>
                  <a:gd name="connsiteY94" fmla="*/ 740987 h 1467600"/>
                  <a:gd name="connsiteX95" fmla="*/ 160000 w 1886234"/>
                  <a:gd name="connsiteY95" fmla="*/ 803768 h 1467600"/>
                  <a:gd name="connsiteX96" fmla="*/ 210178 w 1886234"/>
                  <a:gd name="connsiteY96" fmla="*/ 729043 h 1467600"/>
                  <a:gd name="connsiteX97" fmla="*/ 340177 w 1886234"/>
                  <a:gd name="connsiteY97" fmla="*/ 703989 h 1467600"/>
                  <a:gd name="connsiteX98" fmla="*/ 365534 w 1886234"/>
                  <a:gd name="connsiteY98" fmla="*/ 716953 h 1467600"/>
                  <a:gd name="connsiteX99" fmla="*/ 410712 w 1886234"/>
                  <a:gd name="connsiteY99" fmla="*/ 678206 h 1467600"/>
                  <a:gd name="connsiteX100" fmla="*/ 532140 w 1886234"/>
                  <a:gd name="connsiteY100" fmla="*/ 685781 h 1467600"/>
                  <a:gd name="connsiteX101" fmla="*/ 609996 w 1886234"/>
                  <a:gd name="connsiteY101" fmla="*/ 693064 h 1467600"/>
                  <a:gd name="connsiteX102" fmla="*/ 691067 w 1886234"/>
                  <a:gd name="connsiteY102" fmla="*/ 627370 h 1467600"/>
                  <a:gd name="connsiteX103" fmla="*/ 694102 w 1886234"/>
                  <a:gd name="connsiteY103" fmla="*/ 545507 h 1467600"/>
                  <a:gd name="connsiteX104" fmla="*/ 666424 w 1886234"/>
                  <a:gd name="connsiteY104" fmla="*/ 531815 h 1467600"/>
                  <a:gd name="connsiteX105" fmla="*/ 663031 w 1886234"/>
                  <a:gd name="connsiteY105" fmla="*/ 516958 h 1467600"/>
                  <a:gd name="connsiteX106" fmla="*/ 716245 w 1886234"/>
                  <a:gd name="connsiteY106" fmla="*/ 435095 h 1467600"/>
                  <a:gd name="connsiteX107" fmla="*/ 698567 w 1886234"/>
                  <a:gd name="connsiteY107" fmla="*/ 383822 h 1467600"/>
                  <a:gd name="connsiteX108" fmla="*/ 680888 w 1886234"/>
                  <a:gd name="connsiteY108" fmla="*/ 366051 h 1467600"/>
                  <a:gd name="connsiteX109" fmla="*/ 694102 w 1886234"/>
                  <a:gd name="connsiteY109" fmla="*/ 280692 h 1467600"/>
                  <a:gd name="connsiteX110" fmla="*/ 769459 w 1886234"/>
                  <a:gd name="connsiteY110" fmla="*/ 255638 h 1467600"/>
                  <a:gd name="connsiteX111" fmla="*/ 769459 w 1886234"/>
                  <a:gd name="connsiteY111" fmla="*/ 212085 h 1467600"/>
                  <a:gd name="connsiteX112" fmla="*/ 764995 w 1886234"/>
                  <a:gd name="connsiteY112" fmla="*/ 173339 h 1467600"/>
                  <a:gd name="connsiteX113" fmla="*/ 776423 w 1886234"/>
                  <a:gd name="connsiteY113" fmla="*/ 119444 h 1467600"/>
                  <a:gd name="connsiteX114" fmla="*/ 822494 w 1886234"/>
                  <a:gd name="connsiteY114" fmla="*/ 107354 h 1467600"/>
                  <a:gd name="connsiteX115" fmla="*/ 825530 w 1886234"/>
                  <a:gd name="connsiteY115" fmla="*/ 68607 h 1467600"/>
                  <a:gd name="connsiteX116" fmla="*/ 850172 w 1886234"/>
                  <a:gd name="connsiteY116" fmla="*/ 68607 h 1467600"/>
                  <a:gd name="connsiteX117" fmla="*/ 871065 w 1886234"/>
                  <a:gd name="connsiteY117" fmla="*/ 101673 h 1467600"/>
                  <a:gd name="connsiteX118" fmla="*/ 910886 w 1886234"/>
                  <a:gd name="connsiteY118" fmla="*/ 101673 h 1467600"/>
                  <a:gd name="connsiteX119" fmla="*/ 906422 w 1886234"/>
                  <a:gd name="connsiteY119" fmla="*/ 147994 h 1467600"/>
                  <a:gd name="connsiteX120" fmla="*/ 989100 w 1886234"/>
                  <a:gd name="connsiteY120" fmla="*/ 119444 h 1467600"/>
                  <a:gd name="connsiteX121" fmla="*/ 1176598 w 1886234"/>
                  <a:gd name="connsiteY121" fmla="*/ 0 h 1467600"/>
                  <a:gd name="connsiteX0" fmla="*/ 1176598 w 1886234"/>
                  <a:gd name="connsiteY0" fmla="*/ 0 h 1467600"/>
                  <a:gd name="connsiteX1" fmla="*/ 1257490 w 1886234"/>
                  <a:gd name="connsiteY1" fmla="*/ 4224 h 1467600"/>
                  <a:gd name="connsiteX2" fmla="*/ 1272668 w 1886234"/>
                  <a:gd name="connsiteY2" fmla="*/ 17771 h 1467600"/>
                  <a:gd name="connsiteX3" fmla="*/ 1260704 w 1886234"/>
                  <a:gd name="connsiteY3" fmla="*/ 50836 h 1467600"/>
                  <a:gd name="connsiteX4" fmla="*/ 1300347 w 1886234"/>
                  <a:gd name="connsiteY4" fmla="*/ 83465 h 1467600"/>
                  <a:gd name="connsiteX5" fmla="*/ 1343025 w 1886234"/>
                  <a:gd name="connsiteY5" fmla="*/ 83465 h 1467600"/>
                  <a:gd name="connsiteX6" fmla="*/ 1366775 w 1886234"/>
                  <a:gd name="connsiteY6" fmla="*/ 68607 h 1467600"/>
                  <a:gd name="connsiteX7" fmla="*/ 1424274 w 1886234"/>
                  <a:gd name="connsiteY7" fmla="*/ 86815 h 1467600"/>
                  <a:gd name="connsiteX8" fmla="*/ 1526059 w 1886234"/>
                  <a:gd name="connsiteY8" fmla="*/ 161540 h 1467600"/>
                  <a:gd name="connsiteX9" fmla="*/ 1604451 w 1886234"/>
                  <a:gd name="connsiteY9" fmla="*/ 168823 h 1467600"/>
                  <a:gd name="connsiteX10" fmla="*/ 1657486 w 1886234"/>
                  <a:gd name="connsiteY10" fmla="*/ 222719 h 1467600"/>
                  <a:gd name="connsiteX11" fmla="*/ 1671950 w 1886234"/>
                  <a:gd name="connsiteY11" fmla="*/ 258260 h 1467600"/>
                  <a:gd name="connsiteX12" fmla="*/ 1689986 w 1886234"/>
                  <a:gd name="connsiteY12" fmla="*/ 273118 h 1467600"/>
                  <a:gd name="connsiteX13" fmla="*/ 1787664 w 1886234"/>
                  <a:gd name="connsiteY13" fmla="*/ 242529 h 1467600"/>
                  <a:gd name="connsiteX14" fmla="*/ 1876948 w 1886234"/>
                  <a:gd name="connsiteY14" fmla="*/ 313030 h 1467600"/>
                  <a:gd name="connsiteX15" fmla="*/ 1886234 w 1886234"/>
                  <a:gd name="connsiteY15" fmla="*/ 335753 h 1467600"/>
                  <a:gd name="connsiteX16" fmla="*/ 1875163 w 1886234"/>
                  <a:gd name="connsiteY16" fmla="*/ 371877 h 1467600"/>
                  <a:gd name="connsiteX17" fmla="*/ 1841949 w 1886234"/>
                  <a:gd name="connsiteY17" fmla="*/ 424025 h 1467600"/>
                  <a:gd name="connsiteX18" fmla="*/ 1787664 w 1886234"/>
                  <a:gd name="connsiteY18" fmla="*/ 459129 h 1467600"/>
                  <a:gd name="connsiteX19" fmla="*/ 1780878 w 1886234"/>
                  <a:gd name="connsiteY19" fmla="*/ 491612 h 1467600"/>
                  <a:gd name="connsiteX20" fmla="*/ 1789806 w 1886234"/>
                  <a:gd name="connsiteY20" fmla="*/ 530067 h 1467600"/>
                  <a:gd name="connsiteX21" fmla="*/ 1794628 w 1886234"/>
                  <a:gd name="connsiteY21" fmla="*/ 563278 h 1467600"/>
                  <a:gd name="connsiteX22" fmla="*/ 1839627 w 1886234"/>
                  <a:gd name="connsiteY22" fmla="*/ 605229 h 1467600"/>
                  <a:gd name="connsiteX23" fmla="*/ 1824538 w 1886234"/>
                  <a:gd name="connsiteY23" fmla="*/ 629045 h 1467600"/>
                  <a:gd name="connsiteX24" fmla="*/ 1816725 w 1886234"/>
                  <a:gd name="connsiteY24" fmla="*/ 639191 h 1467600"/>
                  <a:gd name="connsiteX25" fmla="*/ 1815565 w 1886234"/>
                  <a:gd name="connsiteY25" fmla="*/ 638531 h 1467600"/>
                  <a:gd name="connsiteX26" fmla="*/ 1760400 w 1886234"/>
                  <a:gd name="connsiteY26" fmla="*/ 640913 h 1467600"/>
                  <a:gd name="connsiteX27" fmla="*/ 1694358 w 1886234"/>
                  <a:gd name="connsiteY27" fmla="*/ 669385 h 1467600"/>
                  <a:gd name="connsiteX28" fmla="*/ 1702681 w 1886234"/>
                  <a:gd name="connsiteY28" fmla="*/ 702689 h 1467600"/>
                  <a:gd name="connsiteX29" fmla="*/ 1717933 w 1886234"/>
                  <a:gd name="connsiteY29" fmla="*/ 760702 h 1467600"/>
                  <a:gd name="connsiteX30" fmla="*/ 1691639 w 1886234"/>
                  <a:gd name="connsiteY30" fmla="*/ 781375 h 1467600"/>
                  <a:gd name="connsiteX31" fmla="*/ 1695538 w 1886234"/>
                  <a:gd name="connsiteY31" fmla="*/ 807845 h 1467600"/>
                  <a:gd name="connsiteX32" fmla="*/ 1710790 w 1886234"/>
                  <a:gd name="connsiteY32" fmla="*/ 883908 h 1467600"/>
                  <a:gd name="connsiteX33" fmla="*/ 1676488 w 1886234"/>
                  <a:gd name="connsiteY33" fmla="*/ 910447 h 1467600"/>
                  <a:gd name="connsiteX34" fmla="*/ 1646402 w 1886234"/>
                  <a:gd name="connsiteY34" fmla="*/ 1006527 h 1467600"/>
                  <a:gd name="connsiteX35" fmla="*/ 1605057 w 1886234"/>
                  <a:gd name="connsiteY35" fmla="*/ 1029201 h 1467600"/>
                  <a:gd name="connsiteX36" fmla="*/ 1558389 w 1886234"/>
                  <a:gd name="connsiteY36" fmla="*/ 1017502 h 1467600"/>
                  <a:gd name="connsiteX37" fmla="*/ 1529253 w 1886234"/>
                  <a:gd name="connsiteY37" fmla="*/ 1045974 h 1467600"/>
                  <a:gd name="connsiteX38" fmla="*/ 1521483 w 1886234"/>
                  <a:gd name="connsiteY38" fmla="*/ 1115066 h 1467600"/>
                  <a:gd name="connsiteX39" fmla="*/ 1524673 w 1886234"/>
                  <a:gd name="connsiteY39" fmla="*/ 1117696 h 1467600"/>
                  <a:gd name="connsiteX40" fmla="*/ 1541171 w 1886234"/>
                  <a:gd name="connsiteY40" fmla="*/ 1103206 h 1467600"/>
                  <a:gd name="connsiteX41" fmla="*/ 1513611 w 1886234"/>
                  <a:gd name="connsiteY41" fmla="*/ 1093112 h 1467600"/>
                  <a:gd name="connsiteX42" fmla="*/ 1505465 w 1886234"/>
                  <a:gd name="connsiteY42" fmla="*/ 1115764 h 1467600"/>
                  <a:gd name="connsiteX43" fmla="*/ 1555236 w 1886234"/>
                  <a:gd name="connsiteY43" fmla="*/ 1135071 h 1467600"/>
                  <a:gd name="connsiteX44" fmla="*/ 1483920 w 1886234"/>
                  <a:gd name="connsiteY44" fmla="*/ 1085549 h 1467600"/>
                  <a:gd name="connsiteX45" fmla="*/ 1497665 w 1886234"/>
                  <a:gd name="connsiteY45" fmla="*/ 1101445 h 1467600"/>
                  <a:gd name="connsiteX46" fmla="*/ 1532421 w 1886234"/>
                  <a:gd name="connsiteY46" fmla="*/ 1107517 h 1467600"/>
                  <a:gd name="connsiteX47" fmla="*/ 1520799 w 1886234"/>
                  <a:gd name="connsiteY47" fmla="*/ 1104660 h 1467600"/>
                  <a:gd name="connsiteX48" fmla="*/ 1519516 w 1886234"/>
                  <a:gd name="connsiteY48" fmla="*/ 1140989 h 1467600"/>
                  <a:gd name="connsiteX49" fmla="*/ 1470251 w 1886234"/>
                  <a:gd name="connsiteY49" fmla="*/ 1279972 h 1467600"/>
                  <a:gd name="connsiteX50" fmla="*/ 1325281 w 1886234"/>
                  <a:gd name="connsiteY50" fmla="*/ 1339176 h 1467600"/>
                  <a:gd name="connsiteX51" fmla="*/ 1203329 w 1886234"/>
                  <a:gd name="connsiteY51" fmla="*/ 1330779 h 1467600"/>
                  <a:gd name="connsiteX52" fmla="*/ 1061186 w 1886234"/>
                  <a:gd name="connsiteY52" fmla="*/ 1393762 h 1467600"/>
                  <a:gd name="connsiteX53" fmla="*/ 1064423 w 1886234"/>
                  <a:gd name="connsiteY53" fmla="*/ 1397621 h 1467600"/>
                  <a:gd name="connsiteX54" fmla="*/ 1015390 w 1886234"/>
                  <a:gd name="connsiteY54" fmla="*/ 1414681 h 1467600"/>
                  <a:gd name="connsiteX55" fmla="*/ 925727 w 1886234"/>
                  <a:gd name="connsiteY55" fmla="*/ 1425739 h 1467600"/>
                  <a:gd name="connsiteX56" fmla="*/ 904919 w 1886234"/>
                  <a:gd name="connsiteY56" fmla="*/ 1459702 h 1467600"/>
                  <a:gd name="connsiteX57" fmla="*/ 836442 w 1886234"/>
                  <a:gd name="connsiteY57" fmla="*/ 1467600 h 1467600"/>
                  <a:gd name="connsiteX58" fmla="*/ 815256 w 1886234"/>
                  <a:gd name="connsiteY58" fmla="*/ 1444300 h 1467600"/>
                  <a:gd name="connsiteX59" fmla="*/ 821310 w 1886234"/>
                  <a:gd name="connsiteY59" fmla="*/ 1419420 h 1467600"/>
                  <a:gd name="connsiteX60" fmla="*/ 779316 w 1886234"/>
                  <a:gd name="connsiteY60" fmla="*/ 1374400 h 1467600"/>
                  <a:gd name="connsiteX61" fmla="*/ 764561 w 1886234"/>
                  <a:gd name="connsiteY61" fmla="*/ 1344782 h 1467600"/>
                  <a:gd name="connsiteX62" fmla="*/ 792935 w 1886234"/>
                  <a:gd name="connsiteY62" fmla="*/ 1243684 h 1467600"/>
                  <a:gd name="connsiteX63" fmla="*/ 785747 w 1886234"/>
                  <a:gd name="connsiteY63" fmla="*/ 1214065 h 1467600"/>
                  <a:gd name="connsiteX64" fmla="*/ 743753 w 1886234"/>
                  <a:gd name="connsiteY64" fmla="*/ 1209326 h 1467600"/>
                  <a:gd name="connsiteX65" fmla="*/ 718405 w 1886234"/>
                  <a:gd name="connsiteY65" fmla="*/ 1191160 h 1467600"/>
                  <a:gd name="connsiteX66" fmla="*/ 690031 w 1886234"/>
                  <a:gd name="connsiteY66" fmla="*/ 1105069 h 1467600"/>
                  <a:gd name="connsiteX67" fmla="*/ 707812 w 1886234"/>
                  <a:gd name="connsiteY67" fmla="*/ 1075845 h 1467600"/>
                  <a:gd name="connsiteX68" fmla="*/ 682843 w 1886234"/>
                  <a:gd name="connsiteY68" fmla="*/ 1027271 h 1467600"/>
                  <a:gd name="connsiteX69" fmla="*/ 693058 w 1886234"/>
                  <a:gd name="connsiteY69" fmla="*/ 1001207 h 1467600"/>
                  <a:gd name="connsiteX70" fmla="*/ 672628 w 1886234"/>
                  <a:gd name="connsiteY70" fmla="*/ 971588 h 1467600"/>
                  <a:gd name="connsiteX71" fmla="*/ 606421 w 1886234"/>
                  <a:gd name="connsiteY71" fmla="*/ 947893 h 1467600"/>
                  <a:gd name="connsiteX72" fmla="*/ 557617 w 1886234"/>
                  <a:gd name="connsiteY72" fmla="*/ 982251 h 1467600"/>
                  <a:gd name="connsiteX73" fmla="*/ 460388 w 1886234"/>
                  <a:gd name="connsiteY73" fmla="*/ 974747 h 1467600"/>
                  <a:gd name="connsiteX74" fmla="*/ 424826 w 1886234"/>
                  <a:gd name="connsiteY74" fmla="*/ 996468 h 1467600"/>
                  <a:gd name="connsiteX75" fmla="*/ 363915 w 1886234"/>
                  <a:gd name="connsiteY75" fmla="*/ 982251 h 1467600"/>
                  <a:gd name="connsiteX76" fmla="*/ 363915 w 1886234"/>
                  <a:gd name="connsiteY76" fmla="*/ 956187 h 1467600"/>
                  <a:gd name="connsiteX77" fmla="*/ 350296 w 1886234"/>
                  <a:gd name="connsiteY77" fmla="*/ 929332 h 1467600"/>
                  <a:gd name="connsiteX78" fmla="*/ 245500 w 1886234"/>
                  <a:gd name="connsiteY78" fmla="*/ 934071 h 1467600"/>
                  <a:gd name="connsiteX79" fmla="*/ 166430 w 1886234"/>
                  <a:gd name="connsiteY79" fmla="*/ 907612 h 1467600"/>
                  <a:gd name="connsiteX80" fmla="*/ 96062 w 1886234"/>
                  <a:gd name="connsiteY80" fmla="*/ 947104 h 1467600"/>
                  <a:gd name="connsiteX81" fmla="*/ 95305 w 1886234"/>
                  <a:gd name="connsiteY81" fmla="*/ 963690 h 1467600"/>
                  <a:gd name="connsiteX82" fmla="*/ 85607 w 1886234"/>
                  <a:gd name="connsiteY82" fmla="*/ 970956 h 1467600"/>
                  <a:gd name="connsiteX83" fmla="*/ 85781 w 1886234"/>
                  <a:gd name="connsiteY83" fmla="*/ 969934 h 1467600"/>
                  <a:gd name="connsiteX84" fmla="*/ 86710 w 1886234"/>
                  <a:gd name="connsiteY84" fmla="*/ 966125 h 1467600"/>
                  <a:gd name="connsiteX85" fmla="*/ 82636 w 1886234"/>
                  <a:gd name="connsiteY85" fmla="*/ 972035 h 1467600"/>
                  <a:gd name="connsiteX86" fmla="*/ 83156 w 1886234"/>
                  <a:gd name="connsiteY86" fmla="*/ 965641 h 1467600"/>
                  <a:gd name="connsiteX87" fmla="*/ 94202 w 1886234"/>
                  <a:gd name="connsiteY87" fmla="*/ 843513 h 1467600"/>
                  <a:gd name="connsiteX88" fmla="*/ 130217 w 1886234"/>
                  <a:gd name="connsiteY88" fmla="*/ 826778 h 1467600"/>
                  <a:gd name="connsiteX89" fmla="*/ 141856 w 1886234"/>
                  <a:gd name="connsiteY89" fmla="*/ 802794 h 1467600"/>
                  <a:gd name="connsiteX90" fmla="*/ 199456 w 1886234"/>
                  <a:gd name="connsiteY90" fmla="*/ 792952 h 1467600"/>
                  <a:gd name="connsiteX91" fmla="*/ 156143 w 1886234"/>
                  <a:gd name="connsiteY91" fmla="*/ 800412 h 1467600"/>
                  <a:gd name="connsiteX92" fmla="*/ 165503 w 1886234"/>
                  <a:gd name="connsiteY92" fmla="*/ 791347 h 1467600"/>
                  <a:gd name="connsiteX93" fmla="*/ 2 w 1886234"/>
                  <a:gd name="connsiteY93" fmla="*/ 740987 h 1467600"/>
                  <a:gd name="connsiteX94" fmla="*/ 160000 w 1886234"/>
                  <a:gd name="connsiteY94" fmla="*/ 803768 h 1467600"/>
                  <a:gd name="connsiteX95" fmla="*/ 210178 w 1886234"/>
                  <a:gd name="connsiteY95" fmla="*/ 729043 h 1467600"/>
                  <a:gd name="connsiteX96" fmla="*/ 340177 w 1886234"/>
                  <a:gd name="connsiteY96" fmla="*/ 703989 h 1467600"/>
                  <a:gd name="connsiteX97" fmla="*/ 365534 w 1886234"/>
                  <a:gd name="connsiteY97" fmla="*/ 716953 h 1467600"/>
                  <a:gd name="connsiteX98" fmla="*/ 410712 w 1886234"/>
                  <a:gd name="connsiteY98" fmla="*/ 678206 h 1467600"/>
                  <a:gd name="connsiteX99" fmla="*/ 532140 w 1886234"/>
                  <a:gd name="connsiteY99" fmla="*/ 685781 h 1467600"/>
                  <a:gd name="connsiteX100" fmla="*/ 609996 w 1886234"/>
                  <a:gd name="connsiteY100" fmla="*/ 693064 h 1467600"/>
                  <a:gd name="connsiteX101" fmla="*/ 691067 w 1886234"/>
                  <a:gd name="connsiteY101" fmla="*/ 627370 h 1467600"/>
                  <a:gd name="connsiteX102" fmla="*/ 694102 w 1886234"/>
                  <a:gd name="connsiteY102" fmla="*/ 545507 h 1467600"/>
                  <a:gd name="connsiteX103" fmla="*/ 666424 w 1886234"/>
                  <a:gd name="connsiteY103" fmla="*/ 531815 h 1467600"/>
                  <a:gd name="connsiteX104" fmla="*/ 663031 w 1886234"/>
                  <a:gd name="connsiteY104" fmla="*/ 516958 h 1467600"/>
                  <a:gd name="connsiteX105" fmla="*/ 716245 w 1886234"/>
                  <a:gd name="connsiteY105" fmla="*/ 435095 h 1467600"/>
                  <a:gd name="connsiteX106" fmla="*/ 698567 w 1886234"/>
                  <a:gd name="connsiteY106" fmla="*/ 383822 h 1467600"/>
                  <a:gd name="connsiteX107" fmla="*/ 680888 w 1886234"/>
                  <a:gd name="connsiteY107" fmla="*/ 366051 h 1467600"/>
                  <a:gd name="connsiteX108" fmla="*/ 694102 w 1886234"/>
                  <a:gd name="connsiteY108" fmla="*/ 280692 h 1467600"/>
                  <a:gd name="connsiteX109" fmla="*/ 769459 w 1886234"/>
                  <a:gd name="connsiteY109" fmla="*/ 255638 h 1467600"/>
                  <a:gd name="connsiteX110" fmla="*/ 769459 w 1886234"/>
                  <a:gd name="connsiteY110" fmla="*/ 212085 h 1467600"/>
                  <a:gd name="connsiteX111" fmla="*/ 764995 w 1886234"/>
                  <a:gd name="connsiteY111" fmla="*/ 173339 h 1467600"/>
                  <a:gd name="connsiteX112" fmla="*/ 776423 w 1886234"/>
                  <a:gd name="connsiteY112" fmla="*/ 119444 h 1467600"/>
                  <a:gd name="connsiteX113" fmla="*/ 822494 w 1886234"/>
                  <a:gd name="connsiteY113" fmla="*/ 107354 h 1467600"/>
                  <a:gd name="connsiteX114" fmla="*/ 825530 w 1886234"/>
                  <a:gd name="connsiteY114" fmla="*/ 68607 h 1467600"/>
                  <a:gd name="connsiteX115" fmla="*/ 850172 w 1886234"/>
                  <a:gd name="connsiteY115" fmla="*/ 68607 h 1467600"/>
                  <a:gd name="connsiteX116" fmla="*/ 871065 w 1886234"/>
                  <a:gd name="connsiteY116" fmla="*/ 101673 h 1467600"/>
                  <a:gd name="connsiteX117" fmla="*/ 910886 w 1886234"/>
                  <a:gd name="connsiteY117" fmla="*/ 101673 h 1467600"/>
                  <a:gd name="connsiteX118" fmla="*/ 906422 w 1886234"/>
                  <a:gd name="connsiteY118" fmla="*/ 147994 h 1467600"/>
                  <a:gd name="connsiteX119" fmla="*/ 989100 w 1886234"/>
                  <a:gd name="connsiteY119" fmla="*/ 119444 h 1467600"/>
                  <a:gd name="connsiteX120" fmla="*/ 1176598 w 1886234"/>
                  <a:gd name="connsiteY120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72600 w 1803598"/>
                  <a:gd name="connsiteY43" fmla="*/ 1135071 h 1467600"/>
                  <a:gd name="connsiteX44" fmla="*/ 1401284 w 1803598"/>
                  <a:gd name="connsiteY44" fmla="*/ 1085549 h 1467600"/>
                  <a:gd name="connsiteX45" fmla="*/ 1415029 w 1803598"/>
                  <a:gd name="connsiteY45" fmla="*/ 1101445 h 1467600"/>
                  <a:gd name="connsiteX46" fmla="*/ 1449785 w 1803598"/>
                  <a:gd name="connsiteY46" fmla="*/ 1107517 h 1467600"/>
                  <a:gd name="connsiteX47" fmla="*/ 1438163 w 1803598"/>
                  <a:gd name="connsiteY47" fmla="*/ 1104660 h 1467600"/>
                  <a:gd name="connsiteX48" fmla="*/ 1436880 w 1803598"/>
                  <a:gd name="connsiteY48" fmla="*/ 1140989 h 1467600"/>
                  <a:gd name="connsiteX49" fmla="*/ 1387615 w 1803598"/>
                  <a:gd name="connsiteY49" fmla="*/ 1279972 h 1467600"/>
                  <a:gd name="connsiteX50" fmla="*/ 1242645 w 1803598"/>
                  <a:gd name="connsiteY50" fmla="*/ 1339176 h 1467600"/>
                  <a:gd name="connsiteX51" fmla="*/ 1120693 w 1803598"/>
                  <a:gd name="connsiteY51" fmla="*/ 1330779 h 1467600"/>
                  <a:gd name="connsiteX52" fmla="*/ 978550 w 1803598"/>
                  <a:gd name="connsiteY52" fmla="*/ 1393762 h 1467600"/>
                  <a:gd name="connsiteX53" fmla="*/ 981787 w 1803598"/>
                  <a:gd name="connsiteY53" fmla="*/ 1397621 h 1467600"/>
                  <a:gd name="connsiteX54" fmla="*/ 932754 w 1803598"/>
                  <a:gd name="connsiteY54" fmla="*/ 1414681 h 1467600"/>
                  <a:gd name="connsiteX55" fmla="*/ 843091 w 1803598"/>
                  <a:gd name="connsiteY55" fmla="*/ 1425739 h 1467600"/>
                  <a:gd name="connsiteX56" fmla="*/ 822283 w 1803598"/>
                  <a:gd name="connsiteY56" fmla="*/ 1459702 h 1467600"/>
                  <a:gd name="connsiteX57" fmla="*/ 753806 w 1803598"/>
                  <a:gd name="connsiteY57" fmla="*/ 1467600 h 1467600"/>
                  <a:gd name="connsiteX58" fmla="*/ 732620 w 1803598"/>
                  <a:gd name="connsiteY58" fmla="*/ 1444300 h 1467600"/>
                  <a:gd name="connsiteX59" fmla="*/ 738674 w 1803598"/>
                  <a:gd name="connsiteY59" fmla="*/ 1419420 h 1467600"/>
                  <a:gd name="connsiteX60" fmla="*/ 696680 w 1803598"/>
                  <a:gd name="connsiteY60" fmla="*/ 1374400 h 1467600"/>
                  <a:gd name="connsiteX61" fmla="*/ 681925 w 1803598"/>
                  <a:gd name="connsiteY61" fmla="*/ 1344782 h 1467600"/>
                  <a:gd name="connsiteX62" fmla="*/ 710299 w 1803598"/>
                  <a:gd name="connsiteY62" fmla="*/ 1243684 h 1467600"/>
                  <a:gd name="connsiteX63" fmla="*/ 703111 w 1803598"/>
                  <a:gd name="connsiteY63" fmla="*/ 1214065 h 1467600"/>
                  <a:gd name="connsiteX64" fmla="*/ 661117 w 1803598"/>
                  <a:gd name="connsiteY64" fmla="*/ 1209326 h 1467600"/>
                  <a:gd name="connsiteX65" fmla="*/ 635769 w 1803598"/>
                  <a:gd name="connsiteY65" fmla="*/ 1191160 h 1467600"/>
                  <a:gd name="connsiteX66" fmla="*/ 607395 w 1803598"/>
                  <a:gd name="connsiteY66" fmla="*/ 1105069 h 1467600"/>
                  <a:gd name="connsiteX67" fmla="*/ 625176 w 1803598"/>
                  <a:gd name="connsiteY67" fmla="*/ 1075845 h 1467600"/>
                  <a:gd name="connsiteX68" fmla="*/ 600207 w 1803598"/>
                  <a:gd name="connsiteY68" fmla="*/ 1027271 h 1467600"/>
                  <a:gd name="connsiteX69" fmla="*/ 610422 w 1803598"/>
                  <a:gd name="connsiteY69" fmla="*/ 1001207 h 1467600"/>
                  <a:gd name="connsiteX70" fmla="*/ 589992 w 1803598"/>
                  <a:gd name="connsiteY70" fmla="*/ 971588 h 1467600"/>
                  <a:gd name="connsiteX71" fmla="*/ 523785 w 1803598"/>
                  <a:gd name="connsiteY71" fmla="*/ 947893 h 1467600"/>
                  <a:gd name="connsiteX72" fmla="*/ 474981 w 1803598"/>
                  <a:gd name="connsiteY72" fmla="*/ 982251 h 1467600"/>
                  <a:gd name="connsiteX73" fmla="*/ 377752 w 1803598"/>
                  <a:gd name="connsiteY73" fmla="*/ 974747 h 1467600"/>
                  <a:gd name="connsiteX74" fmla="*/ 342190 w 1803598"/>
                  <a:gd name="connsiteY74" fmla="*/ 996468 h 1467600"/>
                  <a:gd name="connsiteX75" fmla="*/ 281279 w 1803598"/>
                  <a:gd name="connsiteY75" fmla="*/ 982251 h 1467600"/>
                  <a:gd name="connsiteX76" fmla="*/ 281279 w 1803598"/>
                  <a:gd name="connsiteY76" fmla="*/ 956187 h 1467600"/>
                  <a:gd name="connsiteX77" fmla="*/ 267660 w 1803598"/>
                  <a:gd name="connsiteY77" fmla="*/ 929332 h 1467600"/>
                  <a:gd name="connsiteX78" fmla="*/ 162864 w 1803598"/>
                  <a:gd name="connsiteY78" fmla="*/ 934071 h 1467600"/>
                  <a:gd name="connsiteX79" fmla="*/ 83794 w 1803598"/>
                  <a:gd name="connsiteY79" fmla="*/ 907612 h 1467600"/>
                  <a:gd name="connsiteX80" fmla="*/ 13426 w 1803598"/>
                  <a:gd name="connsiteY80" fmla="*/ 947104 h 1467600"/>
                  <a:gd name="connsiteX81" fmla="*/ 12669 w 1803598"/>
                  <a:gd name="connsiteY81" fmla="*/ 963690 h 1467600"/>
                  <a:gd name="connsiteX82" fmla="*/ 2971 w 1803598"/>
                  <a:gd name="connsiteY82" fmla="*/ 970956 h 1467600"/>
                  <a:gd name="connsiteX83" fmla="*/ 3145 w 1803598"/>
                  <a:gd name="connsiteY83" fmla="*/ 969934 h 1467600"/>
                  <a:gd name="connsiteX84" fmla="*/ 4074 w 1803598"/>
                  <a:gd name="connsiteY84" fmla="*/ 966125 h 1467600"/>
                  <a:gd name="connsiteX85" fmla="*/ 0 w 1803598"/>
                  <a:gd name="connsiteY85" fmla="*/ 972035 h 1467600"/>
                  <a:gd name="connsiteX86" fmla="*/ 520 w 1803598"/>
                  <a:gd name="connsiteY86" fmla="*/ 965641 h 1467600"/>
                  <a:gd name="connsiteX87" fmla="*/ 11566 w 1803598"/>
                  <a:gd name="connsiteY87" fmla="*/ 843513 h 1467600"/>
                  <a:gd name="connsiteX88" fmla="*/ 47581 w 1803598"/>
                  <a:gd name="connsiteY88" fmla="*/ 826778 h 1467600"/>
                  <a:gd name="connsiteX89" fmla="*/ 59220 w 1803598"/>
                  <a:gd name="connsiteY89" fmla="*/ 802794 h 1467600"/>
                  <a:gd name="connsiteX90" fmla="*/ 116820 w 1803598"/>
                  <a:gd name="connsiteY90" fmla="*/ 792952 h 1467600"/>
                  <a:gd name="connsiteX91" fmla="*/ 73507 w 1803598"/>
                  <a:gd name="connsiteY91" fmla="*/ 800412 h 1467600"/>
                  <a:gd name="connsiteX92" fmla="*/ 82867 w 1803598"/>
                  <a:gd name="connsiteY92" fmla="*/ 791347 h 1467600"/>
                  <a:gd name="connsiteX93" fmla="*/ 77364 w 1803598"/>
                  <a:gd name="connsiteY93" fmla="*/ 803768 h 1467600"/>
                  <a:gd name="connsiteX94" fmla="*/ 127542 w 1803598"/>
                  <a:gd name="connsiteY94" fmla="*/ 729043 h 1467600"/>
                  <a:gd name="connsiteX95" fmla="*/ 257541 w 1803598"/>
                  <a:gd name="connsiteY95" fmla="*/ 703989 h 1467600"/>
                  <a:gd name="connsiteX96" fmla="*/ 282898 w 1803598"/>
                  <a:gd name="connsiteY96" fmla="*/ 716953 h 1467600"/>
                  <a:gd name="connsiteX97" fmla="*/ 328076 w 1803598"/>
                  <a:gd name="connsiteY97" fmla="*/ 678206 h 1467600"/>
                  <a:gd name="connsiteX98" fmla="*/ 449504 w 1803598"/>
                  <a:gd name="connsiteY98" fmla="*/ 685781 h 1467600"/>
                  <a:gd name="connsiteX99" fmla="*/ 527360 w 1803598"/>
                  <a:gd name="connsiteY99" fmla="*/ 693064 h 1467600"/>
                  <a:gd name="connsiteX100" fmla="*/ 608431 w 1803598"/>
                  <a:gd name="connsiteY100" fmla="*/ 627370 h 1467600"/>
                  <a:gd name="connsiteX101" fmla="*/ 611466 w 1803598"/>
                  <a:gd name="connsiteY101" fmla="*/ 545507 h 1467600"/>
                  <a:gd name="connsiteX102" fmla="*/ 583788 w 1803598"/>
                  <a:gd name="connsiteY102" fmla="*/ 531815 h 1467600"/>
                  <a:gd name="connsiteX103" fmla="*/ 580395 w 1803598"/>
                  <a:gd name="connsiteY103" fmla="*/ 516958 h 1467600"/>
                  <a:gd name="connsiteX104" fmla="*/ 633609 w 1803598"/>
                  <a:gd name="connsiteY104" fmla="*/ 435095 h 1467600"/>
                  <a:gd name="connsiteX105" fmla="*/ 615931 w 1803598"/>
                  <a:gd name="connsiteY105" fmla="*/ 383822 h 1467600"/>
                  <a:gd name="connsiteX106" fmla="*/ 598252 w 1803598"/>
                  <a:gd name="connsiteY106" fmla="*/ 366051 h 1467600"/>
                  <a:gd name="connsiteX107" fmla="*/ 611466 w 1803598"/>
                  <a:gd name="connsiteY107" fmla="*/ 280692 h 1467600"/>
                  <a:gd name="connsiteX108" fmla="*/ 686823 w 1803598"/>
                  <a:gd name="connsiteY108" fmla="*/ 255638 h 1467600"/>
                  <a:gd name="connsiteX109" fmla="*/ 686823 w 1803598"/>
                  <a:gd name="connsiteY109" fmla="*/ 212085 h 1467600"/>
                  <a:gd name="connsiteX110" fmla="*/ 682359 w 1803598"/>
                  <a:gd name="connsiteY110" fmla="*/ 173339 h 1467600"/>
                  <a:gd name="connsiteX111" fmla="*/ 693787 w 1803598"/>
                  <a:gd name="connsiteY111" fmla="*/ 119444 h 1467600"/>
                  <a:gd name="connsiteX112" fmla="*/ 739858 w 1803598"/>
                  <a:gd name="connsiteY112" fmla="*/ 107354 h 1467600"/>
                  <a:gd name="connsiteX113" fmla="*/ 742894 w 1803598"/>
                  <a:gd name="connsiteY113" fmla="*/ 68607 h 1467600"/>
                  <a:gd name="connsiteX114" fmla="*/ 767536 w 1803598"/>
                  <a:gd name="connsiteY114" fmla="*/ 68607 h 1467600"/>
                  <a:gd name="connsiteX115" fmla="*/ 788429 w 1803598"/>
                  <a:gd name="connsiteY115" fmla="*/ 101673 h 1467600"/>
                  <a:gd name="connsiteX116" fmla="*/ 828250 w 1803598"/>
                  <a:gd name="connsiteY116" fmla="*/ 101673 h 1467600"/>
                  <a:gd name="connsiteX117" fmla="*/ 823786 w 1803598"/>
                  <a:gd name="connsiteY117" fmla="*/ 147994 h 1467600"/>
                  <a:gd name="connsiteX118" fmla="*/ 906464 w 1803598"/>
                  <a:gd name="connsiteY118" fmla="*/ 119444 h 1467600"/>
                  <a:gd name="connsiteX119" fmla="*/ 1093962 w 1803598"/>
                  <a:gd name="connsiteY119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72600 w 1803598"/>
                  <a:gd name="connsiteY43" fmla="*/ 1135071 h 1467600"/>
                  <a:gd name="connsiteX44" fmla="*/ 1401284 w 1803598"/>
                  <a:gd name="connsiteY44" fmla="*/ 1085549 h 1467600"/>
                  <a:gd name="connsiteX45" fmla="*/ 1415029 w 1803598"/>
                  <a:gd name="connsiteY45" fmla="*/ 1101445 h 1467600"/>
                  <a:gd name="connsiteX46" fmla="*/ 1449785 w 1803598"/>
                  <a:gd name="connsiteY46" fmla="*/ 1107517 h 1467600"/>
                  <a:gd name="connsiteX47" fmla="*/ 1438163 w 1803598"/>
                  <a:gd name="connsiteY47" fmla="*/ 1104660 h 1467600"/>
                  <a:gd name="connsiteX48" fmla="*/ 1436880 w 1803598"/>
                  <a:gd name="connsiteY48" fmla="*/ 1140989 h 1467600"/>
                  <a:gd name="connsiteX49" fmla="*/ 1387615 w 1803598"/>
                  <a:gd name="connsiteY49" fmla="*/ 1279972 h 1467600"/>
                  <a:gd name="connsiteX50" fmla="*/ 1242645 w 1803598"/>
                  <a:gd name="connsiteY50" fmla="*/ 1339176 h 1467600"/>
                  <a:gd name="connsiteX51" fmla="*/ 1120693 w 1803598"/>
                  <a:gd name="connsiteY51" fmla="*/ 1330779 h 1467600"/>
                  <a:gd name="connsiteX52" fmla="*/ 978550 w 1803598"/>
                  <a:gd name="connsiteY52" fmla="*/ 1393762 h 1467600"/>
                  <a:gd name="connsiteX53" fmla="*/ 981787 w 1803598"/>
                  <a:gd name="connsiteY53" fmla="*/ 1397621 h 1467600"/>
                  <a:gd name="connsiteX54" fmla="*/ 932754 w 1803598"/>
                  <a:gd name="connsiteY54" fmla="*/ 1414681 h 1467600"/>
                  <a:gd name="connsiteX55" fmla="*/ 843091 w 1803598"/>
                  <a:gd name="connsiteY55" fmla="*/ 1425739 h 1467600"/>
                  <a:gd name="connsiteX56" fmla="*/ 822283 w 1803598"/>
                  <a:gd name="connsiteY56" fmla="*/ 1459702 h 1467600"/>
                  <a:gd name="connsiteX57" fmla="*/ 753806 w 1803598"/>
                  <a:gd name="connsiteY57" fmla="*/ 1467600 h 1467600"/>
                  <a:gd name="connsiteX58" fmla="*/ 732620 w 1803598"/>
                  <a:gd name="connsiteY58" fmla="*/ 1444300 h 1467600"/>
                  <a:gd name="connsiteX59" fmla="*/ 738674 w 1803598"/>
                  <a:gd name="connsiteY59" fmla="*/ 1419420 h 1467600"/>
                  <a:gd name="connsiteX60" fmla="*/ 696680 w 1803598"/>
                  <a:gd name="connsiteY60" fmla="*/ 1374400 h 1467600"/>
                  <a:gd name="connsiteX61" fmla="*/ 681925 w 1803598"/>
                  <a:gd name="connsiteY61" fmla="*/ 1344782 h 1467600"/>
                  <a:gd name="connsiteX62" fmla="*/ 710299 w 1803598"/>
                  <a:gd name="connsiteY62" fmla="*/ 1243684 h 1467600"/>
                  <a:gd name="connsiteX63" fmla="*/ 703111 w 1803598"/>
                  <a:gd name="connsiteY63" fmla="*/ 1214065 h 1467600"/>
                  <a:gd name="connsiteX64" fmla="*/ 661117 w 1803598"/>
                  <a:gd name="connsiteY64" fmla="*/ 1209326 h 1467600"/>
                  <a:gd name="connsiteX65" fmla="*/ 635769 w 1803598"/>
                  <a:gd name="connsiteY65" fmla="*/ 1191160 h 1467600"/>
                  <a:gd name="connsiteX66" fmla="*/ 607395 w 1803598"/>
                  <a:gd name="connsiteY66" fmla="*/ 1105069 h 1467600"/>
                  <a:gd name="connsiteX67" fmla="*/ 625176 w 1803598"/>
                  <a:gd name="connsiteY67" fmla="*/ 1075845 h 1467600"/>
                  <a:gd name="connsiteX68" fmla="*/ 600207 w 1803598"/>
                  <a:gd name="connsiteY68" fmla="*/ 1027271 h 1467600"/>
                  <a:gd name="connsiteX69" fmla="*/ 610422 w 1803598"/>
                  <a:gd name="connsiteY69" fmla="*/ 1001207 h 1467600"/>
                  <a:gd name="connsiteX70" fmla="*/ 589992 w 1803598"/>
                  <a:gd name="connsiteY70" fmla="*/ 971588 h 1467600"/>
                  <a:gd name="connsiteX71" fmla="*/ 523785 w 1803598"/>
                  <a:gd name="connsiteY71" fmla="*/ 947893 h 1467600"/>
                  <a:gd name="connsiteX72" fmla="*/ 474981 w 1803598"/>
                  <a:gd name="connsiteY72" fmla="*/ 982251 h 1467600"/>
                  <a:gd name="connsiteX73" fmla="*/ 377752 w 1803598"/>
                  <a:gd name="connsiteY73" fmla="*/ 974747 h 1467600"/>
                  <a:gd name="connsiteX74" fmla="*/ 342190 w 1803598"/>
                  <a:gd name="connsiteY74" fmla="*/ 996468 h 1467600"/>
                  <a:gd name="connsiteX75" fmla="*/ 281279 w 1803598"/>
                  <a:gd name="connsiteY75" fmla="*/ 982251 h 1467600"/>
                  <a:gd name="connsiteX76" fmla="*/ 281279 w 1803598"/>
                  <a:gd name="connsiteY76" fmla="*/ 956187 h 1467600"/>
                  <a:gd name="connsiteX77" fmla="*/ 267660 w 1803598"/>
                  <a:gd name="connsiteY77" fmla="*/ 929332 h 1467600"/>
                  <a:gd name="connsiteX78" fmla="*/ 162864 w 1803598"/>
                  <a:gd name="connsiteY78" fmla="*/ 934071 h 1467600"/>
                  <a:gd name="connsiteX79" fmla="*/ 83794 w 1803598"/>
                  <a:gd name="connsiteY79" fmla="*/ 907612 h 1467600"/>
                  <a:gd name="connsiteX80" fmla="*/ 13426 w 1803598"/>
                  <a:gd name="connsiteY80" fmla="*/ 947104 h 1467600"/>
                  <a:gd name="connsiteX81" fmla="*/ 12669 w 1803598"/>
                  <a:gd name="connsiteY81" fmla="*/ 963690 h 1467600"/>
                  <a:gd name="connsiteX82" fmla="*/ 2971 w 1803598"/>
                  <a:gd name="connsiteY82" fmla="*/ 970956 h 1467600"/>
                  <a:gd name="connsiteX83" fmla="*/ 3145 w 1803598"/>
                  <a:gd name="connsiteY83" fmla="*/ 969934 h 1467600"/>
                  <a:gd name="connsiteX84" fmla="*/ 4074 w 1803598"/>
                  <a:gd name="connsiteY84" fmla="*/ 966125 h 1467600"/>
                  <a:gd name="connsiteX85" fmla="*/ 0 w 1803598"/>
                  <a:gd name="connsiteY85" fmla="*/ 972035 h 1467600"/>
                  <a:gd name="connsiteX86" fmla="*/ 520 w 1803598"/>
                  <a:gd name="connsiteY86" fmla="*/ 965641 h 1467600"/>
                  <a:gd name="connsiteX87" fmla="*/ 11566 w 1803598"/>
                  <a:gd name="connsiteY87" fmla="*/ 843513 h 1467600"/>
                  <a:gd name="connsiteX88" fmla="*/ 47581 w 1803598"/>
                  <a:gd name="connsiteY88" fmla="*/ 826778 h 1467600"/>
                  <a:gd name="connsiteX89" fmla="*/ 59220 w 1803598"/>
                  <a:gd name="connsiteY89" fmla="*/ 802794 h 1467600"/>
                  <a:gd name="connsiteX90" fmla="*/ 116820 w 1803598"/>
                  <a:gd name="connsiteY90" fmla="*/ 792952 h 1467600"/>
                  <a:gd name="connsiteX91" fmla="*/ 73507 w 1803598"/>
                  <a:gd name="connsiteY91" fmla="*/ 800412 h 1467600"/>
                  <a:gd name="connsiteX92" fmla="*/ 82867 w 1803598"/>
                  <a:gd name="connsiteY92" fmla="*/ 791347 h 1467600"/>
                  <a:gd name="connsiteX93" fmla="*/ 127542 w 1803598"/>
                  <a:gd name="connsiteY93" fmla="*/ 729043 h 1467600"/>
                  <a:gd name="connsiteX94" fmla="*/ 257541 w 1803598"/>
                  <a:gd name="connsiteY94" fmla="*/ 703989 h 1467600"/>
                  <a:gd name="connsiteX95" fmla="*/ 282898 w 1803598"/>
                  <a:gd name="connsiteY95" fmla="*/ 716953 h 1467600"/>
                  <a:gd name="connsiteX96" fmla="*/ 328076 w 1803598"/>
                  <a:gd name="connsiteY96" fmla="*/ 678206 h 1467600"/>
                  <a:gd name="connsiteX97" fmla="*/ 449504 w 1803598"/>
                  <a:gd name="connsiteY97" fmla="*/ 685781 h 1467600"/>
                  <a:gd name="connsiteX98" fmla="*/ 527360 w 1803598"/>
                  <a:gd name="connsiteY98" fmla="*/ 693064 h 1467600"/>
                  <a:gd name="connsiteX99" fmla="*/ 608431 w 1803598"/>
                  <a:gd name="connsiteY99" fmla="*/ 627370 h 1467600"/>
                  <a:gd name="connsiteX100" fmla="*/ 611466 w 1803598"/>
                  <a:gd name="connsiteY100" fmla="*/ 545507 h 1467600"/>
                  <a:gd name="connsiteX101" fmla="*/ 583788 w 1803598"/>
                  <a:gd name="connsiteY101" fmla="*/ 531815 h 1467600"/>
                  <a:gd name="connsiteX102" fmla="*/ 580395 w 1803598"/>
                  <a:gd name="connsiteY102" fmla="*/ 516958 h 1467600"/>
                  <a:gd name="connsiteX103" fmla="*/ 633609 w 1803598"/>
                  <a:gd name="connsiteY103" fmla="*/ 435095 h 1467600"/>
                  <a:gd name="connsiteX104" fmla="*/ 615931 w 1803598"/>
                  <a:gd name="connsiteY104" fmla="*/ 383822 h 1467600"/>
                  <a:gd name="connsiteX105" fmla="*/ 598252 w 1803598"/>
                  <a:gd name="connsiteY105" fmla="*/ 366051 h 1467600"/>
                  <a:gd name="connsiteX106" fmla="*/ 611466 w 1803598"/>
                  <a:gd name="connsiteY106" fmla="*/ 280692 h 1467600"/>
                  <a:gd name="connsiteX107" fmla="*/ 686823 w 1803598"/>
                  <a:gd name="connsiteY107" fmla="*/ 255638 h 1467600"/>
                  <a:gd name="connsiteX108" fmla="*/ 686823 w 1803598"/>
                  <a:gd name="connsiteY108" fmla="*/ 212085 h 1467600"/>
                  <a:gd name="connsiteX109" fmla="*/ 682359 w 1803598"/>
                  <a:gd name="connsiteY109" fmla="*/ 173339 h 1467600"/>
                  <a:gd name="connsiteX110" fmla="*/ 693787 w 1803598"/>
                  <a:gd name="connsiteY110" fmla="*/ 119444 h 1467600"/>
                  <a:gd name="connsiteX111" fmla="*/ 739858 w 1803598"/>
                  <a:gd name="connsiteY111" fmla="*/ 107354 h 1467600"/>
                  <a:gd name="connsiteX112" fmla="*/ 742894 w 1803598"/>
                  <a:gd name="connsiteY112" fmla="*/ 68607 h 1467600"/>
                  <a:gd name="connsiteX113" fmla="*/ 767536 w 1803598"/>
                  <a:gd name="connsiteY113" fmla="*/ 68607 h 1467600"/>
                  <a:gd name="connsiteX114" fmla="*/ 788429 w 1803598"/>
                  <a:gd name="connsiteY114" fmla="*/ 101673 h 1467600"/>
                  <a:gd name="connsiteX115" fmla="*/ 828250 w 1803598"/>
                  <a:gd name="connsiteY115" fmla="*/ 101673 h 1467600"/>
                  <a:gd name="connsiteX116" fmla="*/ 823786 w 1803598"/>
                  <a:gd name="connsiteY116" fmla="*/ 147994 h 1467600"/>
                  <a:gd name="connsiteX117" fmla="*/ 906464 w 1803598"/>
                  <a:gd name="connsiteY117" fmla="*/ 119444 h 1467600"/>
                  <a:gd name="connsiteX118" fmla="*/ 1093962 w 1803598"/>
                  <a:gd name="connsiteY118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72600 w 1803598"/>
                  <a:gd name="connsiteY43" fmla="*/ 1135071 h 1467600"/>
                  <a:gd name="connsiteX44" fmla="*/ 1401284 w 1803598"/>
                  <a:gd name="connsiteY44" fmla="*/ 1085549 h 1467600"/>
                  <a:gd name="connsiteX45" fmla="*/ 1415029 w 1803598"/>
                  <a:gd name="connsiteY45" fmla="*/ 1101445 h 1467600"/>
                  <a:gd name="connsiteX46" fmla="*/ 1449785 w 1803598"/>
                  <a:gd name="connsiteY46" fmla="*/ 1107517 h 1467600"/>
                  <a:gd name="connsiteX47" fmla="*/ 1438163 w 1803598"/>
                  <a:gd name="connsiteY47" fmla="*/ 1104660 h 1467600"/>
                  <a:gd name="connsiteX48" fmla="*/ 1436880 w 1803598"/>
                  <a:gd name="connsiteY48" fmla="*/ 1140989 h 1467600"/>
                  <a:gd name="connsiteX49" fmla="*/ 1387615 w 1803598"/>
                  <a:gd name="connsiteY49" fmla="*/ 1279972 h 1467600"/>
                  <a:gd name="connsiteX50" fmla="*/ 1242645 w 1803598"/>
                  <a:gd name="connsiteY50" fmla="*/ 1339176 h 1467600"/>
                  <a:gd name="connsiteX51" fmla="*/ 1120693 w 1803598"/>
                  <a:gd name="connsiteY51" fmla="*/ 1330779 h 1467600"/>
                  <a:gd name="connsiteX52" fmla="*/ 978550 w 1803598"/>
                  <a:gd name="connsiteY52" fmla="*/ 1393762 h 1467600"/>
                  <a:gd name="connsiteX53" fmla="*/ 981787 w 1803598"/>
                  <a:gd name="connsiteY53" fmla="*/ 1397621 h 1467600"/>
                  <a:gd name="connsiteX54" fmla="*/ 932754 w 1803598"/>
                  <a:gd name="connsiteY54" fmla="*/ 1414681 h 1467600"/>
                  <a:gd name="connsiteX55" fmla="*/ 843091 w 1803598"/>
                  <a:gd name="connsiteY55" fmla="*/ 1425739 h 1467600"/>
                  <a:gd name="connsiteX56" fmla="*/ 822283 w 1803598"/>
                  <a:gd name="connsiteY56" fmla="*/ 1459702 h 1467600"/>
                  <a:gd name="connsiteX57" fmla="*/ 753806 w 1803598"/>
                  <a:gd name="connsiteY57" fmla="*/ 1467600 h 1467600"/>
                  <a:gd name="connsiteX58" fmla="*/ 732620 w 1803598"/>
                  <a:gd name="connsiteY58" fmla="*/ 1444300 h 1467600"/>
                  <a:gd name="connsiteX59" fmla="*/ 738674 w 1803598"/>
                  <a:gd name="connsiteY59" fmla="*/ 1419420 h 1467600"/>
                  <a:gd name="connsiteX60" fmla="*/ 696680 w 1803598"/>
                  <a:gd name="connsiteY60" fmla="*/ 1374400 h 1467600"/>
                  <a:gd name="connsiteX61" fmla="*/ 681925 w 1803598"/>
                  <a:gd name="connsiteY61" fmla="*/ 1344782 h 1467600"/>
                  <a:gd name="connsiteX62" fmla="*/ 710299 w 1803598"/>
                  <a:gd name="connsiteY62" fmla="*/ 1243684 h 1467600"/>
                  <a:gd name="connsiteX63" fmla="*/ 703111 w 1803598"/>
                  <a:gd name="connsiteY63" fmla="*/ 1214065 h 1467600"/>
                  <a:gd name="connsiteX64" fmla="*/ 661117 w 1803598"/>
                  <a:gd name="connsiteY64" fmla="*/ 1209326 h 1467600"/>
                  <a:gd name="connsiteX65" fmla="*/ 635769 w 1803598"/>
                  <a:gd name="connsiteY65" fmla="*/ 1191160 h 1467600"/>
                  <a:gd name="connsiteX66" fmla="*/ 607395 w 1803598"/>
                  <a:gd name="connsiteY66" fmla="*/ 1105069 h 1467600"/>
                  <a:gd name="connsiteX67" fmla="*/ 625176 w 1803598"/>
                  <a:gd name="connsiteY67" fmla="*/ 1075845 h 1467600"/>
                  <a:gd name="connsiteX68" fmla="*/ 600207 w 1803598"/>
                  <a:gd name="connsiteY68" fmla="*/ 1027271 h 1467600"/>
                  <a:gd name="connsiteX69" fmla="*/ 610422 w 1803598"/>
                  <a:gd name="connsiteY69" fmla="*/ 1001207 h 1467600"/>
                  <a:gd name="connsiteX70" fmla="*/ 589992 w 1803598"/>
                  <a:gd name="connsiteY70" fmla="*/ 971588 h 1467600"/>
                  <a:gd name="connsiteX71" fmla="*/ 523785 w 1803598"/>
                  <a:gd name="connsiteY71" fmla="*/ 947893 h 1467600"/>
                  <a:gd name="connsiteX72" fmla="*/ 474981 w 1803598"/>
                  <a:gd name="connsiteY72" fmla="*/ 982251 h 1467600"/>
                  <a:gd name="connsiteX73" fmla="*/ 377752 w 1803598"/>
                  <a:gd name="connsiteY73" fmla="*/ 974747 h 1467600"/>
                  <a:gd name="connsiteX74" fmla="*/ 342190 w 1803598"/>
                  <a:gd name="connsiteY74" fmla="*/ 996468 h 1467600"/>
                  <a:gd name="connsiteX75" fmla="*/ 281279 w 1803598"/>
                  <a:gd name="connsiteY75" fmla="*/ 982251 h 1467600"/>
                  <a:gd name="connsiteX76" fmla="*/ 281279 w 1803598"/>
                  <a:gd name="connsiteY76" fmla="*/ 956187 h 1467600"/>
                  <a:gd name="connsiteX77" fmla="*/ 267660 w 1803598"/>
                  <a:gd name="connsiteY77" fmla="*/ 929332 h 1467600"/>
                  <a:gd name="connsiteX78" fmla="*/ 162864 w 1803598"/>
                  <a:gd name="connsiteY78" fmla="*/ 934071 h 1467600"/>
                  <a:gd name="connsiteX79" fmla="*/ 83794 w 1803598"/>
                  <a:gd name="connsiteY79" fmla="*/ 907612 h 1467600"/>
                  <a:gd name="connsiteX80" fmla="*/ 13426 w 1803598"/>
                  <a:gd name="connsiteY80" fmla="*/ 947104 h 1467600"/>
                  <a:gd name="connsiteX81" fmla="*/ 12669 w 1803598"/>
                  <a:gd name="connsiteY81" fmla="*/ 963690 h 1467600"/>
                  <a:gd name="connsiteX82" fmla="*/ 2971 w 1803598"/>
                  <a:gd name="connsiteY82" fmla="*/ 970956 h 1467600"/>
                  <a:gd name="connsiteX83" fmla="*/ 3145 w 1803598"/>
                  <a:gd name="connsiteY83" fmla="*/ 969934 h 1467600"/>
                  <a:gd name="connsiteX84" fmla="*/ 4074 w 1803598"/>
                  <a:gd name="connsiteY84" fmla="*/ 966125 h 1467600"/>
                  <a:gd name="connsiteX85" fmla="*/ 0 w 1803598"/>
                  <a:gd name="connsiteY85" fmla="*/ 972035 h 1467600"/>
                  <a:gd name="connsiteX86" fmla="*/ 520 w 1803598"/>
                  <a:gd name="connsiteY86" fmla="*/ 965641 h 1467600"/>
                  <a:gd name="connsiteX87" fmla="*/ 11566 w 1803598"/>
                  <a:gd name="connsiteY87" fmla="*/ 843513 h 1467600"/>
                  <a:gd name="connsiteX88" fmla="*/ 47581 w 1803598"/>
                  <a:gd name="connsiteY88" fmla="*/ 826778 h 1467600"/>
                  <a:gd name="connsiteX89" fmla="*/ 59220 w 1803598"/>
                  <a:gd name="connsiteY89" fmla="*/ 802794 h 1467600"/>
                  <a:gd name="connsiteX90" fmla="*/ 73507 w 1803598"/>
                  <a:gd name="connsiteY90" fmla="*/ 800412 h 1467600"/>
                  <a:gd name="connsiteX91" fmla="*/ 82867 w 1803598"/>
                  <a:gd name="connsiteY91" fmla="*/ 791347 h 1467600"/>
                  <a:gd name="connsiteX92" fmla="*/ 127542 w 1803598"/>
                  <a:gd name="connsiteY92" fmla="*/ 729043 h 1467600"/>
                  <a:gd name="connsiteX93" fmla="*/ 257541 w 1803598"/>
                  <a:gd name="connsiteY93" fmla="*/ 703989 h 1467600"/>
                  <a:gd name="connsiteX94" fmla="*/ 282898 w 1803598"/>
                  <a:gd name="connsiteY94" fmla="*/ 716953 h 1467600"/>
                  <a:gd name="connsiteX95" fmla="*/ 328076 w 1803598"/>
                  <a:gd name="connsiteY95" fmla="*/ 678206 h 1467600"/>
                  <a:gd name="connsiteX96" fmla="*/ 449504 w 1803598"/>
                  <a:gd name="connsiteY96" fmla="*/ 685781 h 1467600"/>
                  <a:gd name="connsiteX97" fmla="*/ 527360 w 1803598"/>
                  <a:gd name="connsiteY97" fmla="*/ 693064 h 1467600"/>
                  <a:gd name="connsiteX98" fmla="*/ 608431 w 1803598"/>
                  <a:gd name="connsiteY98" fmla="*/ 627370 h 1467600"/>
                  <a:gd name="connsiteX99" fmla="*/ 611466 w 1803598"/>
                  <a:gd name="connsiteY99" fmla="*/ 545507 h 1467600"/>
                  <a:gd name="connsiteX100" fmla="*/ 583788 w 1803598"/>
                  <a:gd name="connsiteY100" fmla="*/ 531815 h 1467600"/>
                  <a:gd name="connsiteX101" fmla="*/ 580395 w 1803598"/>
                  <a:gd name="connsiteY101" fmla="*/ 516958 h 1467600"/>
                  <a:gd name="connsiteX102" fmla="*/ 633609 w 1803598"/>
                  <a:gd name="connsiteY102" fmla="*/ 435095 h 1467600"/>
                  <a:gd name="connsiteX103" fmla="*/ 615931 w 1803598"/>
                  <a:gd name="connsiteY103" fmla="*/ 383822 h 1467600"/>
                  <a:gd name="connsiteX104" fmla="*/ 598252 w 1803598"/>
                  <a:gd name="connsiteY104" fmla="*/ 366051 h 1467600"/>
                  <a:gd name="connsiteX105" fmla="*/ 611466 w 1803598"/>
                  <a:gd name="connsiteY105" fmla="*/ 280692 h 1467600"/>
                  <a:gd name="connsiteX106" fmla="*/ 686823 w 1803598"/>
                  <a:gd name="connsiteY106" fmla="*/ 255638 h 1467600"/>
                  <a:gd name="connsiteX107" fmla="*/ 686823 w 1803598"/>
                  <a:gd name="connsiteY107" fmla="*/ 212085 h 1467600"/>
                  <a:gd name="connsiteX108" fmla="*/ 682359 w 1803598"/>
                  <a:gd name="connsiteY108" fmla="*/ 173339 h 1467600"/>
                  <a:gd name="connsiteX109" fmla="*/ 693787 w 1803598"/>
                  <a:gd name="connsiteY109" fmla="*/ 119444 h 1467600"/>
                  <a:gd name="connsiteX110" fmla="*/ 739858 w 1803598"/>
                  <a:gd name="connsiteY110" fmla="*/ 107354 h 1467600"/>
                  <a:gd name="connsiteX111" fmla="*/ 742894 w 1803598"/>
                  <a:gd name="connsiteY111" fmla="*/ 68607 h 1467600"/>
                  <a:gd name="connsiteX112" fmla="*/ 767536 w 1803598"/>
                  <a:gd name="connsiteY112" fmla="*/ 68607 h 1467600"/>
                  <a:gd name="connsiteX113" fmla="*/ 788429 w 1803598"/>
                  <a:gd name="connsiteY113" fmla="*/ 101673 h 1467600"/>
                  <a:gd name="connsiteX114" fmla="*/ 828250 w 1803598"/>
                  <a:gd name="connsiteY114" fmla="*/ 101673 h 1467600"/>
                  <a:gd name="connsiteX115" fmla="*/ 823786 w 1803598"/>
                  <a:gd name="connsiteY115" fmla="*/ 147994 h 1467600"/>
                  <a:gd name="connsiteX116" fmla="*/ 906464 w 1803598"/>
                  <a:gd name="connsiteY116" fmla="*/ 119444 h 1467600"/>
                  <a:gd name="connsiteX117" fmla="*/ 1093962 w 1803598"/>
                  <a:gd name="connsiteY117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72600 w 1803598"/>
                  <a:gd name="connsiteY43" fmla="*/ 1135071 h 1467600"/>
                  <a:gd name="connsiteX44" fmla="*/ 1401284 w 1803598"/>
                  <a:gd name="connsiteY44" fmla="*/ 1085549 h 1467600"/>
                  <a:gd name="connsiteX45" fmla="*/ 1415029 w 1803598"/>
                  <a:gd name="connsiteY45" fmla="*/ 1101445 h 1467600"/>
                  <a:gd name="connsiteX46" fmla="*/ 1449785 w 1803598"/>
                  <a:gd name="connsiteY46" fmla="*/ 1107517 h 1467600"/>
                  <a:gd name="connsiteX47" fmla="*/ 1436880 w 1803598"/>
                  <a:gd name="connsiteY47" fmla="*/ 1140989 h 1467600"/>
                  <a:gd name="connsiteX48" fmla="*/ 1387615 w 1803598"/>
                  <a:gd name="connsiteY48" fmla="*/ 1279972 h 1467600"/>
                  <a:gd name="connsiteX49" fmla="*/ 1242645 w 1803598"/>
                  <a:gd name="connsiteY49" fmla="*/ 1339176 h 1467600"/>
                  <a:gd name="connsiteX50" fmla="*/ 1120693 w 1803598"/>
                  <a:gd name="connsiteY50" fmla="*/ 1330779 h 1467600"/>
                  <a:gd name="connsiteX51" fmla="*/ 978550 w 1803598"/>
                  <a:gd name="connsiteY51" fmla="*/ 1393762 h 1467600"/>
                  <a:gd name="connsiteX52" fmla="*/ 981787 w 1803598"/>
                  <a:gd name="connsiteY52" fmla="*/ 1397621 h 1467600"/>
                  <a:gd name="connsiteX53" fmla="*/ 932754 w 1803598"/>
                  <a:gd name="connsiteY53" fmla="*/ 1414681 h 1467600"/>
                  <a:gd name="connsiteX54" fmla="*/ 843091 w 1803598"/>
                  <a:gd name="connsiteY54" fmla="*/ 1425739 h 1467600"/>
                  <a:gd name="connsiteX55" fmla="*/ 822283 w 1803598"/>
                  <a:gd name="connsiteY55" fmla="*/ 1459702 h 1467600"/>
                  <a:gd name="connsiteX56" fmla="*/ 753806 w 1803598"/>
                  <a:gd name="connsiteY56" fmla="*/ 1467600 h 1467600"/>
                  <a:gd name="connsiteX57" fmla="*/ 732620 w 1803598"/>
                  <a:gd name="connsiteY57" fmla="*/ 1444300 h 1467600"/>
                  <a:gd name="connsiteX58" fmla="*/ 738674 w 1803598"/>
                  <a:gd name="connsiteY58" fmla="*/ 1419420 h 1467600"/>
                  <a:gd name="connsiteX59" fmla="*/ 696680 w 1803598"/>
                  <a:gd name="connsiteY59" fmla="*/ 1374400 h 1467600"/>
                  <a:gd name="connsiteX60" fmla="*/ 681925 w 1803598"/>
                  <a:gd name="connsiteY60" fmla="*/ 1344782 h 1467600"/>
                  <a:gd name="connsiteX61" fmla="*/ 710299 w 1803598"/>
                  <a:gd name="connsiteY61" fmla="*/ 1243684 h 1467600"/>
                  <a:gd name="connsiteX62" fmla="*/ 703111 w 1803598"/>
                  <a:gd name="connsiteY62" fmla="*/ 1214065 h 1467600"/>
                  <a:gd name="connsiteX63" fmla="*/ 661117 w 1803598"/>
                  <a:gd name="connsiteY63" fmla="*/ 1209326 h 1467600"/>
                  <a:gd name="connsiteX64" fmla="*/ 635769 w 1803598"/>
                  <a:gd name="connsiteY64" fmla="*/ 1191160 h 1467600"/>
                  <a:gd name="connsiteX65" fmla="*/ 607395 w 1803598"/>
                  <a:gd name="connsiteY65" fmla="*/ 1105069 h 1467600"/>
                  <a:gd name="connsiteX66" fmla="*/ 625176 w 1803598"/>
                  <a:gd name="connsiteY66" fmla="*/ 1075845 h 1467600"/>
                  <a:gd name="connsiteX67" fmla="*/ 600207 w 1803598"/>
                  <a:gd name="connsiteY67" fmla="*/ 1027271 h 1467600"/>
                  <a:gd name="connsiteX68" fmla="*/ 610422 w 1803598"/>
                  <a:gd name="connsiteY68" fmla="*/ 1001207 h 1467600"/>
                  <a:gd name="connsiteX69" fmla="*/ 589992 w 1803598"/>
                  <a:gd name="connsiteY69" fmla="*/ 971588 h 1467600"/>
                  <a:gd name="connsiteX70" fmla="*/ 523785 w 1803598"/>
                  <a:gd name="connsiteY70" fmla="*/ 947893 h 1467600"/>
                  <a:gd name="connsiteX71" fmla="*/ 474981 w 1803598"/>
                  <a:gd name="connsiteY71" fmla="*/ 982251 h 1467600"/>
                  <a:gd name="connsiteX72" fmla="*/ 377752 w 1803598"/>
                  <a:gd name="connsiteY72" fmla="*/ 974747 h 1467600"/>
                  <a:gd name="connsiteX73" fmla="*/ 342190 w 1803598"/>
                  <a:gd name="connsiteY73" fmla="*/ 996468 h 1467600"/>
                  <a:gd name="connsiteX74" fmla="*/ 281279 w 1803598"/>
                  <a:gd name="connsiteY74" fmla="*/ 982251 h 1467600"/>
                  <a:gd name="connsiteX75" fmla="*/ 281279 w 1803598"/>
                  <a:gd name="connsiteY75" fmla="*/ 956187 h 1467600"/>
                  <a:gd name="connsiteX76" fmla="*/ 267660 w 1803598"/>
                  <a:gd name="connsiteY76" fmla="*/ 929332 h 1467600"/>
                  <a:gd name="connsiteX77" fmla="*/ 162864 w 1803598"/>
                  <a:gd name="connsiteY77" fmla="*/ 934071 h 1467600"/>
                  <a:gd name="connsiteX78" fmla="*/ 83794 w 1803598"/>
                  <a:gd name="connsiteY78" fmla="*/ 907612 h 1467600"/>
                  <a:gd name="connsiteX79" fmla="*/ 13426 w 1803598"/>
                  <a:gd name="connsiteY79" fmla="*/ 947104 h 1467600"/>
                  <a:gd name="connsiteX80" fmla="*/ 12669 w 1803598"/>
                  <a:gd name="connsiteY80" fmla="*/ 963690 h 1467600"/>
                  <a:gd name="connsiteX81" fmla="*/ 2971 w 1803598"/>
                  <a:gd name="connsiteY81" fmla="*/ 970956 h 1467600"/>
                  <a:gd name="connsiteX82" fmla="*/ 3145 w 1803598"/>
                  <a:gd name="connsiteY82" fmla="*/ 969934 h 1467600"/>
                  <a:gd name="connsiteX83" fmla="*/ 4074 w 1803598"/>
                  <a:gd name="connsiteY83" fmla="*/ 966125 h 1467600"/>
                  <a:gd name="connsiteX84" fmla="*/ 0 w 1803598"/>
                  <a:gd name="connsiteY84" fmla="*/ 972035 h 1467600"/>
                  <a:gd name="connsiteX85" fmla="*/ 520 w 1803598"/>
                  <a:gd name="connsiteY85" fmla="*/ 965641 h 1467600"/>
                  <a:gd name="connsiteX86" fmla="*/ 11566 w 1803598"/>
                  <a:gd name="connsiteY86" fmla="*/ 843513 h 1467600"/>
                  <a:gd name="connsiteX87" fmla="*/ 47581 w 1803598"/>
                  <a:gd name="connsiteY87" fmla="*/ 826778 h 1467600"/>
                  <a:gd name="connsiteX88" fmla="*/ 59220 w 1803598"/>
                  <a:gd name="connsiteY88" fmla="*/ 802794 h 1467600"/>
                  <a:gd name="connsiteX89" fmla="*/ 73507 w 1803598"/>
                  <a:gd name="connsiteY89" fmla="*/ 800412 h 1467600"/>
                  <a:gd name="connsiteX90" fmla="*/ 82867 w 1803598"/>
                  <a:gd name="connsiteY90" fmla="*/ 791347 h 1467600"/>
                  <a:gd name="connsiteX91" fmla="*/ 127542 w 1803598"/>
                  <a:gd name="connsiteY91" fmla="*/ 729043 h 1467600"/>
                  <a:gd name="connsiteX92" fmla="*/ 257541 w 1803598"/>
                  <a:gd name="connsiteY92" fmla="*/ 703989 h 1467600"/>
                  <a:gd name="connsiteX93" fmla="*/ 282898 w 1803598"/>
                  <a:gd name="connsiteY93" fmla="*/ 716953 h 1467600"/>
                  <a:gd name="connsiteX94" fmla="*/ 328076 w 1803598"/>
                  <a:gd name="connsiteY94" fmla="*/ 678206 h 1467600"/>
                  <a:gd name="connsiteX95" fmla="*/ 449504 w 1803598"/>
                  <a:gd name="connsiteY95" fmla="*/ 685781 h 1467600"/>
                  <a:gd name="connsiteX96" fmla="*/ 527360 w 1803598"/>
                  <a:gd name="connsiteY96" fmla="*/ 693064 h 1467600"/>
                  <a:gd name="connsiteX97" fmla="*/ 608431 w 1803598"/>
                  <a:gd name="connsiteY97" fmla="*/ 627370 h 1467600"/>
                  <a:gd name="connsiteX98" fmla="*/ 611466 w 1803598"/>
                  <a:gd name="connsiteY98" fmla="*/ 545507 h 1467600"/>
                  <a:gd name="connsiteX99" fmla="*/ 583788 w 1803598"/>
                  <a:gd name="connsiteY99" fmla="*/ 531815 h 1467600"/>
                  <a:gd name="connsiteX100" fmla="*/ 580395 w 1803598"/>
                  <a:gd name="connsiteY100" fmla="*/ 516958 h 1467600"/>
                  <a:gd name="connsiteX101" fmla="*/ 633609 w 1803598"/>
                  <a:gd name="connsiteY101" fmla="*/ 435095 h 1467600"/>
                  <a:gd name="connsiteX102" fmla="*/ 615931 w 1803598"/>
                  <a:gd name="connsiteY102" fmla="*/ 383822 h 1467600"/>
                  <a:gd name="connsiteX103" fmla="*/ 598252 w 1803598"/>
                  <a:gd name="connsiteY103" fmla="*/ 366051 h 1467600"/>
                  <a:gd name="connsiteX104" fmla="*/ 611466 w 1803598"/>
                  <a:gd name="connsiteY104" fmla="*/ 280692 h 1467600"/>
                  <a:gd name="connsiteX105" fmla="*/ 686823 w 1803598"/>
                  <a:gd name="connsiteY105" fmla="*/ 255638 h 1467600"/>
                  <a:gd name="connsiteX106" fmla="*/ 686823 w 1803598"/>
                  <a:gd name="connsiteY106" fmla="*/ 212085 h 1467600"/>
                  <a:gd name="connsiteX107" fmla="*/ 682359 w 1803598"/>
                  <a:gd name="connsiteY107" fmla="*/ 173339 h 1467600"/>
                  <a:gd name="connsiteX108" fmla="*/ 693787 w 1803598"/>
                  <a:gd name="connsiteY108" fmla="*/ 119444 h 1467600"/>
                  <a:gd name="connsiteX109" fmla="*/ 739858 w 1803598"/>
                  <a:gd name="connsiteY109" fmla="*/ 107354 h 1467600"/>
                  <a:gd name="connsiteX110" fmla="*/ 742894 w 1803598"/>
                  <a:gd name="connsiteY110" fmla="*/ 68607 h 1467600"/>
                  <a:gd name="connsiteX111" fmla="*/ 767536 w 1803598"/>
                  <a:gd name="connsiteY111" fmla="*/ 68607 h 1467600"/>
                  <a:gd name="connsiteX112" fmla="*/ 788429 w 1803598"/>
                  <a:gd name="connsiteY112" fmla="*/ 101673 h 1467600"/>
                  <a:gd name="connsiteX113" fmla="*/ 828250 w 1803598"/>
                  <a:gd name="connsiteY113" fmla="*/ 101673 h 1467600"/>
                  <a:gd name="connsiteX114" fmla="*/ 823786 w 1803598"/>
                  <a:gd name="connsiteY114" fmla="*/ 147994 h 1467600"/>
                  <a:gd name="connsiteX115" fmla="*/ 906464 w 1803598"/>
                  <a:gd name="connsiteY115" fmla="*/ 119444 h 1467600"/>
                  <a:gd name="connsiteX116" fmla="*/ 1093962 w 1803598"/>
                  <a:gd name="connsiteY116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72600 w 1803598"/>
                  <a:gd name="connsiteY43" fmla="*/ 1135071 h 1467600"/>
                  <a:gd name="connsiteX44" fmla="*/ 1401284 w 1803598"/>
                  <a:gd name="connsiteY44" fmla="*/ 1085549 h 1467600"/>
                  <a:gd name="connsiteX45" fmla="*/ 1449785 w 1803598"/>
                  <a:gd name="connsiteY45" fmla="*/ 1107517 h 1467600"/>
                  <a:gd name="connsiteX46" fmla="*/ 1436880 w 1803598"/>
                  <a:gd name="connsiteY46" fmla="*/ 1140989 h 1467600"/>
                  <a:gd name="connsiteX47" fmla="*/ 1387615 w 1803598"/>
                  <a:gd name="connsiteY47" fmla="*/ 1279972 h 1467600"/>
                  <a:gd name="connsiteX48" fmla="*/ 1242645 w 1803598"/>
                  <a:gd name="connsiteY48" fmla="*/ 1339176 h 1467600"/>
                  <a:gd name="connsiteX49" fmla="*/ 1120693 w 1803598"/>
                  <a:gd name="connsiteY49" fmla="*/ 1330779 h 1467600"/>
                  <a:gd name="connsiteX50" fmla="*/ 978550 w 1803598"/>
                  <a:gd name="connsiteY50" fmla="*/ 1393762 h 1467600"/>
                  <a:gd name="connsiteX51" fmla="*/ 981787 w 1803598"/>
                  <a:gd name="connsiteY51" fmla="*/ 1397621 h 1467600"/>
                  <a:gd name="connsiteX52" fmla="*/ 932754 w 1803598"/>
                  <a:gd name="connsiteY52" fmla="*/ 1414681 h 1467600"/>
                  <a:gd name="connsiteX53" fmla="*/ 843091 w 1803598"/>
                  <a:gd name="connsiteY53" fmla="*/ 1425739 h 1467600"/>
                  <a:gd name="connsiteX54" fmla="*/ 822283 w 1803598"/>
                  <a:gd name="connsiteY54" fmla="*/ 1459702 h 1467600"/>
                  <a:gd name="connsiteX55" fmla="*/ 753806 w 1803598"/>
                  <a:gd name="connsiteY55" fmla="*/ 1467600 h 1467600"/>
                  <a:gd name="connsiteX56" fmla="*/ 732620 w 1803598"/>
                  <a:gd name="connsiteY56" fmla="*/ 1444300 h 1467600"/>
                  <a:gd name="connsiteX57" fmla="*/ 738674 w 1803598"/>
                  <a:gd name="connsiteY57" fmla="*/ 1419420 h 1467600"/>
                  <a:gd name="connsiteX58" fmla="*/ 696680 w 1803598"/>
                  <a:gd name="connsiteY58" fmla="*/ 1374400 h 1467600"/>
                  <a:gd name="connsiteX59" fmla="*/ 681925 w 1803598"/>
                  <a:gd name="connsiteY59" fmla="*/ 1344782 h 1467600"/>
                  <a:gd name="connsiteX60" fmla="*/ 710299 w 1803598"/>
                  <a:gd name="connsiteY60" fmla="*/ 1243684 h 1467600"/>
                  <a:gd name="connsiteX61" fmla="*/ 703111 w 1803598"/>
                  <a:gd name="connsiteY61" fmla="*/ 1214065 h 1467600"/>
                  <a:gd name="connsiteX62" fmla="*/ 661117 w 1803598"/>
                  <a:gd name="connsiteY62" fmla="*/ 1209326 h 1467600"/>
                  <a:gd name="connsiteX63" fmla="*/ 635769 w 1803598"/>
                  <a:gd name="connsiteY63" fmla="*/ 1191160 h 1467600"/>
                  <a:gd name="connsiteX64" fmla="*/ 607395 w 1803598"/>
                  <a:gd name="connsiteY64" fmla="*/ 1105069 h 1467600"/>
                  <a:gd name="connsiteX65" fmla="*/ 625176 w 1803598"/>
                  <a:gd name="connsiteY65" fmla="*/ 1075845 h 1467600"/>
                  <a:gd name="connsiteX66" fmla="*/ 600207 w 1803598"/>
                  <a:gd name="connsiteY66" fmla="*/ 1027271 h 1467600"/>
                  <a:gd name="connsiteX67" fmla="*/ 610422 w 1803598"/>
                  <a:gd name="connsiteY67" fmla="*/ 1001207 h 1467600"/>
                  <a:gd name="connsiteX68" fmla="*/ 589992 w 1803598"/>
                  <a:gd name="connsiteY68" fmla="*/ 971588 h 1467600"/>
                  <a:gd name="connsiteX69" fmla="*/ 523785 w 1803598"/>
                  <a:gd name="connsiteY69" fmla="*/ 947893 h 1467600"/>
                  <a:gd name="connsiteX70" fmla="*/ 474981 w 1803598"/>
                  <a:gd name="connsiteY70" fmla="*/ 982251 h 1467600"/>
                  <a:gd name="connsiteX71" fmla="*/ 377752 w 1803598"/>
                  <a:gd name="connsiteY71" fmla="*/ 974747 h 1467600"/>
                  <a:gd name="connsiteX72" fmla="*/ 342190 w 1803598"/>
                  <a:gd name="connsiteY72" fmla="*/ 996468 h 1467600"/>
                  <a:gd name="connsiteX73" fmla="*/ 281279 w 1803598"/>
                  <a:gd name="connsiteY73" fmla="*/ 982251 h 1467600"/>
                  <a:gd name="connsiteX74" fmla="*/ 281279 w 1803598"/>
                  <a:gd name="connsiteY74" fmla="*/ 956187 h 1467600"/>
                  <a:gd name="connsiteX75" fmla="*/ 267660 w 1803598"/>
                  <a:gd name="connsiteY75" fmla="*/ 929332 h 1467600"/>
                  <a:gd name="connsiteX76" fmla="*/ 162864 w 1803598"/>
                  <a:gd name="connsiteY76" fmla="*/ 934071 h 1467600"/>
                  <a:gd name="connsiteX77" fmla="*/ 83794 w 1803598"/>
                  <a:gd name="connsiteY77" fmla="*/ 907612 h 1467600"/>
                  <a:gd name="connsiteX78" fmla="*/ 13426 w 1803598"/>
                  <a:gd name="connsiteY78" fmla="*/ 947104 h 1467600"/>
                  <a:gd name="connsiteX79" fmla="*/ 12669 w 1803598"/>
                  <a:gd name="connsiteY79" fmla="*/ 963690 h 1467600"/>
                  <a:gd name="connsiteX80" fmla="*/ 2971 w 1803598"/>
                  <a:gd name="connsiteY80" fmla="*/ 970956 h 1467600"/>
                  <a:gd name="connsiteX81" fmla="*/ 3145 w 1803598"/>
                  <a:gd name="connsiteY81" fmla="*/ 969934 h 1467600"/>
                  <a:gd name="connsiteX82" fmla="*/ 4074 w 1803598"/>
                  <a:gd name="connsiteY82" fmla="*/ 966125 h 1467600"/>
                  <a:gd name="connsiteX83" fmla="*/ 0 w 1803598"/>
                  <a:gd name="connsiteY83" fmla="*/ 972035 h 1467600"/>
                  <a:gd name="connsiteX84" fmla="*/ 520 w 1803598"/>
                  <a:gd name="connsiteY84" fmla="*/ 965641 h 1467600"/>
                  <a:gd name="connsiteX85" fmla="*/ 11566 w 1803598"/>
                  <a:gd name="connsiteY85" fmla="*/ 843513 h 1467600"/>
                  <a:gd name="connsiteX86" fmla="*/ 47581 w 1803598"/>
                  <a:gd name="connsiteY86" fmla="*/ 826778 h 1467600"/>
                  <a:gd name="connsiteX87" fmla="*/ 59220 w 1803598"/>
                  <a:gd name="connsiteY87" fmla="*/ 802794 h 1467600"/>
                  <a:gd name="connsiteX88" fmla="*/ 73507 w 1803598"/>
                  <a:gd name="connsiteY88" fmla="*/ 800412 h 1467600"/>
                  <a:gd name="connsiteX89" fmla="*/ 82867 w 1803598"/>
                  <a:gd name="connsiteY89" fmla="*/ 791347 h 1467600"/>
                  <a:gd name="connsiteX90" fmla="*/ 127542 w 1803598"/>
                  <a:gd name="connsiteY90" fmla="*/ 729043 h 1467600"/>
                  <a:gd name="connsiteX91" fmla="*/ 257541 w 1803598"/>
                  <a:gd name="connsiteY91" fmla="*/ 703989 h 1467600"/>
                  <a:gd name="connsiteX92" fmla="*/ 282898 w 1803598"/>
                  <a:gd name="connsiteY92" fmla="*/ 716953 h 1467600"/>
                  <a:gd name="connsiteX93" fmla="*/ 328076 w 1803598"/>
                  <a:gd name="connsiteY93" fmla="*/ 678206 h 1467600"/>
                  <a:gd name="connsiteX94" fmla="*/ 449504 w 1803598"/>
                  <a:gd name="connsiteY94" fmla="*/ 685781 h 1467600"/>
                  <a:gd name="connsiteX95" fmla="*/ 527360 w 1803598"/>
                  <a:gd name="connsiteY95" fmla="*/ 693064 h 1467600"/>
                  <a:gd name="connsiteX96" fmla="*/ 608431 w 1803598"/>
                  <a:gd name="connsiteY96" fmla="*/ 627370 h 1467600"/>
                  <a:gd name="connsiteX97" fmla="*/ 611466 w 1803598"/>
                  <a:gd name="connsiteY97" fmla="*/ 545507 h 1467600"/>
                  <a:gd name="connsiteX98" fmla="*/ 583788 w 1803598"/>
                  <a:gd name="connsiteY98" fmla="*/ 531815 h 1467600"/>
                  <a:gd name="connsiteX99" fmla="*/ 580395 w 1803598"/>
                  <a:gd name="connsiteY99" fmla="*/ 516958 h 1467600"/>
                  <a:gd name="connsiteX100" fmla="*/ 633609 w 1803598"/>
                  <a:gd name="connsiteY100" fmla="*/ 435095 h 1467600"/>
                  <a:gd name="connsiteX101" fmla="*/ 615931 w 1803598"/>
                  <a:gd name="connsiteY101" fmla="*/ 383822 h 1467600"/>
                  <a:gd name="connsiteX102" fmla="*/ 598252 w 1803598"/>
                  <a:gd name="connsiteY102" fmla="*/ 366051 h 1467600"/>
                  <a:gd name="connsiteX103" fmla="*/ 611466 w 1803598"/>
                  <a:gd name="connsiteY103" fmla="*/ 280692 h 1467600"/>
                  <a:gd name="connsiteX104" fmla="*/ 686823 w 1803598"/>
                  <a:gd name="connsiteY104" fmla="*/ 255638 h 1467600"/>
                  <a:gd name="connsiteX105" fmla="*/ 686823 w 1803598"/>
                  <a:gd name="connsiteY105" fmla="*/ 212085 h 1467600"/>
                  <a:gd name="connsiteX106" fmla="*/ 682359 w 1803598"/>
                  <a:gd name="connsiteY106" fmla="*/ 173339 h 1467600"/>
                  <a:gd name="connsiteX107" fmla="*/ 693787 w 1803598"/>
                  <a:gd name="connsiteY107" fmla="*/ 119444 h 1467600"/>
                  <a:gd name="connsiteX108" fmla="*/ 739858 w 1803598"/>
                  <a:gd name="connsiteY108" fmla="*/ 107354 h 1467600"/>
                  <a:gd name="connsiteX109" fmla="*/ 742894 w 1803598"/>
                  <a:gd name="connsiteY109" fmla="*/ 68607 h 1467600"/>
                  <a:gd name="connsiteX110" fmla="*/ 767536 w 1803598"/>
                  <a:gd name="connsiteY110" fmla="*/ 68607 h 1467600"/>
                  <a:gd name="connsiteX111" fmla="*/ 788429 w 1803598"/>
                  <a:gd name="connsiteY111" fmla="*/ 101673 h 1467600"/>
                  <a:gd name="connsiteX112" fmla="*/ 828250 w 1803598"/>
                  <a:gd name="connsiteY112" fmla="*/ 101673 h 1467600"/>
                  <a:gd name="connsiteX113" fmla="*/ 823786 w 1803598"/>
                  <a:gd name="connsiteY113" fmla="*/ 147994 h 1467600"/>
                  <a:gd name="connsiteX114" fmla="*/ 906464 w 1803598"/>
                  <a:gd name="connsiteY114" fmla="*/ 119444 h 1467600"/>
                  <a:gd name="connsiteX115" fmla="*/ 1093962 w 1803598"/>
                  <a:gd name="connsiteY115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01284 w 1803598"/>
                  <a:gd name="connsiteY43" fmla="*/ 1085549 h 1467600"/>
                  <a:gd name="connsiteX44" fmla="*/ 1449785 w 1803598"/>
                  <a:gd name="connsiteY44" fmla="*/ 1107517 h 1467600"/>
                  <a:gd name="connsiteX45" fmla="*/ 1436880 w 1803598"/>
                  <a:gd name="connsiteY45" fmla="*/ 1140989 h 1467600"/>
                  <a:gd name="connsiteX46" fmla="*/ 1387615 w 1803598"/>
                  <a:gd name="connsiteY46" fmla="*/ 1279972 h 1467600"/>
                  <a:gd name="connsiteX47" fmla="*/ 1242645 w 1803598"/>
                  <a:gd name="connsiteY47" fmla="*/ 1339176 h 1467600"/>
                  <a:gd name="connsiteX48" fmla="*/ 1120693 w 1803598"/>
                  <a:gd name="connsiteY48" fmla="*/ 1330779 h 1467600"/>
                  <a:gd name="connsiteX49" fmla="*/ 978550 w 1803598"/>
                  <a:gd name="connsiteY49" fmla="*/ 1393762 h 1467600"/>
                  <a:gd name="connsiteX50" fmla="*/ 981787 w 1803598"/>
                  <a:gd name="connsiteY50" fmla="*/ 1397621 h 1467600"/>
                  <a:gd name="connsiteX51" fmla="*/ 932754 w 1803598"/>
                  <a:gd name="connsiteY51" fmla="*/ 1414681 h 1467600"/>
                  <a:gd name="connsiteX52" fmla="*/ 843091 w 1803598"/>
                  <a:gd name="connsiteY52" fmla="*/ 1425739 h 1467600"/>
                  <a:gd name="connsiteX53" fmla="*/ 822283 w 1803598"/>
                  <a:gd name="connsiteY53" fmla="*/ 1459702 h 1467600"/>
                  <a:gd name="connsiteX54" fmla="*/ 753806 w 1803598"/>
                  <a:gd name="connsiteY54" fmla="*/ 1467600 h 1467600"/>
                  <a:gd name="connsiteX55" fmla="*/ 732620 w 1803598"/>
                  <a:gd name="connsiteY55" fmla="*/ 1444300 h 1467600"/>
                  <a:gd name="connsiteX56" fmla="*/ 738674 w 1803598"/>
                  <a:gd name="connsiteY56" fmla="*/ 1419420 h 1467600"/>
                  <a:gd name="connsiteX57" fmla="*/ 696680 w 1803598"/>
                  <a:gd name="connsiteY57" fmla="*/ 1374400 h 1467600"/>
                  <a:gd name="connsiteX58" fmla="*/ 681925 w 1803598"/>
                  <a:gd name="connsiteY58" fmla="*/ 1344782 h 1467600"/>
                  <a:gd name="connsiteX59" fmla="*/ 710299 w 1803598"/>
                  <a:gd name="connsiteY59" fmla="*/ 1243684 h 1467600"/>
                  <a:gd name="connsiteX60" fmla="*/ 703111 w 1803598"/>
                  <a:gd name="connsiteY60" fmla="*/ 1214065 h 1467600"/>
                  <a:gd name="connsiteX61" fmla="*/ 661117 w 1803598"/>
                  <a:gd name="connsiteY61" fmla="*/ 1209326 h 1467600"/>
                  <a:gd name="connsiteX62" fmla="*/ 635769 w 1803598"/>
                  <a:gd name="connsiteY62" fmla="*/ 1191160 h 1467600"/>
                  <a:gd name="connsiteX63" fmla="*/ 607395 w 1803598"/>
                  <a:gd name="connsiteY63" fmla="*/ 1105069 h 1467600"/>
                  <a:gd name="connsiteX64" fmla="*/ 625176 w 1803598"/>
                  <a:gd name="connsiteY64" fmla="*/ 1075845 h 1467600"/>
                  <a:gd name="connsiteX65" fmla="*/ 600207 w 1803598"/>
                  <a:gd name="connsiteY65" fmla="*/ 1027271 h 1467600"/>
                  <a:gd name="connsiteX66" fmla="*/ 610422 w 1803598"/>
                  <a:gd name="connsiteY66" fmla="*/ 1001207 h 1467600"/>
                  <a:gd name="connsiteX67" fmla="*/ 589992 w 1803598"/>
                  <a:gd name="connsiteY67" fmla="*/ 971588 h 1467600"/>
                  <a:gd name="connsiteX68" fmla="*/ 523785 w 1803598"/>
                  <a:gd name="connsiteY68" fmla="*/ 947893 h 1467600"/>
                  <a:gd name="connsiteX69" fmla="*/ 474981 w 1803598"/>
                  <a:gd name="connsiteY69" fmla="*/ 982251 h 1467600"/>
                  <a:gd name="connsiteX70" fmla="*/ 377752 w 1803598"/>
                  <a:gd name="connsiteY70" fmla="*/ 974747 h 1467600"/>
                  <a:gd name="connsiteX71" fmla="*/ 342190 w 1803598"/>
                  <a:gd name="connsiteY71" fmla="*/ 996468 h 1467600"/>
                  <a:gd name="connsiteX72" fmla="*/ 281279 w 1803598"/>
                  <a:gd name="connsiteY72" fmla="*/ 982251 h 1467600"/>
                  <a:gd name="connsiteX73" fmla="*/ 281279 w 1803598"/>
                  <a:gd name="connsiteY73" fmla="*/ 956187 h 1467600"/>
                  <a:gd name="connsiteX74" fmla="*/ 267660 w 1803598"/>
                  <a:gd name="connsiteY74" fmla="*/ 929332 h 1467600"/>
                  <a:gd name="connsiteX75" fmla="*/ 162864 w 1803598"/>
                  <a:gd name="connsiteY75" fmla="*/ 934071 h 1467600"/>
                  <a:gd name="connsiteX76" fmla="*/ 83794 w 1803598"/>
                  <a:gd name="connsiteY76" fmla="*/ 907612 h 1467600"/>
                  <a:gd name="connsiteX77" fmla="*/ 13426 w 1803598"/>
                  <a:gd name="connsiteY77" fmla="*/ 947104 h 1467600"/>
                  <a:gd name="connsiteX78" fmla="*/ 12669 w 1803598"/>
                  <a:gd name="connsiteY78" fmla="*/ 963690 h 1467600"/>
                  <a:gd name="connsiteX79" fmla="*/ 2971 w 1803598"/>
                  <a:gd name="connsiteY79" fmla="*/ 970956 h 1467600"/>
                  <a:gd name="connsiteX80" fmla="*/ 3145 w 1803598"/>
                  <a:gd name="connsiteY80" fmla="*/ 969934 h 1467600"/>
                  <a:gd name="connsiteX81" fmla="*/ 4074 w 1803598"/>
                  <a:gd name="connsiteY81" fmla="*/ 966125 h 1467600"/>
                  <a:gd name="connsiteX82" fmla="*/ 0 w 1803598"/>
                  <a:gd name="connsiteY82" fmla="*/ 972035 h 1467600"/>
                  <a:gd name="connsiteX83" fmla="*/ 520 w 1803598"/>
                  <a:gd name="connsiteY83" fmla="*/ 965641 h 1467600"/>
                  <a:gd name="connsiteX84" fmla="*/ 11566 w 1803598"/>
                  <a:gd name="connsiteY84" fmla="*/ 843513 h 1467600"/>
                  <a:gd name="connsiteX85" fmla="*/ 47581 w 1803598"/>
                  <a:gd name="connsiteY85" fmla="*/ 826778 h 1467600"/>
                  <a:gd name="connsiteX86" fmla="*/ 59220 w 1803598"/>
                  <a:gd name="connsiteY86" fmla="*/ 802794 h 1467600"/>
                  <a:gd name="connsiteX87" fmla="*/ 73507 w 1803598"/>
                  <a:gd name="connsiteY87" fmla="*/ 800412 h 1467600"/>
                  <a:gd name="connsiteX88" fmla="*/ 82867 w 1803598"/>
                  <a:gd name="connsiteY88" fmla="*/ 791347 h 1467600"/>
                  <a:gd name="connsiteX89" fmla="*/ 127542 w 1803598"/>
                  <a:gd name="connsiteY89" fmla="*/ 729043 h 1467600"/>
                  <a:gd name="connsiteX90" fmla="*/ 257541 w 1803598"/>
                  <a:gd name="connsiteY90" fmla="*/ 703989 h 1467600"/>
                  <a:gd name="connsiteX91" fmla="*/ 282898 w 1803598"/>
                  <a:gd name="connsiteY91" fmla="*/ 716953 h 1467600"/>
                  <a:gd name="connsiteX92" fmla="*/ 328076 w 1803598"/>
                  <a:gd name="connsiteY92" fmla="*/ 678206 h 1467600"/>
                  <a:gd name="connsiteX93" fmla="*/ 449504 w 1803598"/>
                  <a:gd name="connsiteY93" fmla="*/ 685781 h 1467600"/>
                  <a:gd name="connsiteX94" fmla="*/ 527360 w 1803598"/>
                  <a:gd name="connsiteY94" fmla="*/ 693064 h 1467600"/>
                  <a:gd name="connsiteX95" fmla="*/ 608431 w 1803598"/>
                  <a:gd name="connsiteY95" fmla="*/ 627370 h 1467600"/>
                  <a:gd name="connsiteX96" fmla="*/ 611466 w 1803598"/>
                  <a:gd name="connsiteY96" fmla="*/ 545507 h 1467600"/>
                  <a:gd name="connsiteX97" fmla="*/ 583788 w 1803598"/>
                  <a:gd name="connsiteY97" fmla="*/ 531815 h 1467600"/>
                  <a:gd name="connsiteX98" fmla="*/ 580395 w 1803598"/>
                  <a:gd name="connsiteY98" fmla="*/ 516958 h 1467600"/>
                  <a:gd name="connsiteX99" fmla="*/ 633609 w 1803598"/>
                  <a:gd name="connsiteY99" fmla="*/ 435095 h 1467600"/>
                  <a:gd name="connsiteX100" fmla="*/ 615931 w 1803598"/>
                  <a:gd name="connsiteY100" fmla="*/ 383822 h 1467600"/>
                  <a:gd name="connsiteX101" fmla="*/ 598252 w 1803598"/>
                  <a:gd name="connsiteY101" fmla="*/ 366051 h 1467600"/>
                  <a:gd name="connsiteX102" fmla="*/ 611466 w 1803598"/>
                  <a:gd name="connsiteY102" fmla="*/ 280692 h 1467600"/>
                  <a:gd name="connsiteX103" fmla="*/ 686823 w 1803598"/>
                  <a:gd name="connsiteY103" fmla="*/ 255638 h 1467600"/>
                  <a:gd name="connsiteX104" fmla="*/ 686823 w 1803598"/>
                  <a:gd name="connsiteY104" fmla="*/ 212085 h 1467600"/>
                  <a:gd name="connsiteX105" fmla="*/ 682359 w 1803598"/>
                  <a:gd name="connsiteY105" fmla="*/ 173339 h 1467600"/>
                  <a:gd name="connsiteX106" fmla="*/ 693787 w 1803598"/>
                  <a:gd name="connsiteY106" fmla="*/ 119444 h 1467600"/>
                  <a:gd name="connsiteX107" fmla="*/ 739858 w 1803598"/>
                  <a:gd name="connsiteY107" fmla="*/ 107354 h 1467600"/>
                  <a:gd name="connsiteX108" fmla="*/ 742894 w 1803598"/>
                  <a:gd name="connsiteY108" fmla="*/ 68607 h 1467600"/>
                  <a:gd name="connsiteX109" fmla="*/ 767536 w 1803598"/>
                  <a:gd name="connsiteY109" fmla="*/ 68607 h 1467600"/>
                  <a:gd name="connsiteX110" fmla="*/ 788429 w 1803598"/>
                  <a:gd name="connsiteY110" fmla="*/ 101673 h 1467600"/>
                  <a:gd name="connsiteX111" fmla="*/ 828250 w 1803598"/>
                  <a:gd name="connsiteY111" fmla="*/ 101673 h 1467600"/>
                  <a:gd name="connsiteX112" fmla="*/ 823786 w 1803598"/>
                  <a:gd name="connsiteY112" fmla="*/ 147994 h 1467600"/>
                  <a:gd name="connsiteX113" fmla="*/ 906464 w 1803598"/>
                  <a:gd name="connsiteY113" fmla="*/ 119444 h 1467600"/>
                  <a:gd name="connsiteX114" fmla="*/ 1093962 w 1803598"/>
                  <a:gd name="connsiteY114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0975 w 1803598"/>
                  <a:gd name="connsiteY41" fmla="*/ 1093112 h 1467600"/>
                  <a:gd name="connsiteX42" fmla="*/ 1422829 w 1803598"/>
                  <a:gd name="connsiteY42" fmla="*/ 1115764 h 1467600"/>
                  <a:gd name="connsiteX43" fmla="*/ 1449785 w 1803598"/>
                  <a:gd name="connsiteY43" fmla="*/ 1107517 h 1467600"/>
                  <a:gd name="connsiteX44" fmla="*/ 1436880 w 1803598"/>
                  <a:gd name="connsiteY44" fmla="*/ 1140989 h 1467600"/>
                  <a:gd name="connsiteX45" fmla="*/ 1387615 w 1803598"/>
                  <a:gd name="connsiteY45" fmla="*/ 1279972 h 1467600"/>
                  <a:gd name="connsiteX46" fmla="*/ 1242645 w 1803598"/>
                  <a:gd name="connsiteY46" fmla="*/ 1339176 h 1467600"/>
                  <a:gd name="connsiteX47" fmla="*/ 1120693 w 1803598"/>
                  <a:gd name="connsiteY47" fmla="*/ 1330779 h 1467600"/>
                  <a:gd name="connsiteX48" fmla="*/ 978550 w 1803598"/>
                  <a:gd name="connsiteY48" fmla="*/ 1393762 h 1467600"/>
                  <a:gd name="connsiteX49" fmla="*/ 981787 w 1803598"/>
                  <a:gd name="connsiteY49" fmla="*/ 1397621 h 1467600"/>
                  <a:gd name="connsiteX50" fmla="*/ 932754 w 1803598"/>
                  <a:gd name="connsiteY50" fmla="*/ 1414681 h 1467600"/>
                  <a:gd name="connsiteX51" fmla="*/ 843091 w 1803598"/>
                  <a:gd name="connsiteY51" fmla="*/ 1425739 h 1467600"/>
                  <a:gd name="connsiteX52" fmla="*/ 822283 w 1803598"/>
                  <a:gd name="connsiteY52" fmla="*/ 1459702 h 1467600"/>
                  <a:gd name="connsiteX53" fmla="*/ 753806 w 1803598"/>
                  <a:gd name="connsiteY53" fmla="*/ 1467600 h 1467600"/>
                  <a:gd name="connsiteX54" fmla="*/ 732620 w 1803598"/>
                  <a:gd name="connsiteY54" fmla="*/ 1444300 h 1467600"/>
                  <a:gd name="connsiteX55" fmla="*/ 738674 w 1803598"/>
                  <a:gd name="connsiteY55" fmla="*/ 1419420 h 1467600"/>
                  <a:gd name="connsiteX56" fmla="*/ 696680 w 1803598"/>
                  <a:gd name="connsiteY56" fmla="*/ 1374400 h 1467600"/>
                  <a:gd name="connsiteX57" fmla="*/ 681925 w 1803598"/>
                  <a:gd name="connsiteY57" fmla="*/ 1344782 h 1467600"/>
                  <a:gd name="connsiteX58" fmla="*/ 710299 w 1803598"/>
                  <a:gd name="connsiteY58" fmla="*/ 1243684 h 1467600"/>
                  <a:gd name="connsiteX59" fmla="*/ 703111 w 1803598"/>
                  <a:gd name="connsiteY59" fmla="*/ 1214065 h 1467600"/>
                  <a:gd name="connsiteX60" fmla="*/ 661117 w 1803598"/>
                  <a:gd name="connsiteY60" fmla="*/ 1209326 h 1467600"/>
                  <a:gd name="connsiteX61" fmla="*/ 635769 w 1803598"/>
                  <a:gd name="connsiteY61" fmla="*/ 1191160 h 1467600"/>
                  <a:gd name="connsiteX62" fmla="*/ 607395 w 1803598"/>
                  <a:gd name="connsiteY62" fmla="*/ 1105069 h 1467600"/>
                  <a:gd name="connsiteX63" fmla="*/ 625176 w 1803598"/>
                  <a:gd name="connsiteY63" fmla="*/ 1075845 h 1467600"/>
                  <a:gd name="connsiteX64" fmla="*/ 600207 w 1803598"/>
                  <a:gd name="connsiteY64" fmla="*/ 1027271 h 1467600"/>
                  <a:gd name="connsiteX65" fmla="*/ 610422 w 1803598"/>
                  <a:gd name="connsiteY65" fmla="*/ 1001207 h 1467600"/>
                  <a:gd name="connsiteX66" fmla="*/ 589992 w 1803598"/>
                  <a:gd name="connsiteY66" fmla="*/ 971588 h 1467600"/>
                  <a:gd name="connsiteX67" fmla="*/ 523785 w 1803598"/>
                  <a:gd name="connsiteY67" fmla="*/ 947893 h 1467600"/>
                  <a:gd name="connsiteX68" fmla="*/ 474981 w 1803598"/>
                  <a:gd name="connsiteY68" fmla="*/ 982251 h 1467600"/>
                  <a:gd name="connsiteX69" fmla="*/ 377752 w 1803598"/>
                  <a:gd name="connsiteY69" fmla="*/ 974747 h 1467600"/>
                  <a:gd name="connsiteX70" fmla="*/ 342190 w 1803598"/>
                  <a:gd name="connsiteY70" fmla="*/ 996468 h 1467600"/>
                  <a:gd name="connsiteX71" fmla="*/ 281279 w 1803598"/>
                  <a:gd name="connsiteY71" fmla="*/ 982251 h 1467600"/>
                  <a:gd name="connsiteX72" fmla="*/ 281279 w 1803598"/>
                  <a:gd name="connsiteY72" fmla="*/ 956187 h 1467600"/>
                  <a:gd name="connsiteX73" fmla="*/ 267660 w 1803598"/>
                  <a:gd name="connsiteY73" fmla="*/ 929332 h 1467600"/>
                  <a:gd name="connsiteX74" fmla="*/ 162864 w 1803598"/>
                  <a:gd name="connsiteY74" fmla="*/ 934071 h 1467600"/>
                  <a:gd name="connsiteX75" fmla="*/ 83794 w 1803598"/>
                  <a:gd name="connsiteY75" fmla="*/ 907612 h 1467600"/>
                  <a:gd name="connsiteX76" fmla="*/ 13426 w 1803598"/>
                  <a:gd name="connsiteY76" fmla="*/ 947104 h 1467600"/>
                  <a:gd name="connsiteX77" fmla="*/ 12669 w 1803598"/>
                  <a:gd name="connsiteY77" fmla="*/ 963690 h 1467600"/>
                  <a:gd name="connsiteX78" fmla="*/ 2971 w 1803598"/>
                  <a:gd name="connsiteY78" fmla="*/ 970956 h 1467600"/>
                  <a:gd name="connsiteX79" fmla="*/ 3145 w 1803598"/>
                  <a:gd name="connsiteY79" fmla="*/ 969934 h 1467600"/>
                  <a:gd name="connsiteX80" fmla="*/ 4074 w 1803598"/>
                  <a:gd name="connsiteY80" fmla="*/ 966125 h 1467600"/>
                  <a:gd name="connsiteX81" fmla="*/ 0 w 1803598"/>
                  <a:gd name="connsiteY81" fmla="*/ 972035 h 1467600"/>
                  <a:gd name="connsiteX82" fmla="*/ 520 w 1803598"/>
                  <a:gd name="connsiteY82" fmla="*/ 965641 h 1467600"/>
                  <a:gd name="connsiteX83" fmla="*/ 11566 w 1803598"/>
                  <a:gd name="connsiteY83" fmla="*/ 843513 h 1467600"/>
                  <a:gd name="connsiteX84" fmla="*/ 47581 w 1803598"/>
                  <a:gd name="connsiteY84" fmla="*/ 826778 h 1467600"/>
                  <a:gd name="connsiteX85" fmla="*/ 59220 w 1803598"/>
                  <a:gd name="connsiteY85" fmla="*/ 802794 h 1467600"/>
                  <a:gd name="connsiteX86" fmla="*/ 73507 w 1803598"/>
                  <a:gd name="connsiteY86" fmla="*/ 800412 h 1467600"/>
                  <a:gd name="connsiteX87" fmla="*/ 82867 w 1803598"/>
                  <a:gd name="connsiteY87" fmla="*/ 791347 h 1467600"/>
                  <a:gd name="connsiteX88" fmla="*/ 127542 w 1803598"/>
                  <a:gd name="connsiteY88" fmla="*/ 729043 h 1467600"/>
                  <a:gd name="connsiteX89" fmla="*/ 257541 w 1803598"/>
                  <a:gd name="connsiteY89" fmla="*/ 703989 h 1467600"/>
                  <a:gd name="connsiteX90" fmla="*/ 282898 w 1803598"/>
                  <a:gd name="connsiteY90" fmla="*/ 716953 h 1467600"/>
                  <a:gd name="connsiteX91" fmla="*/ 328076 w 1803598"/>
                  <a:gd name="connsiteY91" fmla="*/ 678206 h 1467600"/>
                  <a:gd name="connsiteX92" fmla="*/ 449504 w 1803598"/>
                  <a:gd name="connsiteY92" fmla="*/ 685781 h 1467600"/>
                  <a:gd name="connsiteX93" fmla="*/ 527360 w 1803598"/>
                  <a:gd name="connsiteY93" fmla="*/ 693064 h 1467600"/>
                  <a:gd name="connsiteX94" fmla="*/ 608431 w 1803598"/>
                  <a:gd name="connsiteY94" fmla="*/ 627370 h 1467600"/>
                  <a:gd name="connsiteX95" fmla="*/ 611466 w 1803598"/>
                  <a:gd name="connsiteY95" fmla="*/ 545507 h 1467600"/>
                  <a:gd name="connsiteX96" fmla="*/ 583788 w 1803598"/>
                  <a:gd name="connsiteY96" fmla="*/ 531815 h 1467600"/>
                  <a:gd name="connsiteX97" fmla="*/ 580395 w 1803598"/>
                  <a:gd name="connsiteY97" fmla="*/ 516958 h 1467600"/>
                  <a:gd name="connsiteX98" fmla="*/ 633609 w 1803598"/>
                  <a:gd name="connsiteY98" fmla="*/ 435095 h 1467600"/>
                  <a:gd name="connsiteX99" fmla="*/ 615931 w 1803598"/>
                  <a:gd name="connsiteY99" fmla="*/ 383822 h 1467600"/>
                  <a:gd name="connsiteX100" fmla="*/ 598252 w 1803598"/>
                  <a:gd name="connsiteY100" fmla="*/ 366051 h 1467600"/>
                  <a:gd name="connsiteX101" fmla="*/ 611466 w 1803598"/>
                  <a:gd name="connsiteY101" fmla="*/ 280692 h 1467600"/>
                  <a:gd name="connsiteX102" fmla="*/ 686823 w 1803598"/>
                  <a:gd name="connsiteY102" fmla="*/ 255638 h 1467600"/>
                  <a:gd name="connsiteX103" fmla="*/ 686823 w 1803598"/>
                  <a:gd name="connsiteY103" fmla="*/ 212085 h 1467600"/>
                  <a:gd name="connsiteX104" fmla="*/ 682359 w 1803598"/>
                  <a:gd name="connsiteY104" fmla="*/ 173339 h 1467600"/>
                  <a:gd name="connsiteX105" fmla="*/ 693787 w 1803598"/>
                  <a:gd name="connsiteY105" fmla="*/ 119444 h 1467600"/>
                  <a:gd name="connsiteX106" fmla="*/ 739858 w 1803598"/>
                  <a:gd name="connsiteY106" fmla="*/ 107354 h 1467600"/>
                  <a:gd name="connsiteX107" fmla="*/ 742894 w 1803598"/>
                  <a:gd name="connsiteY107" fmla="*/ 68607 h 1467600"/>
                  <a:gd name="connsiteX108" fmla="*/ 767536 w 1803598"/>
                  <a:gd name="connsiteY108" fmla="*/ 68607 h 1467600"/>
                  <a:gd name="connsiteX109" fmla="*/ 788429 w 1803598"/>
                  <a:gd name="connsiteY109" fmla="*/ 101673 h 1467600"/>
                  <a:gd name="connsiteX110" fmla="*/ 828250 w 1803598"/>
                  <a:gd name="connsiteY110" fmla="*/ 101673 h 1467600"/>
                  <a:gd name="connsiteX111" fmla="*/ 823786 w 1803598"/>
                  <a:gd name="connsiteY111" fmla="*/ 147994 h 1467600"/>
                  <a:gd name="connsiteX112" fmla="*/ 906464 w 1803598"/>
                  <a:gd name="connsiteY112" fmla="*/ 119444 h 1467600"/>
                  <a:gd name="connsiteX113" fmla="*/ 1093962 w 1803598"/>
                  <a:gd name="connsiteY113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22829 w 1803598"/>
                  <a:gd name="connsiteY41" fmla="*/ 1115764 h 1467600"/>
                  <a:gd name="connsiteX42" fmla="*/ 1449785 w 1803598"/>
                  <a:gd name="connsiteY42" fmla="*/ 1107517 h 1467600"/>
                  <a:gd name="connsiteX43" fmla="*/ 1436880 w 1803598"/>
                  <a:gd name="connsiteY43" fmla="*/ 1140989 h 1467600"/>
                  <a:gd name="connsiteX44" fmla="*/ 1387615 w 1803598"/>
                  <a:gd name="connsiteY44" fmla="*/ 1279972 h 1467600"/>
                  <a:gd name="connsiteX45" fmla="*/ 1242645 w 1803598"/>
                  <a:gd name="connsiteY45" fmla="*/ 1339176 h 1467600"/>
                  <a:gd name="connsiteX46" fmla="*/ 1120693 w 1803598"/>
                  <a:gd name="connsiteY46" fmla="*/ 1330779 h 1467600"/>
                  <a:gd name="connsiteX47" fmla="*/ 978550 w 1803598"/>
                  <a:gd name="connsiteY47" fmla="*/ 1393762 h 1467600"/>
                  <a:gd name="connsiteX48" fmla="*/ 981787 w 1803598"/>
                  <a:gd name="connsiteY48" fmla="*/ 1397621 h 1467600"/>
                  <a:gd name="connsiteX49" fmla="*/ 932754 w 1803598"/>
                  <a:gd name="connsiteY49" fmla="*/ 1414681 h 1467600"/>
                  <a:gd name="connsiteX50" fmla="*/ 843091 w 1803598"/>
                  <a:gd name="connsiteY50" fmla="*/ 1425739 h 1467600"/>
                  <a:gd name="connsiteX51" fmla="*/ 822283 w 1803598"/>
                  <a:gd name="connsiteY51" fmla="*/ 1459702 h 1467600"/>
                  <a:gd name="connsiteX52" fmla="*/ 753806 w 1803598"/>
                  <a:gd name="connsiteY52" fmla="*/ 1467600 h 1467600"/>
                  <a:gd name="connsiteX53" fmla="*/ 732620 w 1803598"/>
                  <a:gd name="connsiteY53" fmla="*/ 1444300 h 1467600"/>
                  <a:gd name="connsiteX54" fmla="*/ 738674 w 1803598"/>
                  <a:gd name="connsiteY54" fmla="*/ 1419420 h 1467600"/>
                  <a:gd name="connsiteX55" fmla="*/ 696680 w 1803598"/>
                  <a:gd name="connsiteY55" fmla="*/ 1374400 h 1467600"/>
                  <a:gd name="connsiteX56" fmla="*/ 681925 w 1803598"/>
                  <a:gd name="connsiteY56" fmla="*/ 1344782 h 1467600"/>
                  <a:gd name="connsiteX57" fmla="*/ 710299 w 1803598"/>
                  <a:gd name="connsiteY57" fmla="*/ 1243684 h 1467600"/>
                  <a:gd name="connsiteX58" fmla="*/ 703111 w 1803598"/>
                  <a:gd name="connsiteY58" fmla="*/ 1214065 h 1467600"/>
                  <a:gd name="connsiteX59" fmla="*/ 661117 w 1803598"/>
                  <a:gd name="connsiteY59" fmla="*/ 1209326 h 1467600"/>
                  <a:gd name="connsiteX60" fmla="*/ 635769 w 1803598"/>
                  <a:gd name="connsiteY60" fmla="*/ 1191160 h 1467600"/>
                  <a:gd name="connsiteX61" fmla="*/ 607395 w 1803598"/>
                  <a:gd name="connsiteY61" fmla="*/ 1105069 h 1467600"/>
                  <a:gd name="connsiteX62" fmla="*/ 625176 w 1803598"/>
                  <a:gd name="connsiteY62" fmla="*/ 1075845 h 1467600"/>
                  <a:gd name="connsiteX63" fmla="*/ 600207 w 1803598"/>
                  <a:gd name="connsiteY63" fmla="*/ 1027271 h 1467600"/>
                  <a:gd name="connsiteX64" fmla="*/ 610422 w 1803598"/>
                  <a:gd name="connsiteY64" fmla="*/ 1001207 h 1467600"/>
                  <a:gd name="connsiteX65" fmla="*/ 589992 w 1803598"/>
                  <a:gd name="connsiteY65" fmla="*/ 971588 h 1467600"/>
                  <a:gd name="connsiteX66" fmla="*/ 523785 w 1803598"/>
                  <a:gd name="connsiteY66" fmla="*/ 947893 h 1467600"/>
                  <a:gd name="connsiteX67" fmla="*/ 474981 w 1803598"/>
                  <a:gd name="connsiteY67" fmla="*/ 982251 h 1467600"/>
                  <a:gd name="connsiteX68" fmla="*/ 377752 w 1803598"/>
                  <a:gd name="connsiteY68" fmla="*/ 974747 h 1467600"/>
                  <a:gd name="connsiteX69" fmla="*/ 342190 w 1803598"/>
                  <a:gd name="connsiteY69" fmla="*/ 996468 h 1467600"/>
                  <a:gd name="connsiteX70" fmla="*/ 281279 w 1803598"/>
                  <a:gd name="connsiteY70" fmla="*/ 982251 h 1467600"/>
                  <a:gd name="connsiteX71" fmla="*/ 281279 w 1803598"/>
                  <a:gd name="connsiteY71" fmla="*/ 956187 h 1467600"/>
                  <a:gd name="connsiteX72" fmla="*/ 267660 w 1803598"/>
                  <a:gd name="connsiteY72" fmla="*/ 929332 h 1467600"/>
                  <a:gd name="connsiteX73" fmla="*/ 162864 w 1803598"/>
                  <a:gd name="connsiteY73" fmla="*/ 934071 h 1467600"/>
                  <a:gd name="connsiteX74" fmla="*/ 83794 w 1803598"/>
                  <a:gd name="connsiteY74" fmla="*/ 907612 h 1467600"/>
                  <a:gd name="connsiteX75" fmla="*/ 13426 w 1803598"/>
                  <a:gd name="connsiteY75" fmla="*/ 947104 h 1467600"/>
                  <a:gd name="connsiteX76" fmla="*/ 12669 w 1803598"/>
                  <a:gd name="connsiteY76" fmla="*/ 963690 h 1467600"/>
                  <a:gd name="connsiteX77" fmla="*/ 2971 w 1803598"/>
                  <a:gd name="connsiteY77" fmla="*/ 970956 h 1467600"/>
                  <a:gd name="connsiteX78" fmla="*/ 3145 w 1803598"/>
                  <a:gd name="connsiteY78" fmla="*/ 969934 h 1467600"/>
                  <a:gd name="connsiteX79" fmla="*/ 4074 w 1803598"/>
                  <a:gd name="connsiteY79" fmla="*/ 966125 h 1467600"/>
                  <a:gd name="connsiteX80" fmla="*/ 0 w 1803598"/>
                  <a:gd name="connsiteY80" fmla="*/ 972035 h 1467600"/>
                  <a:gd name="connsiteX81" fmla="*/ 520 w 1803598"/>
                  <a:gd name="connsiteY81" fmla="*/ 965641 h 1467600"/>
                  <a:gd name="connsiteX82" fmla="*/ 11566 w 1803598"/>
                  <a:gd name="connsiteY82" fmla="*/ 843513 h 1467600"/>
                  <a:gd name="connsiteX83" fmla="*/ 47581 w 1803598"/>
                  <a:gd name="connsiteY83" fmla="*/ 826778 h 1467600"/>
                  <a:gd name="connsiteX84" fmla="*/ 59220 w 1803598"/>
                  <a:gd name="connsiteY84" fmla="*/ 802794 h 1467600"/>
                  <a:gd name="connsiteX85" fmla="*/ 73507 w 1803598"/>
                  <a:gd name="connsiteY85" fmla="*/ 800412 h 1467600"/>
                  <a:gd name="connsiteX86" fmla="*/ 82867 w 1803598"/>
                  <a:gd name="connsiteY86" fmla="*/ 791347 h 1467600"/>
                  <a:gd name="connsiteX87" fmla="*/ 127542 w 1803598"/>
                  <a:gd name="connsiteY87" fmla="*/ 729043 h 1467600"/>
                  <a:gd name="connsiteX88" fmla="*/ 257541 w 1803598"/>
                  <a:gd name="connsiteY88" fmla="*/ 703989 h 1467600"/>
                  <a:gd name="connsiteX89" fmla="*/ 282898 w 1803598"/>
                  <a:gd name="connsiteY89" fmla="*/ 716953 h 1467600"/>
                  <a:gd name="connsiteX90" fmla="*/ 328076 w 1803598"/>
                  <a:gd name="connsiteY90" fmla="*/ 678206 h 1467600"/>
                  <a:gd name="connsiteX91" fmla="*/ 449504 w 1803598"/>
                  <a:gd name="connsiteY91" fmla="*/ 685781 h 1467600"/>
                  <a:gd name="connsiteX92" fmla="*/ 527360 w 1803598"/>
                  <a:gd name="connsiteY92" fmla="*/ 693064 h 1467600"/>
                  <a:gd name="connsiteX93" fmla="*/ 608431 w 1803598"/>
                  <a:gd name="connsiteY93" fmla="*/ 627370 h 1467600"/>
                  <a:gd name="connsiteX94" fmla="*/ 611466 w 1803598"/>
                  <a:gd name="connsiteY94" fmla="*/ 545507 h 1467600"/>
                  <a:gd name="connsiteX95" fmla="*/ 583788 w 1803598"/>
                  <a:gd name="connsiteY95" fmla="*/ 531815 h 1467600"/>
                  <a:gd name="connsiteX96" fmla="*/ 580395 w 1803598"/>
                  <a:gd name="connsiteY96" fmla="*/ 516958 h 1467600"/>
                  <a:gd name="connsiteX97" fmla="*/ 633609 w 1803598"/>
                  <a:gd name="connsiteY97" fmla="*/ 435095 h 1467600"/>
                  <a:gd name="connsiteX98" fmla="*/ 615931 w 1803598"/>
                  <a:gd name="connsiteY98" fmla="*/ 383822 h 1467600"/>
                  <a:gd name="connsiteX99" fmla="*/ 598252 w 1803598"/>
                  <a:gd name="connsiteY99" fmla="*/ 366051 h 1467600"/>
                  <a:gd name="connsiteX100" fmla="*/ 611466 w 1803598"/>
                  <a:gd name="connsiteY100" fmla="*/ 280692 h 1467600"/>
                  <a:gd name="connsiteX101" fmla="*/ 686823 w 1803598"/>
                  <a:gd name="connsiteY101" fmla="*/ 255638 h 1467600"/>
                  <a:gd name="connsiteX102" fmla="*/ 686823 w 1803598"/>
                  <a:gd name="connsiteY102" fmla="*/ 212085 h 1467600"/>
                  <a:gd name="connsiteX103" fmla="*/ 682359 w 1803598"/>
                  <a:gd name="connsiteY103" fmla="*/ 173339 h 1467600"/>
                  <a:gd name="connsiteX104" fmla="*/ 693787 w 1803598"/>
                  <a:gd name="connsiteY104" fmla="*/ 119444 h 1467600"/>
                  <a:gd name="connsiteX105" fmla="*/ 739858 w 1803598"/>
                  <a:gd name="connsiteY105" fmla="*/ 107354 h 1467600"/>
                  <a:gd name="connsiteX106" fmla="*/ 742894 w 1803598"/>
                  <a:gd name="connsiteY106" fmla="*/ 68607 h 1467600"/>
                  <a:gd name="connsiteX107" fmla="*/ 767536 w 1803598"/>
                  <a:gd name="connsiteY107" fmla="*/ 68607 h 1467600"/>
                  <a:gd name="connsiteX108" fmla="*/ 788429 w 1803598"/>
                  <a:gd name="connsiteY108" fmla="*/ 101673 h 1467600"/>
                  <a:gd name="connsiteX109" fmla="*/ 828250 w 1803598"/>
                  <a:gd name="connsiteY109" fmla="*/ 101673 h 1467600"/>
                  <a:gd name="connsiteX110" fmla="*/ 823786 w 1803598"/>
                  <a:gd name="connsiteY110" fmla="*/ 147994 h 1467600"/>
                  <a:gd name="connsiteX111" fmla="*/ 906464 w 1803598"/>
                  <a:gd name="connsiteY111" fmla="*/ 119444 h 1467600"/>
                  <a:gd name="connsiteX112" fmla="*/ 1093962 w 1803598"/>
                  <a:gd name="connsiteY112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22829 w 1803598"/>
                  <a:gd name="connsiteY41" fmla="*/ 1115764 h 1467600"/>
                  <a:gd name="connsiteX42" fmla="*/ 1436880 w 1803598"/>
                  <a:gd name="connsiteY42" fmla="*/ 1140989 h 1467600"/>
                  <a:gd name="connsiteX43" fmla="*/ 1387615 w 1803598"/>
                  <a:gd name="connsiteY43" fmla="*/ 1279972 h 1467600"/>
                  <a:gd name="connsiteX44" fmla="*/ 1242645 w 1803598"/>
                  <a:gd name="connsiteY44" fmla="*/ 1339176 h 1467600"/>
                  <a:gd name="connsiteX45" fmla="*/ 1120693 w 1803598"/>
                  <a:gd name="connsiteY45" fmla="*/ 1330779 h 1467600"/>
                  <a:gd name="connsiteX46" fmla="*/ 978550 w 1803598"/>
                  <a:gd name="connsiteY46" fmla="*/ 1393762 h 1467600"/>
                  <a:gd name="connsiteX47" fmla="*/ 981787 w 1803598"/>
                  <a:gd name="connsiteY47" fmla="*/ 1397621 h 1467600"/>
                  <a:gd name="connsiteX48" fmla="*/ 932754 w 1803598"/>
                  <a:gd name="connsiteY48" fmla="*/ 1414681 h 1467600"/>
                  <a:gd name="connsiteX49" fmla="*/ 843091 w 1803598"/>
                  <a:gd name="connsiteY49" fmla="*/ 1425739 h 1467600"/>
                  <a:gd name="connsiteX50" fmla="*/ 822283 w 1803598"/>
                  <a:gd name="connsiteY50" fmla="*/ 1459702 h 1467600"/>
                  <a:gd name="connsiteX51" fmla="*/ 753806 w 1803598"/>
                  <a:gd name="connsiteY51" fmla="*/ 1467600 h 1467600"/>
                  <a:gd name="connsiteX52" fmla="*/ 732620 w 1803598"/>
                  <a:gd name="connsiteY52" fmla="*/ 1444300 h 1467600"/>
                  <a:gd name="connsiteX53" fmla="*/ 738674 w 1803598"/>
                  <a:gd name="connsiteY53" fmla="*/ 1419420 h 1467600"/>
                  <a:gd name="connsiteX54" fmla="*/ 696680 w 1803598"/>
                  <a:gd name="connsiteY54" fmla="*/ 1374400 h 1467600"/>
                  <a:gd name="connsiteX55" fmla="*/ 681925 w 1803598"/>
                  <a:gd name="connsiteY55" fmla="*/ 1344782 h 1467600"/>
                  <a:gd name="connsiteX56" fmla="*/ 710299 w 1803598"/>
                  <a:gd name="connsiteY56" fmla="*/ 1243684 h 1467600"/>
                  <a:gd name="connsiteX57" fmla="*/ 703111 w 1803598"/>
                  <a:gd name="connsiteY57" fmla="*/ 1214065 h 1467600"/>
                  <a:gd name="connsiteX58" fmla="*/ 661117 w 1803598"/>
                  <a:gd name="connsiteY58" fmla="*/ 1209326 h 1467600"/>
                  <a:gd name="connsiteX59" fmla="*/ 635769 w 1803598"/>
                  <a:gd name="connsiteY59" fmla="*/ 1191160 h 1467600"/>
                  <a:gd name="connsiteX60" fmla="*/ 607395 w 1803598"/>
                  <a:gd name="connsiteY60" fmla="*/ 1105069 h 1467600"/>
                  <a:gd name="connsiteX61" fmla="*/ 625176 w 1803598"/>
                  <a:gd name="connsiteY61" fmla="*/ 1075845 h 1467600"/>
                  <a:gd name="connsiteX62" fmla="*/ 600207 w 1803598"/>
                  <a:gd name="connsiteY62" fmla="*/ 1027271 h 1467600"/>
                  <a:gd name="connsiteX63" fmla="*/ 610422 w 1803598"/>
                  <a:gd name="connsiteY63" fmla="*/ 1001207 h 1467600"/>
                  <a:gd name="connsiteX64" fmla="*/ 589992 w 1803598"/>
                  <a:gd name="connsiteY64" fmla="*/ 971588 h 1467600"/>
                  <a:gd name="connsiteX65" fmla="*/ 523785 w 1803598"/>
                  <a:gd name="connsiteY65" fmla="*/ 947893 h 1467600"/>
                  <a:gd name="connsiteX66" fmla="*/ 474981 w 1803598"/>
                  <a:gd name="connsiteY66" fmla="*/ 982251 h 1467600"/>
                  <a:gd name="connsiteX67" fmla="*/ 377752 w 1803598"/>
                  <a:gd name="connsiteY67" fmla="*/ 974747 h 1467600"/>
                  <a:gd name="connsiteX68" fmla="*/ 342190 w 1803598"/>
                  <a:gd name="connsiteY68" fmla="*/ 996468 h 1467600"/>
                  <a:gd name="connsiteX69" fmla="*/ 281279 w 1803598"/>
                  <a:gd name="connsiteY69" fmla="*/ 982251 h 1467600"/>
                  <a:gd name="connsiteX70" fmla="*/ 281279 w 1803598"/>
                  <a:gd name="connsiteY70" fmla="*/ 956187 h 1467600"/>
                  <a:gd name="connsiteX71" fmla="*/ 267660 w 1803598"/>
                  <a:gd name="connsiteY71" fmla="*/ 929332 h 1467600"/>
                  <a:gd name="connsiteX72" fmla="*/ 162864 w 1803598"/>
                  <a:gd name="connsiteY72" fmla="*/ 934071 h 1467600"/>
                  <a:gd name="connsiteX73" fmla="*/ 83794 w 1803598"/>
                  <a:gd name="connsiteY73" fmla="*/ 907612 h 1467600"/>
                  <a:gd name="connsiteX74" fmla="*/ 13426 w 1803598"/>
                  <a:gd name="connsiteY74" fmla="*/ 947104 h 1467600"/>
                  <a:gd name="connsiteX75" fmla="*/ 12669 w 1803598"/>
                  <a:gd name="connsiteY75" fmla="*/ 963690 h 1467600"/>
                  <a:gd name="connsiteX76" fmla="*/ 2971 w 1803598"/>
                  <a:gd name="connsiteY76" fmla="*/ 970956 h 1467600"/>
                  <a:gd name="connsiteX77" fmla="*/ 3145 w 1803598"/>
                  <a:gd name="connsiteY77" fmla="*/ 969934 h 1467600"/>
                  <a:gd name="connsiteX78" fmla="*/ 4074 w 1803598"/>
                  <a:gd name="connsiteY78" fmla="*/ 966125 h 1467600"/>
                  <a:gd name="connsiteX79" fmla="*/ 0 w 1803598"/>
                  <a:gd name="connsiteY79" fmla="*/ 972035 h 1467600"/>
                  <a:gd name="connsiteX80" fmla="*/ 520 w 1803598"/>
                  <a:gd name="connsiteY80" fmla="*/ 965641 h 1467600"/>
                  <a:gd name="connsiteX81" fmla="*/ 11566 w 1803598"/>
                  <a:gd name="connsiteY81" fmla="*/ 843513 h 1467600"/>
                  <a:gd name="connsiteX82" fmla="*/ 47581 w 1803598"/>
                  <a:gd name="connsiteY82" fmla="*/ 826778 h 1467600"/>
                  <a:gd name="connsiteX83" fmla="*/ 59220 w 1803598"/>
                  <a:gd name="connsiteY83" fmla="*/ 802794 h 1467600"/>
                  <a:gd name="connsiteX84" fmla="*/ 73507 w 1803598"/>
                  <a:gd name="connsiteY84" fmla="*/ 800412 h 1467600"/>
                  <a:gd name="connsiteX85" fmla="*/ 82867 w 1803598"/>
                  <a:gd name="connsiteY85" fmla="*/ 791347 h 1467600"/>
                  <a:gd name="connsiteX86" fmla="*/ 127542 w 1803598"/>
                  <a:gd name="connsiteY86" fmla="*/ 729043 h 1467600"/>
                  <a:gd name="connsiteX87" fmla="*/ 257541 w 1803598"/>
                  <a:gd name="connsiteY87" fmla="*/ 703989 h 1467600"/>
                  <a:gd name="connsiteX88" fmla="*/ 282898 w 1803598"/>
                  <a:gd name="connsiteY88" fmla="*/ 716953 h 1467600"/>
                  <a:gd name="connsiteX89" fmla="*/ 328076 w 1803598"/>
                  <a:gd name="connsiteY89" fmla="*/ 678206 h 1467600"/>
                  <a:gd name="connsiteX90" fmla="*/ 449504 w 1803598"/>
                  <a:gd name="connsiteY90" fmla="*/ 685781 h 1467600"/>
                  <a:gd name="connsiteX91" fmla="*/ 527360 w 1803598"/>
                  <a:gd name="connsiteY91" fmla="*/ 693064 h 1467600"/>
                  <a:gd name="connsiteX92" fmla="*/ 608431 w 1803598"/>
                  <a:gd name="connsiteY92" fmla="*/ 627370 h 1467600"/>
                  <a:gd name="connsiteX93" fmla="*/ 611466 w 1803598"/>
                  <a:gd name="connsiteY93" fmla="*/ 545507 h 1467600"/>
                  <a:gd name="connsiteX94" fmla="*/ 583788 w 1803598"/>
                  <a:gd name="connsiteY94" fmla="*/ 531815 h 1467600"/>
                  <a:gd name="connsiteX95" fmla="*/ 580395 w 1803598"/>
                  <a:gd name="connsiteY95" fmla="*/ 516958 h 1467600"/>
                  <a:gd name="connsiteX96" fmla="*/ 633609 w 1803598"/>
                  <a:gd name="connsiteY96" fmla="*/ 435095 h 1467600"/>
                  <a:gd name="connsiteX97" fmla="*/ 615931 w 1803598"/>
                  <a:gd name="connsiteY97" fmla="*/ 383822 h 1467600"/>
                  <a:gd name="connsiteX98" fmla="*/ 598252 w 1803598"/>
                  <a:gd name="connsiteY98" fmla="*/ 366051 h 1467600"/>
                  <a:gd name="connsiteX99" fmla="*/ 611466 w 1803598"/>
                  <a:gd name="connsiteY99" fmla="*/ 280692 h 1467600"/>
                  <a:gd name="connsiteX100" fmla="*/ 686823 w 1803598"/>
                  <a:gd name="connsiteY100" fmla="*/ 255638 h 1467600"/>
                  <a:gd name="connsiteX101" fmla="*/ 686823 w 1803598"/>
                  <a:gd name="connsiteY101" fmla="*/ 212085 h 1467600"/>
                  <a:gd name="connsiteX102" fmla="*/ 682359 w 1803598"/>
                  <a:gd name="connsiteY102" fmla="*/ 173339 h 1467600"/>
                  <a:gd name="connsiteX103" fmla="*/ 693787 w 1803598"/>
                  <a:gd name="connsiteY103" fmla="*/ 119444 h 1467600"/>
                  <a:gd name="connsiteX104" fmla="*/ 739858 w 1803598"/>
                  <a:gd name="connsiteY104" fmla="*/ 107354 h 1467600"/>
                  <a:gd name="connsiteX105" fmla="*/ 742894 w 1803598"/>
                  <a:gd name="connsiteY105" fmla="*/ 68607 h 1467600"/>
                  <a:gd name="connsiteX106" fmla="*/ 767536 w 1803598"/>
                  <a:gd name="connsiteY106" fmla="*/ 68607 h 1467600"/>
                  <a:gd name="connsiteX107" fmla="*/ 788429 w 1803598"/>
                  <a:gd name="connsiteY107" fmla="*/ 101673 h 1467600"/>
                  <a:gd name="connsiteX108" fmla="*/ 828250 w 1803598"/>
                  <a:gd name="connsiteY108" fmla="*/ 101673 h 1467600"/>
                  <a:gd name="connsiteX109" fmla="*/ 823786 w 1803598"/>
                  <a:gd name="connsiteY109" fmla="*/ 147994 h 1467600"/>
                  <a:gd name="connsiteX110" fmla="*/ 906464 w 1803598"/>
                  <a:gd name="connsiteY110" fmla="*/ 119444 h 1467600"/>
                  <a:gd name="connsiteX111" fmla="*/ 1093962 w 1803598"/>
                  <a:gd name="connsiteY111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58535 w 1803598"/>
                  <a:gd name="connsiteY40" fmla="*/ 1103206 h 1467600"/>
                  <a:gd name="connsiteX41" fmla="*/ 1436880 w 1803598"/>
                  <a:gd name="connsiteY41" fmla="*/ 1140989 h 1467600"/>
                  <a:gd name="connsiteX42" fmla="*/ 1387615 w 1803598"/>
                  <a:gd name="connsiteY42" fmla="*/ 1279972 h 1467600"/>
                  <a:gd name="connsiteX43" fmla="*/ 1242645 w 1803598"/>
                  <a:gd name="connsiteY43" fmla="*/ 1339176 h 1467600"/>
                  <a:gd name="connsiteX44" fmla="*/ 1120693 w 1803598"/>
                  <a:gd name="connsiteY44" fmla="*/ 1330779 h 1467600"/>
                  <a:gd name="connsiteX45" fmla="*/ 978550 w 1803598"/>
                  <a:gd name="connsiteY45" fmla="*/ 1393762 h 1467600"/>
                  <a:gd name="connsiteX46" fmla="*/ 981787 w 1803598"/>
                  <a:gd name="connsiteY46" fmla="*/ 1397621 h 1467600"/>
                  <a:gd name="connsiteX47" fmla="*/ 932754 w 1803598"/>
                  <a:gd name="connsiteY47" fmla="*/ 1414681 h 1467600"/>
                  <a:gd name="connsiteX48" fmla="*/ 843091 w 1803598"/>
                  <a:gd name="connsiteY48" fmla="*/ 1425739 h 1467600"/>
                  <a:gd name="connsiteX49" fmla="*/ 822283 w 1803598"/>
                  <a:gd name="connsiteY49" fmla="*/ 1459702 h 1467600"/>
                  <a:gd name="connsiteX50" fmla="*/ 753806 w 1803598"/>
                  <a:gd name="connsiteY50" fmla="*/ 1467600 h 1467600"/>
                  <a:gd name="connsiteX51" fmla="*/ 732620 w 1803598"/>
                  <a:gd name="connsiteY51" fmla="*/ 1444300 h 1467600"/>
                  <a:gd name="connsiteX52" fmla="*/ 738674 w 1803598"/>
                  <a:gd name="connsiteY52" fmla="*/ 1419420 h 1467600"/>
                  <a:gd name="connsiteX53" fmla="*/ 696680 w 1803598"/>
                  <a:gd name="connsiteY53" fmla="*/ 1374400 h 1467600"/>
                  <a:gd name="connsiteX54" fmla="*/ 681925 w 1803598"/>
                  <a:gd name="connsiteY54" fmla="*/ 1344782 h 1467600"/>
                  <a:gd name="connsiteX55" fmla="*/ 710299 w 1803598"/>
                  <a:gd name="connsiteY55" fmla="*/ 1243684 h 1467600"/>
                  <a:gd name="connsiteX56" fmla="*/ 703111 w 1803598"/>
                  <a:gd name="connsiteY56" fmla="*/ 1214065 h 1467600"/>
                  <a:gd name="connsiteX57" fmla="*/ 661117 w 1803598"/>
                  <a:gd name="connsiteY57" fmla="*/ 1209326 h 1467600"/>
                  <a:gd name="connsiteX58" fmla="*/ 635769 w 1803598"/>
                  <a:gd name="connsiteY58" fmla="*/ 1191160 h 1467600"/>
                  <a:gd name="connsiteX59" fmla="*/ 607395 w 1803598"/>
                  <a:gd name="connsiteY59" fmla="*/ 1105069 h 1467600"/>
                  <a:gd name="connsiteX60" fmla="*/ 625176 w 1803598"/>
                  <a:gd name="connsiteY60" fmla="*/ 1075845 h 1467600"/>
                  <a:gd name="connsiteX61" fmla="*/ 600207 w 1803598"/>
                  <a:gd name="connsiteY61" fmla="*/ 1027271 h 1467600"/>
                  <a:gd name="connsiteX62" fmla="*/ 610422 w 1803598"/>
                  <a:gd name="connsiteY62" fmla="*/ 1001207 h 1467600"/>
                  <a:gd name="connsiteX63" fmla="*/ 589992 w 1803598"/>
                  <a:gd name="connsiteY63" fmla="*/ 971588 h 1467600"/>
                  <a:gd name="connsiteX64" fmla="*/ 523785 w 1803598"/>
                  <a:gd name="connsiteY64" fmla="*/ 947893 h 1467600"/>
                  <a:gd name="connsiteX65" fmla="*/ 474981 w 1803598"/>
                  <a:gd name="connsiteY65" fmla="*/ 982251 h 1467600"/>
                  <a:gd name="connsiteX66" fmla="*/ 377752 w 1803598"/>
                  <a:gd name="connsiteY66" fmla="*/ 974747 h 1467600"/>
                  <a:gd name="connsiteX67" fmla="*/ 342190 w 1803598"/>
                  <a:gd name="connsiteY67" fmla="*/ 996468 h 1467600"/>
                  <a:gd name="connsiteX68" fmla="*/ 281279 w 1803598"/>
                  <a:gd name="connsiteY68" fmla="*/ 982251 h 1467600"/>
                  <a:gd name="connsiteX69" fmla="*/ 281279 w 1803598"/>
                  <a:gd name="connsiteY69" fmla="*/ 956187 h 1467600"/>
                  <a:gd name="connsiteX70" fmla="*/ 267660 w 1803598"/>
                  <a:gd name="connsiteY70" fmla="*/ 929332 h 1467600"/>
                  <a:gd name="connsiteX71" fmla="*/ 162864 w 1803598"/>
                  <a:gd name="connsiteY71" fmla="*/ 934071 h 1467600"/>
                  <a:gd name="connsiteX72" fmla="*/ 83794 w 1803598"/>
                  <a:gd name="connsiteY72" fmla="*/ 907612 h 1467600"/>
                  <a:gd name="connsiteX73" fmla="*/ 13426 w 1803598"/>
                  <a:gd name="connsiteY73" fmla="*/ 947104 h 1467600"/>
                  <a:gd name="connsiteX74" fmla="*/ 12669 w 1803598"/>
                  <a:gd name="connsiteY74" fmla="*/ 963690 h 1467600"/>
                  <a:gd name="connsiteX75" fmla="*/ 2971 w 1803598"/>
                  <a:gd name="connsiteY75" fmla="*/ 970956 h 1467600"/>
                  <a:gd name="connsiteX76" fmla="*/ 3145 w 1803598"/>
                  <a:gd name="connsiteY76" fmla="*/ 969934 h 1467600"/>
                  <a:gd name="connsiteX77" fmla="*/ 4074 w 1803598"/>
                  <a:gd name="connsiteY77" fmla="*/ 966125 h 1467600"/>
                  <a:gd name="connsiteX78" fmla="*/ 0 w 1803598"/>
                  <a:gd name="connsiteY78" fmla="*/ 972035 h 1467600"/>
                  <a:gd name="connsiteX79" fmla="*/ 520 w 1803598"/>
                  <a:gd name="connsiteY79" fmla="*/ 965641 h 1467600"/>
                  <a:gd name="connsiteX80" fmla="*/ 11566 w 1803598"/>
                  <a:gd name="connsiteY80" fmla="*/ 843513 h 1467600"/>
                  <a:gd name="connsiteX81" fmla="*/ 47581 w 1803598"/>
                  <a:gd name="connsiteY81" fmla="*/ 826778 h 1467600"/>
                  <a:gd name="connsiteX82" fmla="*/ 59220 w 1803598"/>
                  <a:gd name="connsiteY82" fmla="*/ 802794 h 1467600"/>
                  <a:gd name="connsiteX83" fmla="*/ 73507 w 1803598"/>
                  <a:gd name="connsiteY83" fmla="*/ 800412 h 1467600"/>
                  <a:gd name="connsiteX84" fmla="*/ 82867 w 1803598"/>
                  <a:gd name="connsiteY84" fmla="*/ 791347 h 1467600"/>
                  <a:gd name="connsiteX85" fmla="*/ 127542 w 1803598"/>
                  <a:gd name="connsiteY85" fmla="*/ 729043 h 1467600"/>
                  <a:gd name="connsiteX86" fmla="*/ 257541 w 1803598"/>
                  <a:gd name="connsiteY86" fmla="*/ 703989 h 1467600"/>
                  <a:gd name="connsiteX87" fmla="*/ 282898 w 1803598"/>
                  <a:gd name="connsiteY87" fmla="*/ 716953 h 1467600"/>
                  <a:gd name="connsiteX88" fmla="*/ 328076 w 1803598"/>
                  <a:gd name="connsiteY88" fmla="*/ 678206 h 1467600"/>
                  <a:gd name="connsiteX89" fmla="*/ 449504 w 1803598"/>
                  <a:gd name="connsiteY89" fmla="*/ 685781 h 1467600"/>
                  <a:gd name="connsiteX90" fmla="*/ 527360 w 1803598"/>
                  <a:gd name="connsiteY90" fmla="*/ 693064 h 1467600"/>
                  <a:gd name="connsiteX91" fmla="*/ 608431 w 1803598"/>
                  <a:gd name="connsiteY91" fmla="*/ 627370 h 1467600"/>
                  <a:gd name="connsiteX92" fmla="*/ 611466 w 1803598"/>
                  <a:gd name="connsiteY92" fmla="*/ 545507 h 1467600"/>
                  <a:gd name="connsiteX93" fmla="*/ 583788 w 1803598"/>
                  <a:gd name="connsiteY93" fmla="*/ 531815 h 1467600"/>
                  <a:gd name="connsiteX94" fmla="*/ 580395 w 1803598"/>
                  <a:gd name="connsiteY94" fmla="*/ 516958 h 1467600"/>
                  <a:gd name="connsiteX95" fmla="*/ 633609 w 1803598"/>
                  <a:gd name="connsiteY95" fmla="*/ 435095 h 1467600"/>
                  <a:gd name="connsiteX96" fmla="*/ 615931 w 1803598"/>
                  <a:gd name="connsiteY96" fmla="*/ 383822 h 1467600"/>
                  <a:gd name="connsiteX97" fmla="*/ 598252 w 1803598"/>
                  <a:gd name="connsiteY97" fmla="*/ 366051 h 1467600"/>
                  <a:gd name="connsiteX98" fmla="*/ 611466 w 1803598"/>
                  <a:gd name="connsiteY98" fmla="*/ 280692 h 1467600"/>
                  <a:gd name="connsiteX99" fmla="*/ 686823 w 1803598"/>
                  <a:gd name="connsiteY99" fmla="*/ 255638 h 1467600"/>
                  <a:gd name="connsiteX100" fmla="*/ 686823 w 1803598"/>
                  <a:gd name="connsiteY100" fmla="*/ 212085 h 1467600"/>
                  <a:gd name="connsiteX101" fmla="*/ 682359 w 1803598"/>
                  <a:gd name="connsiteY101" fmla="*/ 173339 h 1467600"/>
                  <a:gd name="connsiteX102" fmla="*/ 693787 w 1803598"/>
                  <a:gd name="connsiteY102" fmla="*/ 119444 h 1467600"/>
                  <a:gd name="connsiteX103" fmla="*/ 739858 w 1803598"/>
                  <a:gd name="connsiteY103" fmla="*/ 107354 h 1467600"/>
                  <a:gd name="connsiteX104" fmla="*/ 742894 w 1803598"/>
                  <a:gd name="connsiteY104" fmla="*/ 68607 h 1467600"/>
                  <a:gd name="connsiteX105" fmla="*/ 767536 w 1803598"/>
                  <a:gd name="connsiteY105" fmla="*/ 68607 h 1467600"/>
                  <a:gd name="connsiteX106" fmla="*/ 788429 w 1803598"/>
                  <a:gd name="connsiteY106" fmla="*/ 101673 h 1467600"/>
                  <a:gd name="connsiteX107" fmla="*/ 828250 w 1803598"/>
                  <a:gd name="connsiteY107" fmla="*/ 101673 h 1467600"/>
                  <a:gd name="connsiteX108" fmla="*/ 823786 w 1803598"/>
                  <a:gd name="connsiteY108" fmla="*/ 147994 h 1467600"/>
                  <a:gd name="connsiteX109" fmla="*/ 906464 w 1803598"/>
                  <a:gd name="connsiteY109" fmla="*/ 119444 h 1467600"/>
                  <a:gd name="connsiteX110" fmla="*/ 1093962 w 1803598"/>
                  <a:gd name="connsiteY110" fmla="*/ 0 h 1467600"/>
                  <a:gd name="connsiteX0" fmla="*/ 1093962 w 1803598"/>
                  <a:gd name="connsiteY0" fmla="*/ 0 h 1467600"/>
                  <a:gd name="connsiteX1" fmla="*/ 1174854 w 1803598"/>
                  <a:gd name="connsiteY1" fmla="*/ 4224 h 1467600"/>
                  <a:gd name="connsiteX2" fmla="*/ 1190032 w 1803598"/>
                  <a:gd name="connsiteY2" fmla="*/ 17771 h 1467600"/>
                  <a:gd name="connsiteX3" fmla="*/ 1178068 w 1803598"/>
                  <a:gd name="connsiteY3" fmla="*/ 50836 h 1467600"/>
                  <a:gd name="connsiteX4" fmla="*/ 1217711 w 1803598"/>
                  <a:gd name="connsiteY4" fmla="*/ 83465 h 1467600"/>
                  <a:gd name="connsiteX5" fmla="*/ 1260389 w 1803598"/>
                  <a:gd name="connsiteY5" fmla="*/ 83465 h 1467600"/>
                  <a:gd name="connsiteX6" fmla="*/ 1284139 w 1803598"/>
                  <a:gd name="connsiteY6" fmla="*/ 68607 h 1467600"/>
                  <a:gd name="connsiteX7" fmla="*/ 1341638 w 1803598"/>
                  <a:gd name="connsiteY7" fmla="*/ 86815 h 1467600"/>
                  <a:gd name="connsiteX8" fmla="*/ 1443423 w 1803598"/>
                  <a:gd name="connsiteY8" fmla="*/ 161540 h 1467600"/>
                  <a:gd name="connsiteX9" fmla="*/ 1521815 w 1803598"/>
                  <a:gd name="connsiteY9" fmla="*/ 168823 h 1467600"/>
                  <a:gd name="connsiteX10" fmla="*/ 1574850 w 1803598"/>
                  <a:gd name="connsiteY10" fmla="*/ 222719 h 1467600"/>
                  <a:gd name="connsiteX11" fmla="*/ 1589314 w 1803598"/>
                  <a:gd name="connsiteY11" fmla="*/ 258260 h 1467600"/>
                  <a:gd name="connsiteX12" fmla="*/ 1607350 w 1803598"/>
                  <a:gd name="connsiteY12" fmla="*/ 273118 h 1467600"/>
                  <a:gd name="connsiteX13" fmla="*/ 1705028 w 1803598"/>
                  <a:gd name="connsiteY13" fmla="*/ 242529 h 1467600"/>
                  <a:gd name="connsiteX14" fmla="*/ 1794312 w 1803598"/>
                  <a:gd name="connsiteY14" fmla="*/ 313030 h 1467600"/>
                  <a:gd name="connsiteX15" fmla="*/ 1803598 w 1803598"/>
                  <a:gd name="connsiteY15" fmla="*/ 335753 h 1467600"/>
                  <a:gd name="connsiteX16" fmla="*/ 1792527 w 1803598"/>
                  <a:gd name="connsiteY16" fmla="*/ 371877 h 1467600"/>
                  <a:gd name="connsiteX17" fmla="*/ 1759313 w 1803598"/>
                  <a:gd name="connsiteY17" fmla="*/ 424025 h 1467600"/>
                  <a:gd name="connsiteX18" fmla="*/ 1705028 w 1803598"/>
                  <a:gd name="connsiteY18" fmla="*/ 459129 h 1467600"/>
                  <a:gd name="connsiteX19" fmla="*/ 1698242 w 1803598"/>
                  <a:gd name="connsiteY19" fmla="*/ 491612 h 1467600"/>
                  <a:gd name="connsiteX20" fmla="*/ 1707170 w 1803598"/>
                  <a:gd name="connsiteY20" fmla="*/ 530067 h 1467600"/>
                  <a:gd name="connsiteX21" fmla="*/ 1711992 w 1803598"/>
                  <a:gd name="connsiteY21" fmla="*/ 563278 h 1467600"/>
                  <a:gd name="connsiteX22" fmla="*/ 1756991 w 1803598"/>
                  <a:gd name="connsiteY22" fmla="*/ 605229 h 1467600"/>
                  <a:gd name="connsiteX23" fmla="*/ 1741902 w 1803598"/>
                  <a:gd name="connsiteY23" fmla="*/ 629045 h 1467600"/>
                  <a:gd name="connsiteX24" fmla="*/ 1734089 w 1803598"/>
                  <a:gd name="connsiteY24" fmla="*/ 639191 h 1467600"/>
                  <a:gd name="connsiteX25" fmla="*/ 1732929 w 1803598"/>
                  <a:gd name="connsiteY25" fmla="*/ 638531 h 1467600"/>
                  <a:gd name="connsiteX26" fmla="*/ 1677764 w 1803598"/>
                  <a:gd name="connsiteY26" fmla="*/ 640913 h 1467600"/>
                  <a:gd name="connsiteX27" fmla="*/ 1611722 w 1803598"/>
                  <a:gd name="connsiteY27" fmla="*/ 669385 h 1467600"/>
                  <a:gd name="connsiteX28" fmla="*/ 1620045 w 1803598"/>
                  <a:gd name="connsiteY28" fmla="*/ 702689 h 1467600"/>
                  <a:gd name="connsiteX29" fmla="*/ 1635297 w 1803598"/>
                  <a:gd name="connsiteY29" fmla="*/ 760702 h 1467600"/>
                  <a:gd name="connsiteX30" fmla="*/ 1609003 w 1803598"/>
                  <a:gd name="connsiteY30" fmla="*/ 781375 h 1467600"/>
                  <a:gd name="connsiteX31" fmla="*/ 1612902 w 1803598"/>
                  <a:gd name="connsiteY31" fmla="*/ 807845 h 1467600"/>
                  <a:gd name="connsiteX32" fmla="*/ 1628154 w 1803598"/>
                  <a:gd name="connsiteY32" fmla="*/ 883908 h 1467600"/>
                  <a:gd name="connsiteX33" fmla="*/ 1593852 w 1803598"/>
                  <a:gd name="connsiteY33" fmla="*/ 910447 h 1467600"/>
                  <a:gd name="connsiteX34" fmla="*/ 1563766 w 1803598"/>
                  <a:gd name="connsiteY34" fmla="*/ 1006527 h 1467600"/>
                  <a:gd name="connsiteX35" fmla="*/ 1522421 w 1803598"/>
                  <a:gd name="connsiteY35" fmla="*/ 1029201 h 1467600"/>
                  <a:gd name="connsiteX36" fmla="*/ 1475753 w 1803598"/>
                  <a:gd name="connsiteY36" fmla="*/ 1017502 h 1467600"/>
                  <a:gd name="connsiteX37" fmla="*/ 1446617 w 1803598"/>
                  <a:gd name="connsiteY37" fmla="*/ 1045974 h 1467600"/>
                  <a:gd name="connsiteX38" fmla="*/ 1438847 w 1803598"/>
                  <a:gd name="connsiteY38" fmla="*/ 1115066 h 1467600"/>
                  <a:gd name="connsiteX39" fmla="*/ 1442037 w 1803598"/>
                  <a:gd name="connsiteY39" fmla="*/ 1117696 h 1467600"/>
                  <a:gd name="connsiteX40" fmla="*/ 1436880 w 1803598"/>
                  <a:gd name="connsiteY40" fmla="*/ 1140989 h 1467600"/>
                  <a:gd name="connsiteX41" fmla="*/ 1387615 w 1803598"/>
                  <a:gd name="connsiteY41" fmla="*/ 1279972 h 1467600"/>
                  <a:gd name="connsiteX42" fmla="*/ 1242645 w 1803598"/>
                  <a:gd name="connsiteY42" fmla="*/ 1339176 h 1467600"/>
                  <a:gd name="connsiteX43" fmla="*/ 1120693 w 1803598"/>
                  <a:gd name="connsiteY43" fmla="*/ 1330779 h 1467600"/>
                  <a:gd name="connsiteX44" fmla="*/ 978550 w 1803598"/>
                  <a:gd name="connsiteY44" fmla="*/ 1393762 h 1467600"/>
                  <a:gd name="connsiteX45" fmla="*/ 981787 w 1803598"/>
                  <a:gd name="connsiteY45" fmla="*/ 1397621 h 1467600"/>
                  <a:gd name="connsiteX46" fmla="*/ 932754 w 1803598"/>
                  <a:gd name="connsiteY46" fmla="*/ 1414681 h 1467600"/>
                  <a:gd name="connsiteX47" fmla="*/ 843091 w 1803598"/>
                  <a:gd name="connsiteY47" fmla="*/ 1425739 h 1467600"/>
                  <a:gd name="connsiteX48" fmla="*/ 822283 w 1803598"/>
                  <a:gd name="connsiteY48" fmla="*/ 1459702 h 1467600"/>
                  <a:gd name="connsiteX49" fmla="*/ 753806 w 1803598"/>
                  <a:gd name="connsiteY49" fmla="*/ 1467600 h 1467600"/>
                  <a:gd name="connsiteX50" fmla="*/ 732620 w 1803598"/>
                  <a:gd name="connsiteY50" fmla="*/ 1444300 h 1467600"/>
                  <a:gd name="connsiteX51" fmla="*/ 738674 w 1803598"/>
                  <a:gd name="connsiteY51" fmla="*/ 1419420 h 1467600"/>
                  <a:gd name="connsiteX52" fmla="*/ 696680 w 1803598"/>
                  <a:gd name="connsiteY52" fmla="*/ 1374400 h 1467600"/>
                  <a:gd name="connsiteX53" fmla="*/ 681925 w 1803598"/>
                  <a:gd name="connsiteY53" fmla="*/ 1344782 h 1467600"/>
                  <a:gd name="connsiteX54" fmla="*/ 710299 w 1803598"/>
                  <a:gd name="connsiteY54" fmla="*/ 1243684 h 1467600"/>
                  <a:gd name="connsiteX55" fmla="*/ 703111 w 1803598"/>
                  <a:gd name="connsiteY55" fmla="*/ 1214065 h 1467600"/>
                  <a:gd name="connsiteX56" fmla="*/ 661117 w 1803598"/>
                  <a:gd name="connsiteY56" fmla="*/ 1209326 h 1467600"/>
                  <a:gd name="connsiteX57" fmla="*/ 635769 w 1803598"/>
                  <a:gd name="connsiteY57" fmla="*/ 1191160 h 1467600"/>
                  <a:gd name="connsiteX58" fmla="*/ 607395 w 1803598"/>
                  <a:gd name="connsiteY58" fmla="*/ 1105069 h 1467600"/>
                  <a:gd name="connsiteX59" fmla="*/ 625176 w 1803598"/>
                  <a:gd name="connsiteY59" fmla="*/ 1075845 h 1467600"/>
                  <a:gd name="connsiteX60" fmla="*/ 600207 w 1803598"/>
                  <a:gd name="connsiteY60" fmla="*/ 1027271 h 1467600"/>
                  <a:gd name="connsiteX61" fmla="*/ 610422 w 1803598"/>
                  <a:gd name="connsiteY61" fmla="*/ 1001207 h 1467600"/>
                  <a:gd name="connsiteX62" fmla="*/ 589992 w 1803598"/>
                  <a:gd name="connsiteY62" fmla="*/ 971588 h 1467600"/>
                  <a:gd name="connsiteX63" fmla="*/ 523785 w 1803598"/>
                  <a:gd name="connsiteY63" fmla="*/ 947893 h 1467600"/>
                  <a:gd name="connsiteX64" fmla="*/ 474981 w 1803598"/>
                  <a:gd name="connsiteY64" fmla="*/ 982251 h 1467600"/>
                  <a:gd name="connsiteX65" fmla="*/ 377752 w 1803598"/>
                  <a:gd name="connsiteY65" fmla="*/ 974747 h 1467600"/>
                  <a:gd name="connsiteX66" fmla="*/ 342190 w 1803598"/>
                  <a:gd name="connsiteY66" fmla="*/ 996468 h 1467600"/>
                  <a:gd name="connsiteX67" fmla="*/ 281279 w 1803598"/>
                  <a:gd name="connsiteY67" fmla="*/ 982251 h 1467600"/>
                  <a:gd name="connsiteX68" fmla="*/ 281279 w 1803598"/>
                  <a:gd name="connsiteY68" fmla="*/ 956187 h 1467600"/>
                  <a:gd name="connsiteX69" fmla="*/ 267660 w 1803598"/>
                  <a:gd name="connsiteY69" fmla="*/ 929332 h 1467600"/>
                  <a:gd name="connsiteX70" fmla="*/ 162864 w 1803598"/>
                  <a:gd name="connsiteY70" fmla="*/ 934071 h 1467600"/>
                  <a:gd name="connsiteX71" fmla="*/ 83794 w 1803598"/>
                  <a:gd name="connsiteY71" fmla="*/ 907612 h 1467600"/>
                  <a:gd name="connsiteX72" fmla="*/ 13426 w 1803598"/>
                  <a:gd name="connsiteY72" fmla="*/ 947104 h 1467600"/>
                  <a:gd name="connsiteX73" fmla="*/ 12669 w 1803598"/>
                  <a:gd name="connsiteY73" fmla="*/ 963690 h 1467600"/>
                  <a:gd name="connsiteX74" fmla="*/ 2971 w 1803598"/>
                  <a:gd name="connsiteY74" fmla="*/ 970956 h 1467600"/>
                  <a:gd name="connsiteX75" fmla="*/ 3145 w 1803598"/>
                  <a:gd name="connsiteY75" fmla="*/ 969934 h 1467600"/>
                  <a:gd name="connsiteX76" fmla="*/ 4074 w 1803598"/>
                  <a:gd name="connsiteY76" fmla="*/ 966125 h 1467600"/>
                  <a:gd name="connsiteX77" fmla="*/ 0 w 1803598"/>
                  <a:gd name="connsiteY77" fmla="*/ 972035 h 1467600"/>
                  <a:gd name="connsiteX78" fmla="*/ 520 w 1803598"/>
                  <a:gd name="connsiteY78" fmla="*/ 965641 h 1467600"/>
                  <a:gd name="connsiteX79" fmla="*/ 11566 w 1803598"/>
                  <a:gd name="connsiteY79" fmla="*/ 843513 h 1467600"/>
                  <a:gd name="connsiteX80" fmla="*/ 47581 w 1803598"/>
                  <a:gd name="connsiteY80" fmla="*/ 826778 h 1467600"/>
                  <a:gd name="connsiteX81" fmla="*/ 59220 w 1803598"/>
                  <a:gd name="connsiteY81" fmla="*/ 802794 h 1467600"/>
                  <a:gd name="connsiteX82" fmla="*/ 73507 w 1803598"/>
                  <a:gd name="connsiteY82" fmla="*/ 800412 h 1467600"/>
                  <a:gd name="connsiteX83" fmla="*/ 82867 w 1803598"/>
                  <a:gd name="connsiteY83" fmla="*/ 791347 h 1467600"/>
                  <a:gd name="connsiteX84" fmla="*/ 127542 w 1803598"/>
                  <a:gd name="connsiteY84" fmla="*/ 729043 h 1467600"/>
                  <a:gd name="connsiteX85" fmla="*/ 257541 w 1803598"/>
                  <a:gd name="connsiteY85" fmla="*/ 703989 h 1467600"/>
                  <a:gd name="connsiteX86" fmla="*/ 282898 w 1803598"/>
                  <a:gd name="connsiteY86" fmla="*/ 716953 h 1467600"/>
                  <a:gd name="connsiteX87" fmla="*/ 328076 w 1803598"/>
                  <a:gd name="connsiteY87" fmla="*/ 678206 h 1467600"/>
                  <a:gd name="connsiteX88" fmla="*/ 449504 w 1803598"/>
                  <a:gd name="connsiteY88" fmla="*/ 685781 h 1467600"/>
                  <a:gd name="connsiteX89" fmla="*/ 527360 w 1803598"/>
                  <a:gd name="connsiteY89" fmla="*/ 693064 h 1467600"/>
                  <a:gd name="connsiteX90" fmla="*/ 608431 w 1803598"/>
                  <a:gd name="connsiteY90" fmla="*/ 627370 h 1467600"/>
                  <a:gd name="connsiteX91" fmla="*/ 611466 w 1803598"/>
                  <a:gd name="connsiteY91" fmla="*/ 545507 h 1467600"/>
                  <a:gd name="connsiteX92" fmla="*/ 583788 w 1803598"/>
                  <a:gd name="connsiteY92" fmla="*/ 531815 h 1467600"/>
                  <a:gd name="connsiteX93" fmla="*/ 580395 w 1803598"/>
                  <a:gd name="connsiteY93" fmla="*/ 516958 h 1467600"/>
                  <a:gd name="connsiteX94" fmla="*/ 633609 w 1803598"/>
                  <a:gd name="connsiteY94" fmla="*/ 435095 h 1467600"/>
                  <a:gd name="connsiteX95" fmla="*/ 615931 w 1803598"/>
                  <a:gd name="connsiteY95" fmla="*/ 383822 h 1467600"/>
                  <a:gd name="connsiteX96" fmla="*/ 598252 w 1803598"/>
                  <a:gd name="connsiteY96" fmla="*/ 366051 h 1467600"/>
                  <a:gd name="connsiteX97" fmla="*/ 611466 w 1803598"/>
                  <a:gd name="connsiteY97" fmla="*/ 280692 h 1467600"/>
                  <a:gd name="connsiteX98" fmla="*/ 686823 w 1803598"/>
                  <a:gd name="connsiteY98" fmla="*/ 255638 h 1467600"/>
                  <a:gd name="connsiteX99" fmla="*/ 686823 w 1803598"/>
                  <a:gd name="connsiteY99" fmla="*/ 212085 h 1467600"/>
                  <a:gd name="connsiteX100" fmla="*/ 682359 w 1803598"/>
                  <a:gd name="connsiteY100" fmla="*/ 173339 h 1467600"/>
                  <a:gd name="connsiteX101" fmla="*/ 693787 w 1803598"/>
                  <a:gd name="connsiteY101" fmla="*/ 119444 h 1467600"/>
                  <a:gd name="connsiteX102" fmla="*/ 739858 w 1803598"/>
                  <a:gd name="connsiteY102" fmla="*/ 107354 h 1467600"/>
                  <a:gd name="connsiteX103" fmla="*/ 742894 w 1803598"/>
                  <a:gd name="connsiteY103" fmla="*/ 68607 h 1467600"/>
                  <a:gd name="connsiteX104" fmla="*/ 767536 w 1803598"/>
                  <a:gd name="connsiteY104" fmla="*/ 68607 h 1467600"/>
                  <a:gd name="connsiteX105" fmla="*/ 788429 w 1803598"/>
                  <a:gd name="connsiteY105" fmla="*/ 101673 h 1467600"/>
                  <a:gd name="connsiteX106" fmla="*/ 828250 w 1803598"/>
                  <a:gd name="connsiteY106" fmla="*/ 101673 h 1467600"/>
                  <a:gd name="connsiteX107" fmla="*/ 823786 w 1803598"/>
                  <a:gd name="connsiteY107" fmla="*/ 147994 h 1467600"/>
                  <a:gd name="connsiteX108" fmla="*/ 906464 w 1803598"/>
                  <a:gd name="connsiteY108" fmla="*/ 119444 h 1467600"/>
                  <a:gd name="connsiteX109" fmla="*/ 1093962 w 1803598"/>
                  <a:gd name="connsiteY109" fmla="*/ 0 h 146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803598" h="1467600">
                    <a:moveTo>
                      <a:pt x="1093962" y="0"/>
                    </a:moveTo>
                    <a:lnTo>
                      <a:pt x="1174854" y="4224"/>
                    </a:lnTo>
                    <a:cubicBezTo>
                      <a:pt x="1179854" y="8740"/>
                      <a:pt x="1185032" y="13255"/>
                      <a:pt x="1190032" y="17771"/>
                    </a:cubicBezTo>
                    <a:cubicBezTo>
                      <a:pt x="1186104" y="28841"/>
                      <a:pt x="1181997" y="39766"/>
                      <a:pt x="1178068" y="50836"/>
                    </a:cubicBezTo>
                    <a:lnTo>
                      <a:pt x="1217711" y="83465"/>
                    </a:lnTo>
                    <a:lnTo>
                      <a:pt x="1260389" y="83465"/>
                    </a:lnTo>
                    <a:lnTo>
                      <a:pt x="1284139" y="68607"/>
                    </a:lnTo>
                    <a:lnTo>
                      <a:pt x="1341638" y="86815"/>
                    </a:lnTo>
                    <a:lnTo>
                      <a:pt x="1443423" y="161540"/>
                    </a:lnTo>
                    <a:lnTo>
                      <a:pt x="1521815" y="168823"/>
                    </a:lnTo>
                    <a:lnTo>
                      <a:pt x="1574850" y="222719"/>
                    </a:lnTo>
                    <a:cubicBezTo>
                      <a:pt x="1579672" y="234517"/>
                      <a:pt x="1584493" y="246462"/>
                      <a:pt x="1589314" y="258260"/>
                    </a:cubicBezTo>
                    <a:cubicBezTo>
                      <a:pt x="1595207" y="263213"/>
                      <a:pt x="1601457" y="268165"/>
                      <a:pt x="1607350" y="273118"/>
                    </a:cubicBezTo>
                    <a:lnTo>
                      <a:pt x="1705028" y="242529"/>
                    </a:lnTo>
                    <a:lnTo>
                      <a:pt x="1794312" y="313030"/>
                    </a:lnTo>
                    <a:cubicBezTo>
                      <a:pt x="1802170" y="321332"/>
                      <a:pt x="1795741" y="327450"/>
                      <a:pt x="1803598" y="335753"/>
                    </a:cubicBezTo>
                    <a:cubicBezTo>
                      <a:pt x="1799134" y="347843"/>
                      <a:pt x="1796991" y="359787"/>
                      <a:pt x="1792527" y="371877"/>
                    </a:cubicBezTo>
                    <a:lnTo>
                      <a:pt x="1759313" y="424025"/>
                    </a:lnTo>
                    <a:lnTo>
                      <a:pt x="1705028" y="459129"/>
                    </a:lnTo>
                    <a:cubicBezTo>
                      <a:pt x="1702706" y="469908"/>
                      <a:pt x="1700563" y="480833"/>
                      <a:pt x="1698242" y="491612"/>
                    </a:cubicBezTo>
                    <a:cubicBezTo>
                      <a:pt x="1694135" y="506033"/>
                      <a:pt x="1711278" y="515647"/>
                      <a:pt x="1707170" y="530067"/>
                    </a:cubicBezTo>
                    <a:lnTo>
                      <a:pt x="1711992" y="563278"/>
                    </a:lnTo>
                    <a:lnTo>
                      <a:pt x="1756991" y="605229"/>
                    </a:lnTo>
                    <a:cubicBezTo>
                      <a:pt x="1756366" y="611202"/>
                      <a:pt x="1749134" y="620124"/>
                      <a:pt x="1741902" y="629045"/>
                    </a:cubicBezTo>
                    <a:lnTo>
                      <a:pt x="1734089" y="639191"/>
                    </a:lnTo>
                    <a:lnTo>
                      <a:pt x="1732929" y="638531"/>
                    </a:lnTo>
                    <a:lnTo>
                      <a:pt x="1677764" y="640913"/>
                    </a:lnTo>
                    <a:lnTo>
                      <a:pt x="1611722" y="669385"/>
                    </a:lnTo>
                    <a:lnTo>
                      <a:pt x="1620045" y="702689"/>
                    </a:lnTo>
                    <a:lnTo>
                      <a:pt x="1635297" y="760702"/>
                    </a:lnTo>
                    <a:lnTo>
                      <a:pt x="1609003" y="781375"/>
                    </a:lnTo>
                    <a:lnTo>
                      <a:pt x="1612902" y="807845"/>
                    </a:lnTo>
                    <a:lnTo>
                      <a:pt x="1628154" y="883908"/>
                    </a:lnTo>
                    <a:lnTo>
                      <a:pt x="1593852" y="910447"/>
                    </a:lnTo>
                    <a:lnTo>
                      <a:pt x="1563766" y="1006527"/>
                    </a:lnTo>
                    <a:lnTo>
                      <a:pt x="1522421" y="1029201"/>
                    </a:lnTo>
                    <a:lnTo>
                      <a:pt x="1475753" y="1017502"/>
                    </a:lnTo>
                    <a:lnTo>
                      <a:pt x="1446617" y="1045974"/>
                    </a:lnTo>
                    <a:lnTo>
                      <a:pt x="1438847" y="1115066"/>
                    </a:lnTo>
                    <a:lnTo>
                      <a:pt x="1442037" y="1117696"/>
                    </a:lnTo>
                    <a:lnTo>
                      <a:pt x="1436880" y="1140989"/>
                    </a:lnTo>
                    <a:lnTo>
                      <a:pt x="1387615" y="1279972"/>
                    </a:lnTo>
                    <a:lnTo>
                      <a:pt x="1242645" y="1339176"/>
                    </a:lnTo>
                    <a:lnTo>
                      <a:pt x="1120693" y="1330779"/>
                    </a:lnTo>
                    <a:lnTo>
                      <a:pt x="978550" y="1393762"/>
                    </a:lnTo>
                    <a:lnTo>
                      <a:pt x="981787" y="1397621"/>
                    </a:lnTo>
                    <a:lnTo>
                      <a:pt x="932754" y="1414681"/>
                    </a:lnTo>
                    <a:lnTo>
                      <a:pt x="843091" y="1425739"/>
                    </a:lnTo>
                    <a:lnTo>
                      <a:pt x="822283" y="1459702"/>
                    </a:lnTo>
                    <a:lnTo>
                      <a:pt x="753806" y="1467600"/>
                    </a:lnTo>
                    <a:lnTo>
                      <a:pt x="732620" y="1444300"/>
                    </a:lnTo>
                    <a:lnTo>
                      <a:pt x="738674" y="1419420"/>
                    </a:lnTo>
                    <a:lnTo>
                      <a:pt x="696680" y="1374400"/>
                    </a:lnTo>
                    <a:lnTo>
                      <a:pt x="681925" y="1344782"/>
                    </a:lnTo>
                    <a:lnTo>
                      <a:pt x="710299" y="1243684"/>
                    </a:lnTo>
                    <a:lnTo>
                      <a:pt x="703111" y="1214065"/>
                    </a:lnTo>
                    <a:lnTo>
                      <a:pt x="661117" y="1209326"/>
                    </a:lnTo>
                    <a:lnTo>
                      <a:pt x="635769" y="1191160"/>
                    </a:lnTo>
                    <a:lnTo>
                      <a:pt x="607395" y="1105069"/>
                    </a:lnTo>
                    <a:lnTo>
                      <a:pt x="625176" y="1075845"/>
                    </a:lnTo>
                    <a:lnTo>
                      <a:pt x="600207" y="1027271"/>
                    </a:lnTo>
                    <a:lnTo>
                      <a:pt x="610422" y="1001207"/>
                    </a:lnTo>
                    <a:lnTo>
                      <a:pt x="589992" y="971588"/>
                    </a:lnTo>
                    <a:lnTo>
                      <a:pt x="523785" y="947893"/>
                    </a:lnTo>
                    <a:lnTo>
                      <a:pt x="474981" y="982251"/>
                    </a:lnTo>
                    <a:lnTo>
                      <a:pt x="377752" y="974747"/>
                    </a:lnTo>
                    <a:lnTo>
                      <a:pt x="342190" y="996468"/>
                    </a:lnTo>
                    <a:lnTo>
                      <a:pt x="281279" y="982251"/>
                    </a:lnTo>
                    <a:lnTo>
                      <a:pt x="281279" y="956187"/>
                    </a:lnTo>
                    <a:lnTo>
                      <a:pt x="267660" y="929332"/>
                    </a:lnTo>
                    <a:lnTo>
                      <a:pt x="162864" y="934071"/>
                    </a:lnTo>
                    <a:lnTo>
                      <a:pt x="83794" y="907612"/>
                    </a:lnTo>
                    <a:lnTo>
                      <a:pt x="13426" y="947104"/>
                    </a:lnTo>
                    <a:cubicBezTo>
                      <a:pt x="13174" y="952633"/>
                      <a:pt x="12921" y="958161"/>
                      <a:pt x="12669" y="963690"/>
                    </a:cubicBezTo>
                    <a:lnTo>
                      <a:pt x="2971" y="970956"/>
                    </a:lnTo>
                    <a:lnTo>
                      <a:pt x="3145" y="969934"/>
                    </a:lnTo>
                    <a:cubicBezTo>
                      <a:pt x="3748" y="966584"/>
                      <a:pt x="4131" y="964794"/>
                      <a:pt x="4074" y="966125"/>
                    </a:cubicBezTo>
                    <a:lnTo>
                      <a:pt x="0" y="972035"/>
                    </a:lnTo>
                    <a:cubicBezTo>
                      <a:pt x="173" y="969904"/>
                      <a:pt x="347" y="967772"/>
                      <a:pt x="520" y="965641"/>
                    </a:cubicBezTo>
                    <a:cubicBezTo>
                      <a:pt x="4202" y="924932"/>
                      <a:pt x="9864" y="870143"/>
                      <a:pt x="11566" y="843513"/>
                    </a:cubicBezTo>
                    <a:lnTo>
                      <a:pt x="47581" y="826778"/>
                    </a:lnTo>
                    <a:cubicBezTo>
                      <a:pt x="6217" y="813227"/>
                      <a:pt x="100584" y="816345"/>
                      <a:pt x="59220" y="802794"/>
                    </a:cubicBezTo>
                    <a:cubicBezTo>
                      <a:pt x="63541" y="798400"/>
                      <a:pt x="69566" y="802320"/>
                      <a:pt x="73507" y="800412"/>
                    </a:cubicBezTo>
                    <a:lnTo>
                      <a:pt x="82867" y="791347"/>
                    </a:lnTo>
                    <a:cubicBezTo>
                      <a:pt x="91873" y="779452"/>
                      <a:pt x="98430" y="743603"/>
                      <a:pt x="127542" y="729043"/>
                    </a:cubicBezTo>
                    <a:lnTo>
                      <a:pt x="257541" y="703989"/>
                    </a:lnTo>
                    <a:lnTo>
                      <a:pt x="282898" y="716953"/>
                    </a:lnTo>
                    <a:lnTo>
                      <a:pt x="328076" y="678206"/>
                    </a:lnTo>
                    <a:lnTo>
                      <a:pt x="449504" y="685781"/>
                    </a:lnTo>
                    <a:lnTo>
                      <a:pt x="527360" y="693064"/>
                    </a:lnTo>
                    <a:lnTo>
                      <a:pt x="608431" y="627370"/>
                    </a:lnTo>
                    <a:cubicBezTo>
                      <a:pt x="609502" y="600131"/>
                      <a:pt x="610395" y="572746"/>
                      <a:pt x="611466" y="545507"/>
                    </a:cubicBezTo>
                    <a:lnTo>
                      <a:pt x="583788" y="531815"/>
                    </a:lnTo>
                    <a:cubicBezTo>
                      <a:pt x="582717" y="526863"/>
                      <a:pt x="581467" y="521910"/>
                      <a:pt x="580395" y="516958"/>
                    </a:cubicBezTo>
                    <a:lnTo>
                      <a:pt x="633609" y="435095"/>
                    </a:lnTo>
                    <a:lnTo>
                      <a:pt x="615931" y="383822"/>
                    </a:lnTo>
                    <a:lnTo>
                      <a:pt x="598252" y="366051"/>
                    </a:lnTo>
                    <a:cubicBezTo>
                      <a:pt x="602716" y="337647"/>
                      <a:pt x="607181" y="309097"/>
                      <a:pt x="611466" y="280692"/>
                    </a:cubicBezTo>
                    <a:lnTo>
                      <a:pt x="686823" y="255638"/>
                    </a:lnTo>
                    <a:lnTo>
                      <a:pt x="686823" y="212085"/>
                    </a:lnTo>
                    <a:cubicBezTo>
                      <a:pt x="685394" y="199121"/>
                      <a:pt x="683787" y="186303"/>
                      <a:pt x="682359" y="173339"/>
                    </a:cubicBezTo>
                    <a:cubicBezTo>
                      <a:pt x="686109" y="155422"/>
                      <a:pt x="690037" y="137360"/>
                      <a:pt x="693787" y="119444"/>
                    </a:cubicBezTo>
                    <a:lnTo>
                      <a:pt x="739858" y="107354"/>
                    </a:lnTo>
                    <a:cubicBezTo>
                      <a:pt x="740929" y="94390"/>
                      <a:pt x="741822" y="81571"/>
                      <a:pt x="742894" y="68607"/>
                    </a:cubicBezTo>
                    <a:lnTo>
                      <a:pt x="767536" y="68607"/>
                    </a:lnTo>
                    <a:lnTo>
                      <a:pt x="788429" y="101673"/>
                    </a:lnTo>
                    <a:lnTo>
                      <a:pt x="828250" y="101673"/>
                    </a:lnTo>
                    <a:cubicBezTo>
                      <a:pt x="826822" y="117113"/>
                      <a:pt x="825214" y="132553"/>
                      <a:pt x="823786" y="147994"/>
                    </a:cubicBezTo>
                    <a:lnTo>
                      <a:pt x="906464" y="119444"/>
                    </a:lnTo>
                    <a:lnTo>
                      <a:pt x="109396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: GO">
                <a:hlinkClick r:id="" action="ppaction://noaction"/>
                <a:extLst>
                  <a:ext uri="{FF2B5EF4-FFF2-40B4-BE49-F238E27FC236}">
                    <a16:creationId xmlns:a16="http://schemas.microsoft.com/office/drawing/2014/main" id="{D625702F-ADE9-8250-0FF7-49DBCD690C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09834" y="3110932"/>
                <a:ext cx="1211298" cy="1097973"/>
              </a:xfrm>
              <a:custGeom>
                <a:avLst/>
                <a:gdLst>
                  <a:gd name="connsiteX0" fmla="*/ 448153 w 1373970"/>
                  <a:gd name="connsiteY0" fmla="*/ 0 h 1240967"/>
                  <a:gd name="connsiteX1" fmla="*/ 539058 w 1373970"/>
                  <a:gd name="connsiteY1" fmla="*/ 3666 h 1240967"/>
                  <a:gd name="connsiteX2" fmla="*/ 613633 w 1373970"/>
                  <a:gd name="connsiteY2" fmla="*/ 130534 h 1240967"/>
                  <a:gd name="connsiteX3" fmla="*/ 656324 w 1373970"/>
                  <a:gd name="connsiteY3" fmla="*/ 75672 h 1240967"/>
                  <a:gd name="connsiteX4" fmla="*/ 757919 w 1373970"/>
                  <a:gd name="connsiteY4" fmla="*/ 97103 h 1240967"/>
                  <a:gd name="connsiteX5" fmla="*/ 784398 w 1373970"/>
                  <a:gd name="connsiteY5" fmla="*/ 147250 h 1240967"/>
                  <a:gd name="connsiteX6" fmla="*/ 853569 w 1373970"/>
                  <a:gd name="connsiteY6" fmla="*/ 113819 h 1240967"/>
                  <a:gd name="connsiteX7" fmla="*/ 976239 w 1373970"/>
                  <a:gd name="connsiteY7" fmla="*/ 130534 h 1240967"/>
                  <a:gd name="connsiteX8" fmla="*/ 970835 w 1373970"/>
                  <a:gd name="connsiteY8" fmla="*/ 92817 h 1240967"/>
                  <a:gd name="connsiteX9" fmla="*/ 1002178 w 1373970"/>
                  <a:gd name="connsiteY9" fmla="*/ 92817 h 1240967"/>
                  <a:gd name="connsiteX10" fmla="*/ 1050813 w 1373970"/>
                  <a:gd name="connsiteY10" fmla="*/ 143393 h 1240967"/>
                  <a:gd name="connsiteX11" fmla="*/ 1247517 w 1373970"/>
                  <a:gd name="connsiteY11" fmla="*/ 160109 h 1240967"/>
                  <a:gd name="connsiteX12" fmla="*/ 1279401 w 1373970"/>
                  <a:gd name="connsiteY12" fmla="*/ 113819 h 1240967"/>
                  <a:gd name="connsiteX13" fmla="*/ 1344789 w 1373970"/>
                  <a:gd name="connsiteY13" fmla="*/ 119391 h 1240967"/>
                  <a:gd name="connsiteX14" fmla="*/ 1369647 w 1373970"/>
                  <a:gd name="connsiteY14" fmla="*/ 148536 h 1240967"/>
                  <a:gd name="connsiteX15" fmla="*/ 1359379 w 1373970"/>
                  <a:gd name="connsiteY15" fmla="*/ 160109 h 1240967"/>
                  <a:gd name="connsiteX16" fmla="*/ 1373970 w 1373970"/>
                  <a:gd name="connsiteY16" fmla="*/ 220971 h 1240967"/>
                  <a:gd name="connsiteX17" fmla="*/ 1333440 w 1373970"/>
                  <a:gd name="connsiteY17" fmla="*/ 253117 h 1240967"/>
                  <a:gd name="connsiteX18" fmla="*/ 1318850 w 1373970"/>
                  <a:gd name="connsiteY18" fmla="*/ 307122 h 1240967"/>
                  <a:gd name="connsiteX19" fmla="*/ 1369780 w 1373970"/>
                  <a:gd name="connsiteY19" fmla="*/ 376726 h 1240967"/>
                  <a:gd name="connsiteX20" fmla="*/ 1259349 w 1373970"/>
                  <a:gd name="connsiteY20" fmla="*/ 447075 h 1240967"/>
                  <a:gd name="connsiteX21" fmla="*/ 1176671 w 1373970"/>
                  <a:gd name="connsiteY21" fmla="*/ 475625 h 1240967"/>
                  <a:gd name="connsiteX22" fmla="*/ 1181135 w 1373970"/>
                  <a:gd name="connsiteY22" fmla="*/ 429304 h 1240967"/>
                  <a:gd name="connsiteX23" fmla="*/ 1141314 w 1373970"/>
                  <a:gd name="connsiteY23" fmla="*/ 429304 h 1240967"/>
                  <a:gd name="connsiteX24" fmla="*/ 1120421 w 1373970"/>
                  <a:gd name="connsiteY24" fmla="*/ 396238 h 1240967"/>
                  <a:gd name="connsiteX25" fmla="*/ 1095779 w 1373970"/>
                  <a:gd name="connsiteY25" fmla="*/ 396238 h 1240967"/>
                  <a:gd name="connsiteX26" fmla="*/ 1092743 w 1373970"/>
                  <a:gd name="connsiteY26" fmla="*/ 434985 h 1240967"/>
                  <a:gd name="connsiteX27" fmla="*/ 1046672 w 1373970"/>
                  <a:gd name="connsiteY27" fmla="*/ 447075 h 1240967"/>
                  <a:gd name="connsiteX28" fmla="*/ 1035244 w 1373970"/>
                  <a:gd name="connsiteY28" fmla="*/ 500970 h 1240967"/>
                  <a:gd name="connsiteX29" fmla="*/ 1039708 w 1373970"/>
                  <a:gd name="connsiteY29" fmla="*/ 539716 h 1240967"/>
                  <a:gd name="connsiteX30" fmla="*/ 1039708 w 1373970"/>
                  <a:gd name="connsiteY30" fmla="*/ 583269 h 1240967"/>
                  <a:gd name="connsiteX31" fmla="*/ 964351 w 1373970"/>
                  <a:gd name="connsiteY31" fmla="*/ 608323 h 1240967"/>
                  <a:gd name="connsiteX32" fmla="*/ 951137 w 1373970"/>
                  <a:gd name="connsiteY32" fmla="*/ 693682 h 1240967"/>
                  <a:gd name="connsiteX33" fmla="*/ 968816 w 1373970"/>
                  <a:gd name="connsiteY33" fmla="*/ 711453 h 1240967"/>
                  <a:gd name="connsiteX34" fmla="*/ 986494 w 1373970"/>
                  <a:gd name="connsiteY34" fmla="*/ 762726 h 1240967"/>
                  <a:gd name="connsiteX35" fmla="*/ 933280 w 1373970"/>
                  <a:gd name="connsiteY35" fmla="*/ 844589 h 1240967"/>
                  <a:gd name="connsiteX36" fmla="*/ 936673 w 1373970"/>
                  <a:gd name="connsiteY36" fmla="*/ 859446 h 1240967"/>
                  <a:gd name="connsiteX37" fmla="*/ 964351 w 1373970"/>
                  <a:gd name="connsiteY37" fmla="*/ 873138 h 1240967"/>
                  <a:gd name="connsiteX38" fmla="*/ 961316 w 1373970"/>
                  <a:gd name="connsiteY38" fmla="*/ 955001 h 1240967"/>
                  <a:gd name="connsiteX39" fmla="*/ 880245 w 1373970"/>
                  <a:gd name="connsiteY39" fmla="*/ 1020695 h 1240967"/>
                  <a:gd name="connsiteX40" fmla="*/ 802389 w 1373970"/>
                  <a:gd name="connsiteY40" fmla="*/ 1013412 h 1240967"/>
                  <a:gd name="connsiteX41" fmla="*/ 680961 w 1373970"/>
                  <a:gd name="connsiteY41" fmla="*/ 1005837 h 1240967"/>
                  <a:gd name="connsiteX42" fmla="*/ 635783 w 1373970"/>
                  <a:gd name="connsiteY42" fmla="*/ 1044584 h 1240967"/>
                  <a:gd name="connsiteX43" fmla="*/ 610426 w 1373970"/>
                  <a:gd name="connsiteY43" fmla="*/ 1031620 h 1240967"/>
                  <a:gd name="connsiteX44" fmla="*/ 480427 w 1373970"/>
                  <a:gd name="connsiteY44" fmla="*/ 1056674 h 1240967"/>
                  <a:gd name="connsiteX45" fmla="*/ 435752 w 1373970"/>
                  <a:gd name="connsiteY45" fmla="*/ 1118978 h 1240967"/>
                  <a:gd name="connsiteX46" fmla="*/ 426392 w 1373970"/>
                  <a:gd name="connsiteY46" fmla="*/ 1128043 h 1240967"/>
                  <a:gd name="connsiteX47" fmla="*/ 412105 w 1373970"/>
                  <a:gd name="connsiteY47" fmla="*/ 1130425 h 1240967"/>
                  <a:gd name="connsiteX48" fmla="*/ 400466 w 1373970"/>
                  <a:gd name="connsiteY48" fmla="*/ 1154409 h 1240967"/>
                  <a:gd name="connsiteX49" fmla="*/ 364451 w 1373970"/>
                  <a:gd name="connsiteY49" fmla="*/ 1171144 h 1240967"/>
                  <a:gd name="connsiteX50" fmla="*/ 359671 w 1373970"/>
                  <a:gd name="connsiteY50" fmla="*/ 1226928 h 1240967"/>
                  <a:gd name="connsiteX51" fmla="*/ 358546 w 1373970"/>
                  <a:gd name="connsiteY51" fmla="*/ 1238844 h 1240967"/>
                  <a:gd name="connsiteX52" fmla="*/ 358026 w 1373970"/>
                  <a:gd name="connsiteY52" fmla="*/ 1238922 h 1240967"/>
                  <a:gd name="connsiteX53" fmla="*/ 356273 w 1373970"/>
                  <a:gd name="connsiteY53" fmla="*/ 1240967 h 1240967"/>
                  <a:gd name="connsiteX54" fmla="*/ 359608 w 1373970"/>
                  <a:gd name="connsiteY54" fmla="*/ 1205495 h 1240967"/>
                  <a:gd name="connsiteX55" fmla="*/ 362410 w 1373970"/>
                  <a:gd name="connsiteY55" fmla="*/ 1171043 h 1240967"/>
                  <a:gd name="connsiteX56" fmla="*/ 319843 w 1373970"/>
                  <a:gd name="connsiteY56" fmla="*/ 1142402 h 1240967"/>
                  <a:gd name="connsiteX57" fmla="*/ 206104 w 1373970"/>
                  <a:gd name="connsiteY57" fmla="*/ 1096009 h 1240967"/>
                  <a:gd name="connsiteX58" fmla="*/ 89867 w 1373970"/>
                  <a:gd name="connsiteY58" fmla="*/ 1041567 h 1240967"/>
                  <a:gd name="connsiteX59" fmla="*/ 54338 w 1373970"/>
                  <a:gd name="connsiteY59" fmla="*/ 1041567 h 1240967"/>
                  <a:gd name="connsiteX60" fmla="*/ 43895 w 1373970"/>
                  <a:gd name="connsiteY60" fmla="*/ 1031271 h 1240967"/>
                  <a:gd name="connsiteX61" fmla="*/ 64441 w 1373970"/>
                  <a:gd name="connsiteY61" fmla="*/ 998132 h 1240967"/>
                  <a:gd name="connsiteX62" fmla="*/ 46846 w 1373970"/>
                  <a:gd name="connsiteY62" fmla="*/ 983220 h 1240967"/>
                  <a:gd name="connsiteX63" fmla="*/ 19149 w 1373970"/>
                  <a:gd name="connsiteY63" fmla="*/ 983220 h 1240967"/>
                  <a:gd name="connsiteX64" fmla="*/ 6890 w 1373970"/>
                  <a:gd name="connsiteY64" fmla="*/ 938128 h 1240967"/>
                  <a:gd name="connsiteX65" fmla="*/ 0 w 1373970"/>
                  <a:gd name="connsiteY65" fmla="*/ 937579 h 1240967"/>
                  <a:gd name="connsiteX66" fmla="*/ 776 w 1373970"/>
                  <a:gd name="connsiteY66" fmla="*/ 912545 h 1240967"/>
                  <a:gd name="connsiteX67" fmla="*/ 8244 w 1373970"/>
                  <a:gd name="connsiteY67" fmla="*/ 798410 h 1240967"/>
                  <a:gd name="connsiteX68" fmla="*/ 69654 w 1373970"/>
                  <a:gd name="connsiteY68" fmla="*/ 746620 h 1240967"/>
                  <a:gd name="connsiteX69" fmla="*/ 130510 w 1373970"/>
                  <a:gd name="connsiteY69" fmla="*/ 650282 h 1240967"/>
                  <a:gd name="connsiteX70" fmla="*/ 176797 w 1373970"/>
                  <a:gd name="connsiteY70" fmla="*/ 594146 h 1240967"/>
                  <a:gd name="connsiteX71" fmla="*/ 253697 w 1373970"/>
                  <a:gd name="connsiteY71" fmla="*/ 557929 h 1240967"/>
                  <a:gd name="connsiteX72" fmla="*/ 281912 w 1373970"/>
                  <a:gd name="connsiteY72" fmla="*/ 458332 h 1240967"/>
                  <a:gd name="connsiteX73" fmla="*/ 333179 w 1373970"/>
                  <a:gd name="connsiteY73" fmla="*/ 428634 h 1240967"/>
                  <a:gd name="connsiteX74" fmla="*/ 386843 w 1373970"/>
                  <a:gd name="connsiteY74" fmla="*/ 402557 h 1240967"/>
                  <a:gd name="connsiteX75" fmla="*/ 389240 w 1373970"/>
                  <a:gd name="connsiteY75" fmla="*/ 323423 h 1240967"/>
                  <a:gd name="connsiteX76" fmla="*/ 455813 w 1373970"/>
                  <a:gd name="connsiteY76" fmla="*/ 139259 h 1240967"/>
                  <a:gd name="connsiteX77" fmla="*/ 465034 w 1373970"/>
                  <a:gd name="connsiteY77" fmla="*/ 57409 h 1240967"/>
                  <a:gd name="connsiteX78" fmla="*/ 448153 w 1373970"/>
                  <a:gd name="connsiteY78" fmla="*/ 0 h 1240967"/>
                  <a:gd name="connsiteX0" fmla="*/ 448153 w 1373970"/>
                  <a:gd name="connsiteY0" fmla="*/ 0 h 1240967"/>
                  <a:gd name="connsiteX1" fmla="*/ 539058 w 1373970"/>
                  <a:gd name="connsiteY1" fmla="*/ 3666 h 1240967"/>
                  <a:gd name="connsiteX2" fmla="*/ 613633 w 1373970"/>
                  <a:gd name="connsiteY2" fmla="*/ 130534 h 1240967"/>
                  <a:gd name="connsiteX3" fmla="*/ 656324 w 1373970"/>
                  <a:gd name="connsiteY3" fmla="*/ 75672 h 1240967"/>
                  <a:gd name="connsiteX4" fmla="*/ 757919 w 1373970"/>
                  <a:gd name="connsiteY4" fmla="*/ 97103 h 1240967"/>
                  <a:gd name="connsiteX5" fmla="*/ 784398 w 1373970"/>
                  <a:gd name="connsiteY5" fmla="*/ 147250 h 1240967"/>
                  <a:gd name="connsiteX6" fmla="*/ 853569 w 1373970"/>
                  <a:gd name="connsiteY6" fmla="*/ 113819 h 1240967"/>
                  <a:gd name="connsiteX7" fmla="*/ 976239 w 1373970"/>
                  <a:gd name="connsiteY7" fmla="*/ 130534 h 1240967"/>
                  <a:gd name="connsiteX8" fmla="*/ 970835 w 1373970"/>
                  <a:gd name="connsiteY8" fmla="*/ 92817 h 1240967"/>
                  <a:gd name="connsiteX9" fmla="*/ 1002178 w 1373970"/>
                  <a:gd name="connsiteY9" fmla="*/ 92817 h 1240967"/>
                  <a:gd name="connsiteX10" fmla="*/ 1050813 w 1373970"/>
                  <a:gd name="connsiteY10" fmla="*/ 143393 h 1240967"/>
                  <a:gd name="connsiteX11" fmla="*/ 1247517 w 1373970"/>
                  <a:gd name="connsiteY11" fmla="*/ 160109 h 1240967"/>
                  <a:gd name="connsiteX12" fmla="*/ 1279401 w 1373970"/>
                  <a:gd name="connsiteY12" fmla="*/ 113819 h 1240967"/>
                  <a:gd name="connsiteX13" fmla="*/ 1344789 w 1373970"/>
                  <a:gd name="connsiteY13" fmla="*/ 119391 h 1240967"/>
                  <a:gd name="connsiteX14" fmla="*/ 1369647 w 1373970"/>
                  <a:gd name="connsiteY14" fmla="*/ 148536 h 1240967"/>
                  <a:gd name="connsiteX15" fmla="*/ 1359379 w 1373970"/>
                  <a:gd name="connsiteY15" fmla="*/ 160109 h 1240967"/>
                  <a:gd name="connsiteX16" fmla="*/ 1373970 w 1373970"/>
                  <a:gd name="connsiteY16" fmla="*/ 220971 h 1240967"/>
                  <a:gd name="connsiteX17" fmla="*/ 1333440 w 1373970"/>
                  <a:gd name="connsiteY17" fmla="*/ 253117 h 1240967"/>
                  <a:gd name="connsiteX18" fmla="*/ 1318850 w 1373970"/>
                  <a:gd name="connsiteY18" fmla="*/ 307122 h 1240967"/>
                  <a:gd name="connsiteX19" fmla="*/ 1369780 w 1373970"/>
                  <a:gd name="connsiteY19" fmla="*/ 376726 h 1240967"/>
                  <a:gd name="connsiteX20" fmla="*/ 1259349 w 1373970"/>
                  <a:gd name="connsiteY20" fmla="*/ 447075 h 1240967"/>
                  <a:gd name="connsiteX21" fmla="*/ 1176671 w 1373970"/>
                  <a:gd name="connsiteY21" fmla="*/ 475625 h 1240967"/>
                  <a:gd name="connsiteX22" fmla="*/ 1181135 w 1373970"/>
                  <a:gd name="connsiteY22" fmla="*/ 429304 h 1240967"/>
                  <a:gd name="connsiteX23" fmla="*/ 1141314 w 1373970"/>
                  <a:gd name="connsiteY23" fmla="*/ 429304 h 1240967"/>
                  <a:gd name="connsiteX24" fmla="*/ 1120421 w 1373970"/>
                  <a:gd name="connsiteY24" fmla="*/ 396238 h 1240967"/>
                  <a:gd name="connsiteX25" fmla="*/ 1095779 w 1373970"/>
                  <a:gd name="connsiteY25" fmla="*/ 396238 h 1240967"/>
                  <a:gd name="connsiteX26" fmla="*/ 1092743 w 1373970"/>
                  <a:gd name="connsiteY26" fmla="*/ 434985 h 1240967"/>
                  <a:gd name="connsiteX27" fmla="*/ 1046672 w 1373970"/>
                  <a:gd name="connsiteY27" fmla="*/ 447075 h 1240967"/>
                  <a:gd name="connsiteX28" fmla="*/ 1035244 w 1373970"/>
                  <a:gd name="connsiteY28" fmla="*/ 500970 h 1240967"/>
                  <a:gd name="connsiteX29" fmla="*/ 1039708 w 1373970"/>
                  <a:gd name="connsiteY29" fmla="*/ 539716 h 1240967"/>
                  <a:gd name="connsiteX30" fmla="*/ 1039708 w 1373970"/>
                  <a:gd name="connsiteY30" fmla="*/ 583269 h 1240967"/>
                  <a:gd name="connsiteX31" fmla="*/ 964351 w 1373970"/>
                  <a:gd name="connsiteY31" fmla="*/ 608323 h 1240967"/>
                  <a:gd name="connsiteX32" fmla="*/ 951137 w 1373970"/>
                  <a:gd name="connsiteY32" fmla="*/ 693682 h 1240967"/>
                  <a:gd name="connsiteX33" fmla="*/ 968816 w 1373970"/>
                  <a:gd name="connsiteY33" fmla="*/ 711453 h 1240967"/>
                  <a:gd name="connsiteX34" fmla="*/ 986494 w 1373970"/>
                  <a:gd name="connsiteY34" fmla="*/ 762726 h 1240967"/>
                  <a:gd name="connsiteX35" fmla="*/ 933280 w 1373970"/>
                  <a:gd name="connsiteY35" fmla="*/ 844589 h 1240967"/>
                  <a:gd name="connsiteX36" fmla="*/ 936673 w 1373970"/>
                  <a:gd name="connsiteY36" fmla="*/ 859446 h 1240967"/>
                  <a:gd name="connsiteX37" fmla="*/ 964351 w 1373970"/>
                  <a:gd name="connsiteY37" fmla="*/ 873138 h 1240967"/>
                  <a:gd name="connsiteX38" fmla="*/ 961316 w 1373970"/>
                  <a:gd name="connsiteY38" fmla="*/ 955001 h 1240967"/>
                  <a:gd name="connsiteX39" fmla="*/ 880245 w 1373970"/>
                  <a:gd name="connsiteY39" fmla="*/ 1020695 h 1240967"/>
                  <a:gd name="connsiteX40" fmla="*/ 802389 w 1373970"/>
                  <a:gd name="connsiteY40" fmla="*/ 1013412 h 1240967"/>
                  <a:gd name="connsiteX41" fmla="*/ 680961 w 1373970"/>
                  <a:gd name="connsiteY41" fmla="*/ 1005837 h 1240967"/>
                  <a:gd name="connsiteX42" fmla="*/ 635783 w 1373970"/>
                  <a:gd name="connsiteY42" fmla="*/ 1044584 h 1240967"/>
                  <a:gd name="connsiteX43" fmla="*/ 610426 w 1373970"/>
                  <a:gd name="connsiteY43" fmla="*/ 1031620 h 1240967"/>
                  <a:gd name="connsiteX44" fmla="*/ 480427 w 1373970"/>
                  <a:gd name="connsiteY44" fmla="*/ 1056674 h 1240967"/>
                  <a:gd name="connsiteX45" fmla="*/ 435752 w 1373970"/>
                  <a:gd name="connsiteY45" fmla="*/ 1118978 h 1240967"/>
                  <a:gd name="connsiteX46" fmla="*/ 426392 w 1373970"/>
                  <a:gd name="connsiteY46" fmla="*/ 1128043 h 1240967"/>
                  <a:gd name="connsiteX47" fmla="*/ 412105 w 1373970"/>
                  <a:gd name="connsiteY47" fmla="*/ 1130425 h 1240967"/>
                  <a:gd name="connsiteX48" fmla="*/ 400466 w 1373970"/>
                  <a:gd name="connsiteY48" fmla="*/ 1154409 h 1240967"/>
                  <a:gd name="connsiteX49" fmla="*/ 364451 w 1373970"/>
                  <a:gd name="connsiteY49" fmla="*/ 1171144 h 1240967"/>
                  <a:gd name="connsiteX50" fmla="*/ 359671 w 1373970"/>
                  <a:gd name="connsiteY50" fmla="*/ 1226928 h 1240967"/>
                  <a:gd name="connsiteX51" fmla="*/ 358546 w 1373970"/>
                  <a:gd name="connsiteY51" fmla="*/ 1238844 h 1240967"/>
                  <a:gd name="connsiteX52" fmla="*/ 358026 w 1373970"/>
                  <a:gd name="connsiteY52" fmla="*/ 1238922 h 1240967"/>
                  <a:gd name="connsiteX53" fmla="*/ 356273 w 1373970"/>
                  <a:gd name="connsiteY53" fmla="*/ 1240967 h 1240967"/>
                  <a:gd name="connsiteX54" fmla="*/ 362410 w 1373970"/>
                  <a:gd name="connsiteY54" fmla="*/ 1171043 h 1240967"/>
                  <a:gd name="connsiteX55" fmla="*/ 319843 w 1373970"/>
                  <a:gd name="connsiteY55" fmla="*/ 1142402 h 1240967"/>
                  <a:gd name="connsiteX56" fmla="*/ 206104 w 1373970"/>
                  <a:gd name="connsiteY56" fmla="*/ 1096009 h 1240967"/>
                  <a:gd name="connsiteX57" fmla="*/ 89867 w 1373970"/>
                  <a:gd name="connsiteY57" fmla="*/ 1041567 h 1240967"/>
                  <a:gd name="connsiteX58" fmla="*/ 54338 w 1373970"/>
                  <a:gd name="connsiteY58" fmla="*/ 1041567 h 1240967"/>
                  <a:gd name="connsiteX59" fmla="*/ 43895 w 1373970"/>
                  <a:gd name="connsiteY59" fmla="*/ 1031271 h 1240967"/>
                  <a:gd name="connsiteX60" fmla="*/ 64441 w 1373970"/>
                  <a:gd name="connsiteY60" fmla="*/ 998132 h 1240967"/>
                  <a:gd name="connsiteX61" fmla="*/ 46846 w 1373970"/>
                  <a:gd name="connsiteY61" fmla="*/ 983220 h 1240967"/>
                  <a:gd name="connsiteX62" fmla="*/ 19149 w 1373970"/>
                  <a:gd name="connsiteY62" fmla="*/ 983220 h 1240967"/>
                  <a:gd name="connsiteX63" fmla="*/ 6890 w 1373970"/>
                  <a:gd name="connsiteY63" fmla="*/ 938128 h 1240967"/>
                  <a:gd name="connsiteX64" fmla="*/ 0 w 1373970"/>
                  <a:gd name="connsiteY64" fmla="*/ 937579 h 1240967"/>
                  <a:gd name="connsiteX65" fmla="*/ 776 w 1373970"/>
                  <a:gd name="connsiteY65" fmla="*/ 912545 h 1240967"/>
                  <a:gd name="connsiteX66" fmla="*/ 8244 w 1373970"/>
                  <a:gd name="connsiteY66" fmla="*/ 798410 h 1240967"/>
                  <a:gd name="connsiteX67" fmla="*/ 69654 w 1373970"/>
                  <a:gd name="connsiteY67" fmla="*/ 746620 h 1240967"/>
                  <a:gd name="connsiteX68" fmla="*/ 130510 w 1373970"/>
                  <a:gd name="connsiteY68" fmla="*/ 650282 h 1240967"/>
                  <a:gd name="connsiteX69" fmla="*/ 176797 w 1373970"/>
                  <a:gd name="connsiteY69" fmla="*/ 594146 h 1240967"/>
                  <a:gd name="connsiteX70" fmla="*/ 253697 w 1373970"/>
                  <a:gd name="connsiteY70" fmla="*/ 557929 h 1240967"/>
                  <a:gd name="connsiteX71" fmla="*/ 281912 w 1373970"/>
                  <a:gd name="connsiteY71" fmla="*/ 458332 h 1240967"/>
                  <a:gd name="connsiteX72" fmla="*/ 333179 w 1373970"/>
                  <a:gd name="connsiteY72" fmla="*/ 428634 h 1240967"/>
                  <a:gd name="connsiteX73" fmla="*/ 386843 w 1373970"/>
                  <a:gd name="connsiteY73" fmla="*/ 402557 h 1240967"/>
                  <a:gd name="connsiteX74" fmla="*/ 389240 w 1373970"/>
                  <a:gd name="connsiteY74" fmla="*/ 323423 h 1240967"/>
                  <a:gd name="connsiteX75" fmla="*/ 455813 w 1373970"/>
                  <a:gd name="connsiteY75" fmla="*/ 139259 h 1240967"/>
                  <a:gd name="connsiteX76" fmla="*/ 465034 w 1373970"/>
                  <a:gd name="connsiteY76" fmla="*/ 57409 h 1240967"/>
                  <a:gd name="connsiteX77" fmla="*/ 448153 w 1373970"/>
                  <a:gd name="connsiteY77" fmla="*/ 0 h 1240967"/>
                  <a:gd name="connsiteX0" fmla="*/ 448153 w 1373970"/>
                  <a:gd name="connsiteY0" fmla="*/ 0 h 1240967"/>
                  <a:gd name="connsiteX1" fmla="*/ 539058 w 1373970"/>
                  <a:gd name="connsiteY1" fmla="*/ 3666 h 1240967"/>
                  <a:gd name="connsiteX2" fmla="*/ 613633 w 1373970"/>
                  <a:gd name="connsiteY2" fmla="*/ 130534 h 1240967"/>
                  <a:gd name="connsiteX3" fmla="*/ 656324 w 1373970"/>
                  <a:gd name="connsiteY3" fmla="*/ 75672 h 1240967"/>
                  <a:gd name="connsiteX4" fmla="*/ 757919 w 1373970"/>
                  <a:gd name="connsiteY4" fmla="*/ 97103 h 1240967"/>
                  <a:gd name="connsiteX5" fmla="*/ 784398 w 1373970"/>
                  <a:gd name="connsiteY5" fmla="*/ 147250 h 1240967"/>
                  <a:gd name="connsiteX6" fmla="*/ 853569 w 1373970"/>
                  <a:gd name="connsiteY6" fmla="*/ 113819 h 1240967"/>
                  <a:gd name="connsiteX7" fmla="*/ 976239 w 1373970"/>
                  <a:gd name="connsiteY7" fmla="*/ 130534 h 1240967"/>
                  <a:gd name="connsiteX8" fmla="*/ 970835 w 1373970"/>
                  <a:gd name="connsiteY8" fmla="*/ 92817 h 1240967"/>
                  <a:gd name="connsiteX9" fmla="*/ 1002178 w 1373970"/>
                  <a:gd name="connsiteY9" fmla="*/ 92817 h 1240967"/>
                  <a:gd name="connsiteX10" fmla="*/ 1050813 w 1373970"/>
                  <a:gd name="connsiteY10" fmla="*/ 143393 h 1240967"/>
                  <a:gd name="connsiteX11" fmla="*/ 1247517 w 1373970"/>
                  <a:gd name="connsiteY11" fmla="*/ 160109 h 1240967"/>
                  <a:gd name="connsiteX12" fmla="*/ 1279401 w 1373970"/>
                  <a:gd name="connsiteY12" fmla="*/ 113819 h 1240967"/>
                  <a:gd name="connsiteX13" fmla="*/ 1344789 w 1373970"/>
                  <a:gd name="connsiteY13" fmla="*/ 119391 h 1240967"/>
                  <a:gd name="connsiteX14" fmla="*/ 1369647 w 1373970"/>
                  <a:gd name="connsiteY14" fmla="*/ 148536 h 1240967"/>
                  <a:gd name="connsiteX15" fmla="*/ 1359379 w 1373970"/>
                  <a:gd name="connsiteY15" fmla="*/ 160109 h 1240967"/>
                  <a:gd name="connsiteX16" fmla="*/ 1373970 w 1373970"/>
                  <a:gd name="connsiteY16" fmla="*/ 220971 h 1240967"/>
                  <a:gd name="connsiteX17" fmla="*/ 1333440 w 1373970"/>
                  <a:gd name="connsiteY17" fmla="*/ 253117 h 1240967"/>
                  <a:gd name="connsiteX18" fmla="*/ 1318850 w 1373970"/>
                  <a:gd name="connsiteY18" fmla="*/ 307122 h 1240967"/>
                  <a:gd name="connsiteX19" fmla="*/ 1369780 w 1373970"/>
                  <a:gd name="connsiteY19" fmla="*/ 376726 h 1240967"/>
                  <a:gd name="connsiteX20" fmla="*/ 1259349 w 1373970"/>
                  <a:gd name="connsiteY20" fmla="*/ 447075 h 1240967"/>
                  <a:gd name="connsiteX21" fmla="*/ 1176671 w 1373970"/>
                  <a:gd name="connsiteY21" fmla="*/ 475625 h 1240967"/>
                  <a:gd name="connsiteX22" fmla="*/ 1181135 w 1373970"/>
                  <a:gd name="connsiteY22" fmla="*/ 429304 h 1240967"/>
                  <a:gd name="connsiteX23" fmla="*/ 1141314 w 1373970"/>
                  <a:gd name="connsiteY23" fmla="*/ 429304 h 1240967"/>
                  <a:gd name="connsiteX24" fmla="*/ 1120421 w 1373970"/>
                  <a:gd name="connsiteY24" fmla="*/ 396238 h 1240967"/>
                  <a:gd name="connsiteX25" fmla="*/ 1095779 w 1373970"/>
                  <a:gd name="connsiteY25" fmla="*/ 396238 h 1240967"/>
                  <a:gd name="connsiteX26" fmla="*/ 1092743 w 1373970"/>
                  <a:gd name="connsiteY26" fmla="*/ 434985 h 1240967"/>
                  <a:gd name="connsiteX27" fmla="*/ 1046672 w 1373970"/>
                  <a:gd name="connsiteY27" fmla="*/ 447075 h 1240967"/>
                  <a:gd name="connsiteX28" fmla="*/ 1035244 w 1373970"/>
                  <a:gd name="connsiteY28" fmla="*/ 500970 h 1240967"/>
                  <a:gd name="connsiteX29" fmla="*/ 1039708 w 1373970"/>
                  <a:gd name="connsiteY29" fmla="*/ 539716 h 1240967"/>
                  <a:gd name="connsiteX30" fmla="*/ 1039708 w 1373970"/>
                  <a:gd name="connsiteY30" fmla="*/ 583269 h 1240967"/>
                  <a:gd name="connsiteX31" fmla="*/ 964351 w 1373970"/>
                  <a:gd name="connsiteY31" fmla="*/ 608323 h 1240967"/>
                  <a:gd name="connsiteX32" fmla="*/ 951137 w 1373970"/>
                  <a:gd name="connsiteY32" fmla="*/ 693682 h 1240967"/>
                  <a:gd name="connsiteX33" fmla="*/ 968816 w 1373970"/>
                  <a:gd name="connsiteY33" fmla="*/ 711453 h 1240967"/>
                  <a:gd name="connsiteX34" fmla="*/ 986494 w 1373970"/>
                  <a:gd name="connsiteY34" fmla="*/ 762726 h 1240967"/>
                  <a:gd name="connsiteX35" fmla="*/ 933280 w 1373970"/>
                  <a:gd name="connsiteY35" fmla="*/ 844589 h 1240967"/>
                  <a:gd name="connsiteX36" fmla="*/ 936673 w 1373970"/>
                  <a:gd name="connsiteY36" fmla="*/ 859446 h 1240967"/>
                  <a:gd name="connsiteX37" fmla="*/ 964351 w 1373970"/>
                  <a:gd name="connsiteY37" fmla="*/ 873138 h 1240967"/>
                  <a:gd name="connsiteX38" fmla="*/ 961316 w 1373970"/>
                  <a:gd name="connsiteY38" fmla="*/ 955001 h 1240967"/>
                  <a:gd name="connsiteX39" fmla="*/ 880245 w 1373970"/>
                  <a:gd name="connsiteY39" fmla="*/ 1020695 h 1240967"/>
                  <a:gd name="connsiteX40" fmla="*/ 802389 w 1373970"/>
                  <a:gd name="connsiteY40" fmla="*/ 1013412 h 1240967"/>
                  <a:gd name="connsiteX41" fmla="*/ 680961 w 1373970"/>
                  <a:gd name="connsiteY41" fmla="*/ 1005837 h 1240967"/>
                  <a:gd name="connsiteX42" fmla="*/ 635783 w 1373970"/>
                  <a:gd name="connsiteY42" fmla="*/ 1044584 h 1240967"/>
                  <a:gd name="connsiteX43" fmla="*/ 610426 w 1373970"/>
                  <a:gd name="connsiteY43" fmla="*/ 1031620 h 1240967"/>
                  <a:gd name="connsiteX44" fmla="*/ 480427 w 1373970"/>
                  <a:gd name="connsiteY44" fmla="*/ 1056674 h 1240967"/>
                  <a:gd name="connsiteX45" fmla="*/ 435752 w 1373970"/>
                  <a:gd name="connsiteY45" fmla="*/ 1118978 h 1240967"/>
                  <a:gd name="connsiteX46" fmla="*/ 426392 w 1373970"/>
                  <a:gd name="connsiteY46" fmla="*/ 1128043 h 1240967"/>
                  <a:gd name="connsiteX47" fmla="*/ 412105 w 1373970"/>
                  <a:gd name="connsiteY47" fmla="*/ 1130425 h 1240967"/>
                  <a:gd name="connsiteX48" fmla="*/ 400466 w 1373970"/>
                  <a:gd name="connsiteY48" fmla="*/ 1154409 h 1240967"/>
                  <a:gd name="connsiteX49" fmla="*/ 364451 w 1373970"/>
                  <a:gd name="connsiteY49" fmla="*/ 1171144 h 1240967"/>
                  <a:gd name="connsiteX50" fmla="*/ 358546 w 1373970"/>
                  <a:gd name="connsiteY50" fmla="*/ 1238844 h 1240967"/>
                  <a:gd name="connsiteX51" fmla="*/ 358026 w 1373970"/>
                  <a:gd name="connsiteY51" fmla="*/ 1238922 h 1240967"/>
                  <a:gd name="connsiteX52" fmla="*/ 356273 w 1373970"/>
                  <a:gd name="connsiteY52" fmla="*/ 1240967 h 1240967"/>
                  <a:gd name="connsiteX53" fmla="*/ 362410 w 1373970"/>
                  <a:gd name="connsiteY53" fmla="*/ 1171043 h 1240967"/>
                  <a:gd name="connsiteX54" fmla="*/ 319843 w 1373970"/>
                  <a:gd name="connsiteY54" fmla="*/ 1142402 h 1240967"/>
                  <a:gd name="connsiteX55" fmla="*/ 206104 w 1373970"/>
                  <a:gd name="connsiteY55" fmla="*/ 1096009 h 1240967"/>
                  <a:gd name="connsiteX56" fmla="*/ 89867 w 1373970"/>
                  <a:gd name="connsiteY56" fmla="*/ 1041567 h 1240967"/>
                  <a:gd name="connsiteX57" fmla="*/ 54338 w 1373970"/>
                  <a:gd name="connsiteY57" fmla="*/ 1041567 h 1240967"/>
                  <a:gd name="connsiteX58" fmla="*/ 43895 w 1373970"/>
                  <a:gd name="connsiteY58" fmla="*/ 1031271 h 1240967"/>
                  <a:gd name="connsiteX59" fmla="*/ 64441 w 1373970"/>
                  <a:gd name="connsiteY59" fmla="*/ 998132 h 1240967"/>
                  <a:gd name="connsiteX60" fmla="*/ 46846 w 1373970"/>
                  <a:gd name="connsiteY60" fmla="*/ 983220 h 1240967"/>
                  <a:gd name="connsiteX61" fmla="*/ 19149 w 1373970"/>
                  <a:gd name="connsiteY61" fmla="*/ 983220 h 1240967"/>
                  <a:gd name="connsiteX62" fmla="*/ 6890 w 1373970"/>
                  <a:gd name="connsiteY62" fmla="*/ 938128 h 1240967"/>
                  <a:gd name="connsiteX63" fmla="*/ 0 w 1373970"/>
                  <a:gd name="connsiteY63" fmla="*/ 937579 h 1240967"/>
                  <a:gd name="connsiteX64" fmla="*/ 776 w 1373970"/>
                  <a:gd name="connsiteY64" fmla="*/ 912545 h 1240967"/>
                  <a:gd name="connsiteX65" fmla="*/ 8244 w 1373970"/>
                  <a:gd name="connsiteY65" fmla="*/ 798410 h 1240967"/>
                  <a:gd name="connsiteX66" fmla="*/ 69654 w 1373970"/>
                  <a:gd name="connsiteY66" fmla="*/ 746620 h 1240967"/>
                  <a:gd name="connsiteX67" fmla="*/ 130510 w 1373970"/>
                  <a:gd name="connsiteY67" fmla="*/ 650282 h 1240967"/>
                  <a:gd name="connsiteX68" fmla="*/ 176797 w 1373970"/>
                  <a:gd name="connsiteY68" fmla="*/ 594146 h 1240967"/>
                  <a:gd name="connsiteX69" fmla="*/ 253697 w 1373970"/>
                  <a:gd name="connsiteY69" fmla="*/ 557929 h 1240967"/>
                  <a:gd name="connsiteX70" fmla="*/ 281912 w 1373970"/>
                  <a:gd name="connsiteY70" fmla="*/ 458332 h 1240967"/>
                  <a:gd name="connsiteX71" fmla="*/ 333179 w 1373970"/>
                  <a:gd name="connsiteY71" fmla="*/ 428634 h 1240967"/>
                  <a:gd name="connsiteX72" fmla="*/ 386843 w 1373970"/>
                  <a:gd name="connsiteY72" fmla="*/ 402557 h 1240967"/>
                  <a:gd name="connsiteX73" fmla="*/ 389240 w 1373970"/>
                  <a:gd name="connsiteY73" fmla="*/ 323423 h 1240967"/>
                  <a:gd name="connsiteX74" fmla="*/ 455813 w 1373970"/>
                  <a:gd name="connsiteY74" fmla="*/ 139259 h 1240967"/>
                  <a:gd name="connsiteX75" fmla="*/ 465034 w 1373970"/>
                  <a:gd name="connsiteY75" fmla="*/ 57409 h 1240967"/>
                  <a:gd name="connsiteX76" fmla="*/ 448153 w 1373970"/>
                  <a:gd name="connsiteY76" fmla="*/ 0 h 1240967"/>
                  <a:gd name="connsiteX0" fmla="*/ 448153 w 1373970"/>
                  <a:gd name="connsiteY0" fmla="*/ 0 h 1238922"/>
                  <a:gd name="connsiteX1" fmla="*/ 539058 w 1373970"/>
                  <a:gd name="connsiteY1" fmla="*/ 3666 h 1238922"/>
                  <a:gd name="connsiteX2" fmla="*/ 613633 w 1373970"/>
                  <a:gd name="connsiteY2" fmla="*/ 130534 h 1238922"/>
                  <a:gd name="connsiteX3" fmla="*/ 656324 w 1373970"/>
                  <a:gd name="connsiteY3" fmla="*/ 75672 h 1238922"/>
                  <a:gd name="connsiteX4" fmla="*/ 757919 w 1373970"/>
                  <a:gd name="connsiteY4" fmla="*/ 97103 h 1238922"/>
                  <a:gd name="connsiteX5" fmla="*/ 784398 w 1373970"/>
                  <a:gd name="connsiteY5" fmla="*/ 147250 h 1238922"/>
                  <a:gd name="connsiteX6" fmla="*/ 853569 w 1373970"/>
                  <a:gd name="connsiteY6" fmla="*/ 113819 h 1238922"/>
                  <a:gd name="connsiteX7" fmla="*/ 976239 w 1373970"/>
                  <a:gd name="connsiteY7" fmla="*/ 130534 h 1238922"/>
                  <a:gd name="connsiteX8" fmla="*/ 970835 w 1373970"/>
                  <a:gd name="connsiteY8" fmla="*/ 92817 h 1238922"/>
                  <a:gd name="connsiteX9" fmla="*/ 1002178 w 1373970"/>
                  <a:gd name="connsiteY9" fmla="*/ 92817 h 1238922"/>
                  <a:gd name="connsiteX10" fmla="*/ 1050813 w 1373970"/>
                  <a:gd name="connsiteY10" fmla="*/ 143393 h 1238922"/>
                  <a:gd name="connsiteX11" fmla="*/ 1247517 w 1373970"/>
                  <a:gd name="connsiteY11" fmla="*/ 160109 h 1238922"/>
                  <a:gd name="connsiteX12" fmla="*/ 1279401 w 1373970"/>
                  <a:gd name="connsiteY12" fmla="*/ 113819 h 1238922"/>
                  <a:gd name="connsiteX13" fmla="*/ 1344789 w 1373970"/>
                  <a:gd name="connsiteY13" fmla="*/ 119391 h 1238922"/>
                  <a:gd name="connsiteX14" fmla="*/ 1369647 w 1373970"/>
                  <a:gd name="connsiteY14" fmla="*/ 148536 h 1238922"/>
                  <a:gd name="connsiteX15" fmla="*/ 1359379 w 1373970"/>
                  <a:gd name="connsiteY15" fmla="*/ 160109 h 1238922"/>
                  <a:gd name="connsiteX16" fmla="*/ 1373970 w 1373970"/>
                  <a:gd name="connsiteY16" fmla="*/ 220971 h 1238922"/>
                  <a:gd name="connsiteX17" fmla="*/ 1333440 w 1373970"/>
                  <a:gd name="connsiteY17" fmla="*/ 253117 h 1238922"/>
                  <a:gd name="connsiteX18" fmla="*/ 1318850 w 1373970"/>
                  <a:gd name="connsiteY18" fmla="*/ 307122 h 1238922"/>
                  <a:gd name="connsiteX19" fmla="*/ 1369780 w 1373970"/>
                  <a:gd name="connsiteY19" fmla="*/ 376726 h 1238922"/>
                  <a:gd name="connsiteX20" fmla="*/ 1259349 w 1373970"/>
                  <a:gd name="connsiteY20" fmla="*/ 447075 h 1238922"/>
                  <a:gd name="connsiteX21" fmla="*/ 1176671 w 1373970"/>
                  <a:gd name="connsiteY21" fmla="*/ 475625 h 1238922"/>
                  <a:gd name="connsiteX22" fmla="*/ 1181135 w 1373970"/>
                  <a:gd name="connsiteY22" fmla="*/ 429304 h 1238922"/>
                  <a:gd name="connsiteX23" fmla="*/ 1141314 w 1373970"/>
                  <a:gd name="connsiteY23" fmla="*/ 429304 h 1238922"/>
                  <a:gd name="connsiteX24" fmla="*/ 1120421 w 1373970"/>
                  <a:gd name="connsiteY24" fmla="*/ 396238 h 1238922"/>
                  <a:gd name="connsiteX25" fmla="*/ 1095779 w 1373970"/>
                  <a:gd name="connsiteY25" fmla="*/ 396238 h 1238922"/>
                  <a:gd name="connsiteX26" fmla="*/ 1092743 w 1373970"/>
                  <a:gd name="connsiteY26" fmla="*/ 434985 h 1238922"/>
                  <a:gd name="connsiteX27" fmla="*/ 1046672 w 1373970"/>
                  <a:gd name="connsiteY27" fmla="*/ 447075 h 1238922"/>
                  <a:gd name="connsiteX28" fmla="*/ 1035244 w 1373970"/>
                  <a:gd name="connsiteY28" fmla="*/ 500970 h 1238922"/>
                  <a:gd name="connsiteX29" fmla="*/ 1039708 w 1373970"/>
                  <a:gd name="connsiteY29" fmla="*/ 539716 h 1238922"/>
                  <a:gd name="connsiteX30" fmla="*/ 1039708 w 1373970"/>
                  <a:gd name="connsiteY30" fmla="*/ 583269 h 1238922"/>
                  <a:gd name="connsiteX31" fmla="*/ 964351 w 1373970"/>
                  <a:gd name="connsiteY31" fmla="*/ 608323 h 1238922"/>
                  <a:gd name="connsiteX32" fmla="*/ 951137 w 1373970"/>
                  <a:gd name="connsiteY32" fmla="*/ 693682 h 1238922"/>
                  <a:gd name="connsiteX33" fmla="*/ 968816 w 1373970"/>
                  <a:gd name="connsiteY33" fmla="*/ 711453 h 1238922"/>
                  <a:gd name="connsiteX34" fmla="*/ 986494 w 1373970"/>
                  <a:gd name="connsiteY34" fmla="*/ 762726 h 1238922"/>
                  <a:gd name="connsiteX35" fmla="*/ 933280 w 1373970"/>
                  <a:gd name="connsiteY35" fmla="*/ 844589 h 1238922"/>
                  <a:gd name="connsiteX36" fmla="*/ 936673 w 1373970"/>
                  <a:gd name="connsiteY36" fmla="*/ 859446 h 1238922"/>
                  <a:gd name="connsiteX37" fmla="*/ 964351 w 1373970"/>
                  <a:gd name="connsiteY37" fmla="*/ 873138 h 1238922"/>
                  <a:gd name="connsiteX38" fmla="*/ 961316 w 1373970"/>
                  <a:gd name="connsiteY38" fmla="*/ 955001 h 1238922"/>
                  <a:gd name="connsiteX39" fmla="*/ 880245 w 1373970"/>
                  <a:gd name="connsiteY39" fmla="*/ 1020695 h 1238922"/>
                  <a:gd name="connsiteX40" fmla="*/ 802389 w 1373970"/>
                  <a:gd name="connsiteY40" fmla="*/ 1013412 h 1238922"/>
                  <a:gd name="connsiteX41" fmla="*/ 680961 w 1373970"/>
                  <a:gd name="connsiteY41" fmla="*/ 1005837 h 1238922"/>
                  <a:gd name="connsiteX42" fmla="*/ 635783 w 1373970"/>
                  <a:gd name="connsiteY42" fmla="*/ 1044584 h 1238922"/>
                  <a:gd name="connsiteX43" fmla="*/ 610426 w 1373970"/>
                  <a:gd name="connsiteY43" fmla="*/ 1031620 h 1238922"/>
                  <a:gd name="connsiteX44" fmla="*/ 480427 w 1373970"/>
                  <a:gd name="connsiteY44" fmla="*/ 1056674 h 1238922"/>
                  <a:gd name="connsiteX45" fmla="*/ 435752 w 1373970"/>
                  <a:gd name="connsiteY45" fmla="*/ 1118978 h 1238922"/>
                  <a:gd name="connsiteX46" fmla="*/ 426392 w 1373970"/>
                  <a:gd name="connsiteY46" fmla="*/ 1128043 h 1238922"/>
                  <a:gd name="connsiteX47" fmla="*/ 412105 w 1373970"/>
                  <a:gd name="connsiteY47" fmla="*/ 1130425 h 1238922"/>
                  <a:gd name="connsiteX48" fmla="*/ 400466 w 1373970"/>
                  <a:gd name="connsiteY48" fmla="*/ 1154409 h 1238922"/>
                  <a:gd name="connsiteX49" fmla="*/ 364451 w 1373970"/>
                  <a:gd name="connsiteY49" fmla="*/ 1171144 h 1238922"/>
                  <a:gd name="connsiteX50" fmla="*/ 358546 w 1373970"/>
                  <a:gd name="connsiteY50" fmla="*/ 1238844 h 1238922"/>
                  <a:gd name="connsiteX51" fmla="*/ 358026 w 1373970"/>
                  <a:gd name="connsiteY51" fmla="*/ 1238922 h 1238922"/>
                  <a:gd name="connsiteX52" fmla="*/ 362410 w 1373970"/>
                  <a:gd name="connsiteY52" fmla="*/ 1171043 h 1238922"/>
                  <a:gd name="connsiteX53" fmla="*/ 319843 w 1373970"/>
                  <a:gd name="connsiteY53" fmla="*/ 1142402 h 1238922"/>
                  <a:gd name="connsiteX54" fmla="*/ 206104 w 1373970"/>
                  <a:gd name="connsiteY54" fmla="*/ 1096009 h 1238922"/>
                  <a:gd name="connsiteX55" fmla="*/ 89867 w 1373970"/>
                  <a:gd name="connsiteY55" fmla="*/ 1041567 h 1238922"/>
                  <a:gd name="connsiteX56" fmla="*/ 54338 w 1373970"/>
                  <a:gd name="connsiteY56" fmla="*/ 1041567 h 1238922"/>
                  <a:gd name="connsiteX57" fmla="*/ 43895 w 1373970"/>
                  <a:gd name="connsiteY57" fmla="*/ 1031271 h 1238922"/>
                  <a:gd name="connsiteX58" fmla="*/ 64441 w 1373970"/>
                  <a:gd name="connsiteY58" fmla="*/ 998132 h 1238922"/>
                  <a:gd name="connsiteX59" fmla="*/ 46846 w 1373970"/>
                  <a:gd name="connsiteY59" fmla="*/ 983220 h 1238922"/>
                  <a:gd name="connsiteX60" fmla="*/ 19149 w 1373970"/>
                  <a:gd name="connsiteY60" fmla="*/ 983220 h 1238922"/>
                  <a:gd name="connsiteX61" fmla="*/ 6890 w 1373970"/>
                  <a:gd name="connsiteY61" fmla="*/ 938128 h 1238922"/>
                  <a:gd name="connsiteX62" fmla="*/ 0 w 1373970"/>
                  <a:gd name="connsiteY62" fmla="*/ 937579 h 1238922"/>
                  <a:gd name="connsiteX63" fmla="*/ 776 w 1373970"/>
                  <a:gd name="connsiteY63" fmla="*/ 912545 h 1238922"/>
                  <a:gd name="connsiteX64" fmla="*/ 8244 w 1373970"/>
                  <a:gd name="connsiteY64" fmla="*/ 798410 h 1238922"/>
                  <a:gd name="connsiteX65" fmla="*/ 69654 w 1373970"/>
                  <a:gd name="connsiteY65" fmla="*/ 746620 h 1238922"/>
                  <a:gd name="connsiteX66" fmla="*/ 130510 w 1373970"/>
                  <a:gd name="connsiteY66" fmla="*/ 650282 h 1238922"/>
                  <a:gd name="connsiteX67" fmla="*/ 176797 w 1373970"/>
                  <a:gd name="connsiteY67" fmla="*/ 594146 h 1238922"/>
                  <a:gd name="connsiteX68" fmla="*/ 253697 w 1373970"/>
                  <a:gd name="connsiteY68" fmla="*/ 557929 h 1238922"/>
                  <a:gd name="connsiteX69" fmla="*/ 281912 w 1373970"/>
                  <a:gd name="connsiteY69" fmla="*/ 458332 h 1238922"/>
                  <a:gd name="connsiteX70" fmla="*/ 333179 w 1373970"/>
                  <a:gd name="connsiteY70" fmla="*/ 428634 h 1238922"/>
                  <a:gd name="connsiteX71" fmla="*/ 386843 w 1373970"/>
                  <a:gd name="connsiteY71" fmla="*/ 402557 h 1238922"/>
                  <a:gd name="connsiteX72" fmla="*/ 389240 w 1373970"/>
                  <a:gd name="connsiteY72" fmla="*/ 323423 h 1238922"/>
                  <a:gd name="connsiteX73" fmla="*/ 455813 w 1373970"/>
                  <a:gd name="connsiteY73" fmla="*/ 139259 h 1238922"/>
                  <a:gd name="connsiteX74" fmla="*/ 465034 w 1373970"/>
                  <a:gd name="connsiteY74" fmla="*/ 57409 h 1238922"/>
                  <a:gd name="connsiteX75" fmla="*/ 448153 w 1373970"/>
                  <a:gd name="connsiteY75" fmla="*/ 0 h 1238922"/>
                  <a:gd name="connsiteX0" fmla="*/ 448153 w 1373970"/>
                  <a:gd name="connsiteY0" fmla="*/ 0 h 1238844"/>
                  <a:gd name="connsiteX1" fmla="*/ 539058 w 1373970"/>
                  <a:gd name="connsiteY1" fmla="*/ 3666 h 1238844"/>
                  <a:gd name="connsiteX2" fmla="*/ 613633 w 1373970"/>
                  <a:gd name="connsiteY2" fmla="*/ 130534 h 1238844"/>
                  <a:gd name="connsiteX3" fmla="*/ 656324 w 1373970"/>
                  <a:gd name="connsiteY3" fmla="*/ 75672 h 1238844"/>
                  <a:gd name="connsiteX4" fmla="*/ 757919 w 1373970"/>
                  <a:gd name="connsiteY4" fmla="*/ 97103 h 1238844"/>
                  <a:gd name="connsiteX5" fmla="*/ 784398 w 1373970"/>
                  <a:gd name="connsiteY5" fmla="*/ 147250 h 1238844"/>
                  <a:gd name="connsiteX6" fmla="*/ 853569 w 1373970"/>
                  <a:gd name="connsiteY6" fmla="*/ 113819 h 1238844"/>
                  <a:gd name="connsiteX7" fmla="*/ 976239 w 1373970"/>
                  <a:gd name="connsiteY7" fmla="*/ 130534 h 1238844"/>
                  <a:gd name="connsiteX8" fmla="*/ 970835 w 1373970"/>
                  <a:gd name="connsiteY8" fmla="*/ 92817 h 1238844"/>
                  <a:gd name="connsiteX9" fmla="*/ 1002178 w 1373970"/>
                  <a:gd name="connsiteY9" fmla="*/ 92817 h 1238844"/>
                  <a:gd name="connsiteX10" fmla="*/ 1050813 w 1373970"/>
                  <a:gd name="connsiteY10" fmla="*/ 143393 h 1238844"/>
                  <a:gd name="connsiteX11" fmla="*/ 1247517 w 1373970"/>
                  <a:gd name="connsiteY11" fmla="*/ 160109 h 1238844"/>
                  <a:gd name="connsiteX12" fmla="*/ 1279401 w 1373970"/>
                  <a:gd name="connsiteY12" fmla="*/ 113819 h 1238844"/>
                  <a:gd name="connsiteX13" fmla="*/ 1344789 w 1373970"/>
                  <a:gd name="connsiteY13" fmla="*/ 119391 h 1238844"/>
                  <a:gd name="connsiteX14" fmla="*/ 1369647 w 1373970"/>
                  <a:gd name="connsiteY14" fmla="*/ 148536 h 1238844"/>
                  <a:gd name="connsiteX15" fmla="*/ 1359379 w 1373970"/>
                  <a:gd name="connsiteY15" fmla="*/ 160109 h 1238844"/>
                  <a:gd name="connsiteX16" fmla="*/ 1373970 w 1373970"/>
                  <a:gd name="connsiteY16" fmla="*/ 220971 h 1238844"/>
                  <a:gd name="connsiteX17" fmla="*/ 1333440 w 1373970"/>
                  <a:gd name="connsiteY17" fmla="*/ 253117 h 1238844"/>
                  <a:gd name="connsiteX18" fmla="*/ 1318850 w 1373970"/>
                  <a:gd name="connsiteY18" fmla="*/ 307122 h 1238844"/>
                  <a:gd name="connsiteX19" fmla="*/ 1369780 w 1373970"/>
                  <a:gd name="connsiteY19" fmla="*/ 376726 h 1238844"/>
                  <a:gd name="connsiteX20" fmla="*/ 1259349 w 1373970"/>
                  <a:gd name="connsiteY20" fmla="*/ 447075 h 1238844"/>
                  <a:gd name="connsiteX21" fmla="*/ 1176671 w 1373970"/>
                  <a:gd name="connsiteY21" fmla="*/ 475625 h 1238844"/>
                  <a:gd name="connsiteX22" fmla="*/ 1181135 w 1373970"/>
                  <a:gd name="connsiteY22" fmla="*/ 429304 h 1238844"/>
                  <a:gd name="connsiteX23" fmla="*/ 1141314 w 1373970"/>
                  <a:gd name="connsiteY23" fmla="*/ 429304 h 1238844"/>
                  <a:gd name="connsiteX24" fmla="*/ 1120421 w 1373970"/>
                  <a:gd name="connsiteY24" fmla="*/ 396238 h 1238844"/>
                  <a:gd name="connsiteX25" fmla="*/ 1095779 w 1373970"/>
                  <a:gd name="connsiteY25" fmla="*/ 396238 h 1238844"/>
                  <a:gd name="connsiteX26" fmla="*/ 1092743 w 1373970"/>
                  <a:gd name="connsiteY26" fmla="*/ 434985 h 1238844"/>
                  <a:gd name="connsiteX27" fmla="*/ 1046672 w 1373970"/>
                  <a:gd name="connsiteY27" fmla="*/ 447075 h 1238844"/>
                  <a:gd name="connsiteX28" fmla="*/ 1035244 w 1373970"/>
                  <a:gd name="connsiteY28" fmla="*/ 500970 h 1238844"/>
                  <a:gd name="connsiteX29" fmla="*/ 1039708 w 1373970"/>
                  <a:gd name="connsiteY29" fmla="*/ 539716 h 1238844"/>
                  <a:gd name="connsiteX30" fmla="*/ 1039708 w 1373970"/>
                  <a:gd name="connsiteY30" fmla="*/ 583269 h 1238844"/>
                  <a:gd name="connsiteX31" fmla="*/ 964351 w 1373970"/>
                  <a:gd name="connsiteY31" fmla="*/ 608323 h 1238844"/>
                  <a:gd name="connsiteX32" fmla="*/ 951137 w 1373970"/>
                  <a:gd name="connsiteY32" fmla="*/ 693682 h 1238844"/>
                  <a:gd name="connsiteX33" fmla="*/ 968816 w 1373970"/>
                  <a:gd name="connsiteY33" fmla="*/ 711453 h 1238844"/>
                  <a:gd name="connsiteX34" fmla="*/ 986494 w 1373970"/>
                  <a:gd name="connsiteY34" fmla="*/ 762726 h 1238844"/>
                  <a:gd name="connsiteX35" fmla="*/ 933280 w 1373970"/>
                  <a:gd name="connsiteY35" fmla="*/ 844589 h 1238844"/>
                  <a:gd name="connsiteX36" fmla="*/ 936673 w 1373970"/>
                  <a:gd name="connsiteY36" fmla="*/ 859446 h 1238844"/>
                  <a:gd name="connsiteX37" fmla="*/ 964351 w 1373970"/>
                  <a:gd name="connsiteY37" fmla="*/ 873138 h 1238844"/>
                  <a:gd name="connsiteX38" fmla="*/ 961316 w 1373970"/>
                  <a:gd name="connsiteY38" fmla="*/ 955001 h 1238844"/>
                  <a:gd name="connsiteX39" fmla="*/ 880245 w 1373970"/>
                  <a:gd name="connsiteY39" fmla="*/ 1020695 h 1238844"/>
                  <a:gd name="connsiteX40" fmla="*/ 802389 w 1373970"/>
                  <a:gd name="connsiteY40" fmla="*/ 1013412 h 1238844"/>
                  <a:gd name="connsiteX41" fmla="*/ 680961 w 1373970"/>
                  <a:gd name="connsiteY41" fmla="*/ 1005837 h 1238844"/>
                  <a:gd name="connsiteX42" fmla="*/ 635783 w 1373970"/>
                  <a:gd name="connsiteY42" fmla="*/ 1044584 h 1238844"/>
                  <a:gd name="connsiteX43" fmla="*/ 610426 w 1373970"/>
                  <a:gd name="connsiteY43" fmla="*/ 1031620 h 1238844"/>
                  <a:gd name="connsiteX44" fmla="*/ 480427 w 1373970"/>
                  <a:gd name="connsiteY44" fmla="*/ 1056674 h 1238844"/>
                  <a:gd name="connsiteX45" fmla="*/ 435752 w 1373970"/>
                  <a:gd name="connsiteY45" fmla="*/ 1118978 h 1238844"/>
                  <a:gd name="connsiteX46" fmla="*/ 426392 w 1373970"/>
                  <a:gd name="connsiteY46" fmla="*/ 1128043 h 1238844"/>
                  <a:gd name="connsiteX47" fmla="*/ 412105 w 1373970"/>
                  <a:gd name="connsiteY47" fmla="*/ 1130425 h 1238844"/>
                  <a:gd name="connsiteX48" fmla="*/ 400466 w 1373970"/>
                  <a:gd name="connsiteY48" fmla="*/ 1154409 h 1238844"/>
                  <a:gd name="connsiteX49" fmla="*/ 364451 w 1373970"/>
                  <a:gd name="connsiteY49" fmla="*/ 1171144 h 1238844"/>
                  <a:gd name="connsiteX50" fmla="*/ 358546 w 1373970"/>
                  <a:gd name="connsiteY50" fmla="*/ 1238844 h 1238844"/>
                  <a:gd name="connsiteX51" fmla="*/ 362410 w 1373970"/>
                  <a:gd name="connsiteY51" fmla="*/ 1171043 h 1238844"/>
                  <a:gd name="connsiteX52" fmla="*/ 319843 w 1373970"/>
                  <a:gd name="connsiteY52" fmla="*/ 1142402 h 1238844"/>
                  <a:gd name="connsiteX53" fmla="*/ 206104 w 1373970"/>
                  <a:gd name="connsiteY53" fmla="*/ 1096009 h 1238844"/>
                  <a:gd name="connsiteX54" fmla="*/ 89867 w 1373970"/>
                  <a:gd name="connsiteY54" fmla="*/ 1041567 h 1238844"/>
                  <a:gd name="connsiteX55" fmla="*/ 54338 w 1373970"/>
                  <a:gd name="connsiteY55" fmla="*/ 1041567 h 1238844"/>
                  <a:gd name="connsiteX56" fmla="*/ 43895 w 1373970"/>
                  <a:gd name="connsiteY56" fmla="*/ 1031271 h 1238844"/>
                  <a:gd name="connsiteX57" fmla="*/ 64441 w 1373970"/>
                  <a:gd name="connsiteY57" fmla="*/ 998132 h 1238844"/>
                  <a:gd name="connsiteX58" fmla="*/ 46846 w 1373970"/>
                  <a:gd name="connsiteY58" fmla="*/ 983220 h 1238844"/>
                  <a:gd name="connsiteX59" fmla="*/ 19149 w 1373970"/>
                  <a:gd name="connsiteY59" fmla="*/ 983220 h 1238844"/>
                  <a:gd name="connsiteX60" fmla="*/ 6890 w 1373970"/>
                  <a:gd name="connsiteY60" fmla="*/ 938128 h 1238844"/>
                  <a:gd name="connsiteX61" fmla="*/ 0 w 1373970"/>
                  <a:gd name="connsiteY61" fmla="*/ 937579 h 1238844"/>
                  <a:gd name="connsiteX62" fmla="*/ 776 w 1373970"/>
                  <a:gd name="connsiteY62" fmla="*/ 912545 h 1238844"/>
                  <a:gd name="connsiteX63" fmla="*/ 8244 w 1373970"/>
                  <a:gd name="connsiteY63" fmla="*/ 798410 h 1238844"/>
                  <a:gd name="connsiteX64" fmla="*/ 69654 w 1373970"/>
                  <a:gd name="connsiteY64" fmla="*/ 746620 h 1238844"/>
                  <a:gd name="connsiteX65" fmla="*/ 130510 w 1373970"/>
                  <a:gd name="connsiteY65" fmla="*/ 650282 h 1238844"/>
                  <a:gd name="connsiteX66" fmla="*/ 176797 w 1373970"/>
                  <a:gd name="connsiteY66" fmla="*/ 594146 h 1238844"/>
                  <a:gd name="connsiteX67" fmla="*/ 253697 w 1373970"/>
                  <a:gd name="connsiteY67" fmla="*/ 557929 h 1238844"/>
                  <a:gd name="connsiteX68" fmla="*/ 281912 w 1373970"/>
                  <a:gd name="connsiteY68" fmla="*/ 458332 h 1238844"/>
                  <a:gd name="connsiteX69" fmla="*/ 333179 w 1373970"/>
                  <a:gd name="connsiteY69" fmla="*/ 428634 h 1238844"/>
                  <a:gd name="connsiteX70" fmla="*/ 386843 w 1373970"/>
                  <a:gd name="connsiteY70" fmla="*/ 402557 h 1238844"/>
                  <a:gd name="connsiteX71" fmla="*/ 389240 w 1373970"/>
                  <a:gd name="connsiteY71" fmla="*/ 323423 h 1238844"/>
                  <a:gd name="connsiteX72" fmla="*/ 455813 w 1373970"/>
                  <a:gd name="connsiteY72" fmla="*/ 139259 h 1238844"/>
                  <a:gd name="connsiteX73" fmla="*/ 465034 w 1373970"/>
                  <a:gd name="connsiteY73" fmla="*/ 57409 h 1238844"/>
                  <a:gd name="connsiteX74" fmla="*/ 448153 w 1373970"/>
                  <a:gd name="connsiteY74" fmla="*/ 0 h 1238844"/>
                  <a:gd name="connsiteX0" fmla="*/ 448153 w 1373970"/>
                  <a:gd name="connsiteY0" fmla="*/ 0 h 1181694"/>
                  <a:gd name="connsiteX1" fmla="*/ 539058 w 1373970"/>
                  <a:gd name="connsiteY1" fmla="*/ 3666 h 1181694"/>
                  <a:gd name="connsiteX2" fmla="*/ 613633 w 1373970"/>
                  <a:gd name="connsiteY2" fmla="*/ 130534 h 1181694"/>
                  <a:gd name="connsiteX3" fmla="*/ 656324 w 1373970"/>
                  <a:gd name="connsiteY3" fmla="*/ 75672 h 1181694"/>
                  <a:gd name="connsiteX4" fmla="*/ 757919 w 1373970"/>
                  <a:gd name="connsiteY4" fmla="*/ 97103 h 1181694"/>
                  <a:gd name="connsiteX5" fmla="*/ 784398 w 1373970"/>
                  <a:gd name="connsiteY5" fmla="*/ 147250 h 1181694"/>
                  <a:gd name="connsiteX6" fmla="*/ 853569 w 1373970"/>
                  <a:gd name="connsiteY6" fmla="*/ 113819 h 1181694"/>
                  <a:gd name="connsiteX7" fmla="*/ 976239 w 1373970"/>
                  <a:gd name="connsiteY7" fmla="*/ 130534 h 1181694"/>
                  <a:gd name="connsiteX8" fmla="*/ 970835 w 1373970"/>
                  <a:gd name="connsiteY8" fmla="*/ 92817 h 1181694"/>
                  <a:gd name="connsiteX9" fmla="*/ 1002178 w 1373970"/>
                  <a:gd name="connsiteY9" fmla="*/ 92817 h 1181694"/>
                  <a:gd name="connsiteX10" fmla="*/ 1050813 w 1373970"/>
                  <a:gd name="connsiteY10" fmla="*/ 143393 h 1181694"/>
                  <a:gd name="connsiteX11" fmla="*/ 1247517 w 1373970"/>
                  <a:gd name="connsiteY11" fmla="*/ 160109 h 1181694"/>
                  <a:gd name="connsiteX12" fmla="*/ 1279401 w 1373970"/>
                  <a:gd name="connsiteY12" fmla="*/ 113819 h 1181694"/>
                  <a:gd name="connsiteX13" fmla="*/ 1344789 w 1373970"/>
                  <a:gd name="connsiteY13" fmla="*/ 119391 h 1181694"/>
                  <a:gd name="connsiteX14" fmla="*/ 1369647 w 1373970"/>
                  <a:gd name="connsiteY14" fmla="*/ 148536 h 1181694"/>
                  <a:gd name="connsiteX15" fmla="*/ 1359379 w 1373970"/>
                  <a:gd name="connsiteY15" fmla="*/ 160109 h 1181694"/>
                  <a:gd name="connsiteX16" fmla="*/ 1373970 w 1373970"/>
                  <a:gd name="connsiteY16" fmla="*/ 220971 h 1181694"/>
                  <a:gd name="connsiteX17" fmla="*/ 1333440 w 1373970"/>
                  <a:gd name="connsiteY17" fmla="*/ 253117 h 1181694"/>
                  <a:gd name="connsiteX18" fmla="*/ 1318850 w 1373970"/>
                  <a:gd name="connsiteY18" fmla="*/ 307122 h 1181694"/>
                  <a:gd name="connsiteX19" fmla="*/ 1369780 w 1373970"/>
                  <a:gd name="connsiteY19" fmla="*/ 376726 h 1181694"/>
                  <a:gd name="connsiteX20" fmla="*/ 1259349 w 1373970"/>
                  <a:gd name="connsiteY20" fmla="*/ 447075 h 1181694"/>
                  <a:gd name="connsiteX21" fmla="*/ 1176671 w 1373970"/>
                  <a:gd name="connsiteY21" fmla="*/ 475625 h 1181694"/>
                  <a:gd name="connsiteX22" fmla="*/ 1181135 w 1373970"/>
                  <a:gd name="connsiteY22" fmla="*/ 429304 h 1181694"/>
                  <a:gd name="connsiteX23" fmla="*/ 1141314 w 1373970"/>
                  <a:gd name="connsiteY23" fmla="*/ 429304 h 1181694"/>
                  <a:gd name="connsiteX24" fmla="*/ 1120421 w 1373970"/>
                  <a:gd name="connsiteY24" fmla="*/ 396238 h 1181694"/>
                  <a:gd name="connsiteX25" fmla="*/ 1095779 w 1373970"/>
                  <a:gd name="connsiteY25" fmla="*/ 396238 h 1181694"/>
                  <a:gd name="connsiteX26" fmla="*/ 1092743 w 1373970"/>
                  <a:gd name="connsiteY26" fmla="*/ 434985 h 1181694"/>
                  <a:gd name="connsiteX27" fmla="*/ 1046672 w 1373970"/>
                  <a:gd name="connsiteY27" fmla="*/ 447075 h 1181694"/>
                  <a:gd name="connsiteX28" fmla="*/ 1035244 w 1373970"/>
                  <a:gd name="connsiteY28" fmla="*/ 500970 h 1181694"/>
                  <a:gd name="connsiteX29" fmla="*/ 1039708 w 1373970"/>
                  <a:gd name="connsiteY29" fmla="*/ 539716 h 1181694"/>
                  <a:gd name="connsiteX30" fmla="*/ 1039708 w 1373970"/>
                  <a:gd name="connsiteY30" fmla="*/ 583269 h 1181694"/>
                  <a:gd name="connsiteX31" fmla="*/ 964351 w 1373970"/>
                  <a:gd name="connsiteY31" fmla="*/ 608323 h 1181694"/>
                  <a:gd name="connsiteX32" fmla="*/ 951137 w 1373970"/>
                  <a:gd name="connsiteY32" fmla="*/ 693682 h 1181694"/>
                  <a:gd name="connsiteX33" fmla="*/ 968816 w 1373970"/>
                  <a:gd name="connsiteY33" fmla="*/ 711453 h 1181694"/>
                  <a:gd name="connsiteX34" fmla="*/ 986494 w 1373970"/>
                  <a:gd name="connsiteY34" fmla="*/ 762726 h 1181694"/>
                  <a:gd name="connsiteX35" fmla="*/ 933280 w 1373970"/>
                  <a:gd name="connsiteY35" fmla="*/ 844589 h 1181694"/>
                  <a:gd name="connsiteX36" fmla="*/ 936673 w 1373970"/>
                  <a:gd name="connsiteY36" fmla="*/ 859446 h 1181694"/>
                  <a:gd name="connsiteX37" fmla="*/ 964351 w 1373970"/>
                  <a:gd name="connsiteY37" fmla="*/ 873138 h 1181694"/>
                  <a:gd name="connsiteX38" fmla="*/ 961316 w 1373970"/>
                  <a:gd name="connsiteY38" fmla="*/ 955001 h 1181694"/>
                  <a:gd name="connsiteX39" fmla="*/ 880245 w 1373970"/>
                  <a:gd name="connsiteY39" fmla="*/ 1020695 h 1181694"/>
                  <a:gd name="connsiteX40" fmla="*/ 802389 w 1373970"/>
                  <a:gd name="connsiteY40" fmla="*/ 1013412 h 1181694"/>
                  <a:gd name="connsiteX41" fmla="*/ 680961 w 1373970"/>
                  <a:gd name="connsiteY41" fmla="*/ 1005837 h 1181694"/>
                  <a:gd name="connsiteX42" fmla="*/ 635783 w 1373970"/>
                  <a:gd name="connsiteY42" fmla="*/ 1044584 h 1181694"/>
                  <a:gd name="connsiteX43" fmla="*/ 610426 w 1373970"/>
                  <a:gd name="connsiteY43" fmla="*/ 1031620 h 1181694"/>
                  <a:gd name="connsiteX44" fmla="*/ 480427 w 1373970"/>
                  <a:gd name="connsiteY44" fmla="*/ 1056674 h 1181694"/>
                  <a:gd name="connsiteX45" fmla="*/ 435752 w 1373970"/>
                  <a:gd name="connsiteY45" fmla="*/ 1118978 h 1181694"/>
                  <a:gd name="connsiteX46" fmla="*/ 426392 w 1373970"/>
                  <a:gd name="connsiteY46" fmla="*/ 1128043 h 1181694"/>
                  <a:gd name="connsiteX47" fmla="*/ 412105 w 1373970"/>
                  <a:gd name="connsiteY47" fmla="*/ 1130425 h 1181694"/>
                  <a:gd name="connsiteX48" fmla="*/ 400466 w 1373970"/>
                  <a:gd name="connsiteY48" fmla="*/ 1154409 h 1181694"/>
                  <a:gd name="connsiteX49" fmla="*/ 364451 w 1373970"/>
                  <a:gd name="connsiteY49" fmla="*/ 1171144 h 1181694"/>
                  <a:gd name="connsiteX50" fmla="*/ 360928 w 1373970"/>
                  <a:gd name="connsiteY50" fmla="*/ 1181694 h 1181694"/>
                  <a:gd name="connsiteX51" fmla="*/ 362410 w 1373970"/>
                  <a:gd name="connsiteY51" fmla="*/ 1171043 h 1181694"/>
                  <a:gd name="connsiteX52" fmla="*/ 319843 w 1373970"/>
                  <a:gd name="connsiteY52" fmla="*/ 1142402 h 1181694"/>
                  <a:gd name="connsiteX53" fmla="*/ 206104 w 1373970"/>
                  <a:gd name="connsiteY53" fmla="*/ 1096009 h 1181694"/>
                  <a:gd name="connsiteX54" fmla="*/ 89867 w 1373970"/>
                  <a:gd name="connsiteY54" fmla="*/ 1041567 h 1181694"/>
                  <a:gd name="connsiteX55" fmla="*/ 54338 w 1373970"/>
                  <a:gd name="connsiteY55" fmla="*/ 1041567 h 1181694"/>
                  <a:gd name="connsiteX56" fmla="*/ 43895 w 1373970"/>
                  <a:gd name="connsiteY56" fmla="*/ 1031271 h 1181694"/>
                  <a:gd name="connsiteX57" fmla="*/ 64441 w 1373970"/>
                  <a:gd name="connsiteY57" fmla="*/ 998132 h 1181694"/>
                  <a:gd name="connsiteX58" fmla="*/ 46846 w 1373970"/>
                  <a:gd name="connsiteY58" fmla="*/ 983220 h 1181694"/>
                  <a:gd name="connsiteX59" fmla="*/ 19149 w 1373970"/>
                  <a:gd name="connsiteY59" fmla="*/ 983220 h 1181694"/>
                  <a:gd name="connsiteX60" fmla="*/ 6890 w 1373970"/>
                  <a:gd name="connsiteY60" fmla="*/ 938128 h 1181694"/>
                  <a:gd name="connsiteX61" fmla="*/ 0 w 1373970"/>
                  <a:gd name="connsiteY61" fmla="*/ 937579 h 1181694"/>
                  <a:gd name="connsiteX62" fmla="*/ 776 w 1373970"/>
                  <a:gd name="connsiteY62" fmla="*/ 912545 h 1181694"/>
                  <a:gd name="connsiteX63" fmla="*/ 8244 w 1373970"/>
                  <a:gd name="connsiteY63" fmla="*/ 798410 h 1181694"/>
                  <a:gd name="connsiteX64" fmla="*/ 69654 w 1373970"/>
                  <a:gd name="connsiteY64" fmla="*/ 746620 h 1181694"/>
                  <a:gd name="connsiteX65" fmla="*/ 130510 w 1373970"/>
                  <a:gd name="connsiteY65" fmla="*/ 650282 h 1181694"/>
                  <a:gd name="connsiteX66" fmla="*/ 176797 w 1373970"/>
                  <a:gd name="connsiteY66" fmla="*/ 594146 h 1181694"/>
                  <a:gd name="connsiteX67" fmla="*/ 253697 w 1373970"/>
                  <a:gd name="connsiteY67" fmla="*/ 557929 h 1181694"/>
                  <a:gd name="connsiteX68" fmla="*/ 281912 w 1373970"/>
                  <a:gd name="connsiteY68" fmla="*/ 458332 h 1181694"/>
                  <a:gd name="connsiteX69" fmla="*/ 333179 w 1373970"/>
                  <a:gd name="connsiteY69" fmla="*/ 428634 h 1181694"/>
                  <a:gd name="connsiteX70" fmla="*/ 386843 w 1373970"/>
                  <a:gd name="connsiteY70" fmla="*/ 402557 h 1181694"/>
                  <a:gd name="connsiteX71" fmla="*/ 389240 w 1373970"/>
                  <a:gd name="connsiteY71" fmla="*/ 323423 h 1181694"/>
                  <a:gd name="connsiteX72" fmla="*/ 455813 w 1373970"/>
                  <a:gd name="connsiteY72" fmla="*/ 139259 h 1181694"/>
                  <a:gd name="connsiteX73" fmla="*/ 465034 w 1373970"/>
                  <a:gd name="connsiteY73" fmla="*/ 57409 h 1181694"/>
                  <a:gd name="connsiteX74" fmla="*/ 448153 w 1373970"/>
                  <a:gd name="connsiteY74" fmla="*/ 0 h 1181694"/>
                  <a:gd name="connsiteX0" fmla="*/ 448153 w 1373970"/>
                  <a:gd name="connsiteY0" fmla="*/ 0 h 1181694"/>
                  <a:gd name="connsiteX1" fmla="*/ 539058 w 1373970"/>
                  <a:gd name="connsiteY1" fmla="*/ 3666 h 1181694"/>
                  <a:gd name="connsiteX2" fmla="*/ 613633 w 1373970"/>
                  <a:gd name="connsiteY2" fmla="*/ 130534 h 1181694"/>
                  <a:gd name="connsiteX3" fmla="*/ 656324 w 1373970"/>
                  <a:gd name="connsiteY3" fmla="*/ 75672 h 1181694"/>
                  <a:gd name="connsiteX4" fmla="*/ 757919 w 1373970"/>
                  <a:gd name="connsiteY4" fmla="*/ 97103 h 1181694"/>
                  <a:gd name="connsiteX5" fmla="*/ 784398 w 1373970"/>
                  <a:gd name="connsiteY5" fmla="*/ 147250 h 1181694"/>
                  <a:gd name="connsiteX6" fmla="*/ 853569 w 1373970"/>
                  <a:gd name="connsiteY6" fmla="*/ 113819 h 1181694"/>
                  <a:gd name="connsiteX7" fmla="*/ 976239 w 1373970"/>
                  <a:gd name="connsiteY7" fmla="*/ 130534 h 1181694"/>
                  <a:gd name="connsiteX8" fmla="*/ 970835 w 1373970"/>
                  <a:gd name="connsiteY8" fmla="*/ 92817 h 1181694"/>
                  <a:gd name="connsiteX9" fmla="*/ 1002178 w 1373970"/>
                  <a:gd name="connsiteY9" fmla="*/ 92817 h 1181694"/>
                  <a:gd name="connsiteX10" fmla="*/ 1050813 w 1373970"/>
                  <a:gd name="connsiteY10" fmla="*/ 143393 h 1181694"/>
                  <a:gd name="connsiteX11" fmla="*/ 1247517 w 1373970"/>
                  <a:gd name="connsiteY11" fmla="*/ 160109 h 1181694"/>
                  <a:gd name="connsiteX12" fmla="*/ 1279401 w 1373970"/>
                  <a:gd name="connsiteY12" fmla="*/ 113819 h 1181694"/>
                  <a:gd name="connsiteX13" fmla="*/ 1344789 w 1373970"/>
                  <a:gd name="connsiteY13" fmla="*/ 119391 h 1181694"/>
                  <a:gd name="connsiteX14" fmla="*/ 1369647 w 1373970"/>
                  <a:gd name="connsiteY14" fmla="*/ 148536 h 1181694"/>
                  <a:gd name="connsiteX15" fmla="*/ 1359379 w 1373970"/>
                  <a:gd name="connsiteY15" fmla="*/ 160109 h 1181694"/>
                  <a:gd name="connsiteX16" fmla="*/ 1373970 w 1373970"/>
                  <a:gd name="connsiteY16" fmla="*/ 220971 h 1181694"/>
                  <a:gd name="connsiteX17" fmla="*/ 1333440 w 1373970"/>
                  <a:gd name="connsiteY17" fmla="*/ 253117 h 1181694"/>
                  <a:gd name="connsiteX18" fmla="*/ 1318850 w 1373970"/>
                  <a:gd name="connsiteY18" fmla="*/ 307122 h 1181694"/>
                  <a:gd name="connsiteX19" fmla="*/ 1369780 w 1373970"/>
                  <a:gd name="connsiteY19" fmla="*/ 376726 h 1181694"/>
                  <a:gd name="connsiteX20" fmla="*/ 1176671 w 1373970"/>
                  <a:gd name="connsiteY20" fmla="*/ 475625 h 1181694"/>
                  <a:gd name="connsiteX21" fmla="*/ 1181135 w 1373970"/>
                  <a:gd name="connsiteY21" fmla="*/ 429304 h 1181694"/>
                  <a:gd name="connsiteX22" fmla="*/ 1141314 w 1373970"/>
                  <a:gd name="connsiteY22" fmla="*/ 429304 h 1181694"/>
                  <a:gd name="connsiteX23" fmla="*/ 1120421 w 1373970"/>
                  <a:gd name="connsiteY23" fmla="*/ 396238 h 1181694"/>
                  <a:gd name="connsiteX24" fmla="*/ 1095779 w 1373970"/>
                  <a:gd name="connsiteY24" fmla="*/ 396238 h 1181694"/>
                  <a:gd name="connsiteX25" fmla="*/ 1092743 w 1373970"/>
                  <a:gd name="connsiteY25" fmla="*/ 434985 h 1181694"/>
                  <a:gd name="connsiteX26" fmla="*/ 1046672 w 1373970"/>
                  <a:gd name="connsiteY26" fmla="*/ 447075 h 1181694"/>
                  <a:gd name="connsiteX27" fmla="*/ 1035244 w 1373970"/>
                  <a:gd name="connsiteY27" fmla="*/ 500970 h 1181694"/>
                  <a:gd name="connsiteX28" fmla="*/ 1039708 w 1373970"/>
                  <a:gd name="connsiteY28" fmla="*/ 539716 h 1181694"/>
                  <a:gd name="connsiteX29" fmla="*/ 1039708 w 1373970"/>
                  <a:gd name="connsiteY29" fmla="*/ 583269 h 1181694"/>
                  <a:gd name="connsiteX30" fmla="*/ 964351 w 1373970"/>
                  <a:gd name="connsiteY30" fmla="*/ 608323 h 1181694"/>
                  <a:gd name="connsiteX31" fmla="*/ 951137 w 1373970"/>
                  <a:gd name="connsiteY31" fmla="*/ 693682 h 1181694"/>
                  <a:gd name="connsiteX32" fmla="*/ 968816 w 1373970"/>
                  <a:gd name="connsiteY32" fmla="*/ 711453 h 1181694"/>
                  <a:gd name="connsiteX33" fmla="*/ 986494 w 1373970"/>
                  <a:gd name="connsiteY33" fmla="*/ 762726 h 1181694"/>
                  <a:gd name="connsiteX34" fmla="*/ 933280 w 1373970"/>
                  <a:gd name="connsiteY34" fmla="*/ 844589 h 1181694"/>
                  <a:gd name="connsiteX35" fmla="*/ 936673 w 1373970"/>
                  <a:gd name="connsiteY35" fmla="*/ 859446 h 1181694"/>
                  <a:gd name="connsiteX36" fmla="*/ 964351 w 1373970"/>
                  <a:gd name="connsiteY36" fmla="*/ 873138 h 1181694"/>
                  <a:gd name="connsiteX37" fmla="*/ 961316 w 1373970"/>
                  <a:gd name="connsiteY37" fmla="*/ 955001 h 1181694"/>
                  <a:gd name="connsiteX38" fmla="*/ 880245 w 1373970"/>
                  <a:gd name="connsiteY38" fmla="*/ 1020695 h 1181694"/>
                  <a:gd name="connsiteX39" fmla="*/ 802389 w 1373970"/>
                  <a:gd name="connsiteY39" fmla="*/ 1013412 h 1181694"/>
                  <a:gd name="connsiteX40" fmla="*/ 680961 w 1373970"/>
                  <a:gd name="connsiteY40" fmla="*/ 1005837 h 1181694"/>
                  <a:gd name="connsiteX41" fmla="*/ 635783 w 1373970"/>
                  <a:gd name="connsiteY41" fmla="*/ 1044584 h 1181694"/>
                  <a:gd name="connsiteX42" fmla="*/ 610426 w 1373970"/>
                  <a:gd name="connsiteY42" fmla="*/ 1031620 h 1181694"/>
                  <a:gd name="connsiteX43" fmla="*/ 480427 w 1373970"/>
                  <a:gd name="connsiteY43" fmla="*/ 1056674 h 1181694"/>
                  <a:gd name="connsiteX44" fmla="*/ 435752 w 1373970"/>
                  <a:gd name="connsiteY44" fmla="*/ 1118978 h 1181694"/>
                  <a:gd name="connsiteX45" fmla="*/ 426392 w 1373970"/>
                  <a:gd name="connsiteY45" fmla="*/ 1128043 h 1181694"/>
                  <a:gd name="connsiteX46" fmla="*/ 412105 w 1373970"/>
                  <a:gd name="connsiteY46" fmla="*/ 1130425 h 1181694"/>
                  <a:gd name="connsiteX47" fmla="*/ 400466 w 1373970"/>
                  <a:gd name="connsiteY47" fmla="*/ 1154409 h 1181694"/>
                  <a:gd name="connsiteX48" fmla="*/ 364451 w 1373970"/>
                  <a:gd name="connsiteY48" fmla="*/ 1171144 h 1181694"/>
                  <a:gd name="connsiteX49" fmla="*/ 360928 w 1373970"/>
                  <a:gd name="connsiteY49" fmla="*/ 1181694 h 1181694"/>
                  <a:gd name="connsiteX50" fmla="*/ 362410 w 1373970"/>
                  <a:gd name="connsiteY50" fmla="*/ 1171043 h 1181694"/>
                  <a:gd name="connsiteX51" fmla="*/ 319843 w 1373970"/>
                  <a:gd name="connsiteY51" fmla="*/ 1142402 h 1181694"/>
                  <a:gd name="connsiteX52" fmla="*/ 206104 w 1373970"/>
                  <a:gd name="connsiteY52" fmla="*/ 1096009 h 1181694"/>
                  <a:gd name="connsiteX53" fmla="*/ 89867 w 1373970"/>
                  <a:gd name="connsiteY53" fmla="*/ 1041567 h 1181694"/>
                  <a:gd name="connsiteX54" fmla="*/ 54338 w 1373970"/>
                  <a:gd name="connsiteY54" fmla="*/ 1041567 h 1181694"/>
                  <a:gd name="connsiteX55" fmla="*/ 43895 w 1373970"/>
                  <a:gd name="connsiteY55" fmla="*/ 1031271 h 1181694"/>
                  <a:gd name="connsiteX56" fmla="*/ 64441 w 1373970"/>
                  <a:gd name="connsiteY56" fmla="*/ 998132 h 1181694"/>
                  <a:gd name="connsiteX57" fmla="*/ 46846 w 1373970"/>
                  <a:gd name="connsiteY57" fmla="*/ 983220 h 1181694"/>
                  <a:gd name="connsiteX58" fmla="*/ 19149 w 1373970"/>
                  <a:gd name="connsiteY58" fmla="*/ 983220 h 1181694"/>
                  <a:gd name="connsiteX59" fmla="*/ 6890 w 1373970"/>
                  <a:gd name="connsiteY59" fmla="*/ 938128 h 1181694"/>
                  <a:gd name="connsiteX60" fmla="*/ 0 w 1373970"/>
                  <a:gd name="connsiteY60" fmla="*/ 937579 h 1181694"/>
                  <a:gd name="connsiteX61" fmla="*/ 776 w 1373970"/>
                  <a:gd name="connsiteY61" fmla="*/ 912545 h 1181694"/>
                  <a:gd name="connsiteX62" fmla="*/ 8244 w 1373970"/>
                  <a:gd name="connsiteY62" fmla="*/ 798410 h 1181694"/>
                  <a:gd name="connsiteX63" fmla="*/ 69654 w 1373970"/>
                  <a:gd name="connsiteY63" fmla="*/ 746620 h 1181694"/>
                  <a:gd name="connsiteX64" fmla="*/ 130510 w 1373970"/>
                  <a:gd name="connsiteY64" fmla="*/ 650282 h 1181694"/>
                  <a:gd name="connsiteX65" fmla="*/ 176797 w 1373970"/>
                  <a:gd name="connsiteY65" fmla="*/ 594146 h 1181694"/>
                  <a:gd name="connsiteX66" fmla="*/ 253697 w 1373970"/>
                  <a:gd name="connsiteY66" fmla="*/ 557929 h 1181694"/>
                  <a:gd name="connsiteX67" fmla="*/ 281912 w 1373970"/>
                  <a:gd name="connsiteY67" fmla="*/ 458332 h 1181694"/>
                  <a:gd name="connsiteX68" fmla="*/ 333179 w 1373970"/>
                  <a:gd name="connsiteY68" fmla="*/ 428634 h 1181694"/>
                  <a:gd name="connsiteX69" fmla="*/ 386843 w 1373970"/>
                  <a:gd name="connsiteY69" fmla="*/ 402557 h 1181694"/>
                  <a:gd name="connsiteX70" fmla="*/ 389240 w 1373970"/>
                  <a:gd name="connsiteY70" fmla="*/ 323423 h 1181694"/>
                  <a:gd name="connsiteX71" fmla="*/ 455813 w 1373970"/>
                  <a:gd name="connsiteY71" fmla="*/ 139259 h 1181694"/>
                  <a:gd name="connsiteX72" fmla="*/ 465034 w 1373970"/>
                  <a:gd name="connsiteY72" fmla="*/ 57409 h 1181694"/>
                  <a:gd name="connsiteX73" fmla="*/ 448153 w 1373970"/>
                  <a:gd name="connsiteY73" fmla="*/ 0 h 1181694"/>
                  <a:gd name="connsiteX0" fmla="*/ 448153 w 1373970"/>
                  <a:gd name="connsiteY0" fmla="*/ 0 h 1181694"/>
                  <a:gd name="connsiteX1" fmla="*/ 539058 w 1373970"/>
                  <a:gd name="connsiteY1" fmla="*/ 3666 h 1181694"/>
                  <a:gd name="connsiteX2" fmla="*/ 613633 w 1373970"/>
                  <a:gd name="connsiteY2" fmla="*/ 130534 h 1181694"/>
                  <a:gd name="connsiteX3" fmla="*/ 656324 w 1373970"/>
                  <a:gd name="connsiteY3" fmla="*/ 75672 h 1181694"/>
                  <a:gd name="connsiteX4" fmla="*/ 757919 w 1373970"/>
                  <a:gd name="connsiteY4" fmla="*/ 97103 h 1181694"/>
                  <a:gd name="connsiteX5" fmla="*/ 784398 w 1373970"/>
                  <a:gd name="connsiteY5" fmla="*/ 147250 h 1181694"/>
                  <a:gd name="connsiteX6" fmla="*/ 853569 w 1373970"/>
                  <a:gd name="connsiteY6" fmla="*/ 113819 h 1181694"/>
                  <a:gd name="connsiteX7" fmla="*/ 976239 w 1373970"/>
                  <a:gd name="connsiteY7" fmla="*/ 130534 h 1181694"/>
                  <a:gd name="connsiteX8" fmla="*/ 970835 w 1373970"/>
                  <a:gd name="connsiteY8" fmla="*/ 92817 h 1181694"/>
                  <a:gd name="connsiteX9" fmla="*/ 1002178 w 1373970"/>
                  <a:gd name="connsiteY9" fmla="*/ 92817 h 1181694"/>
                  <a:gd name="connsiteX10" fmla="*/ 1050813 w 1373970"/>
                  <a:gd name="connsiteY10" fmla="*/ 143393 h 1181694"/>
                  <a:gd name="connsiteX11" fmla="*/ 1247517 w 1373970"/>
                  <a:gd name="connsiteY11" fmla="*/ 160109 h 1181694"/>
                  <a:gd name="connsiteX12" fmla="*/ 1279401 w 1373970"/>
                  <a:gd name="connsiteY12" fmla="*/ 113819 h 1181694"/>
                  <a:gd name="connsiteX13" fmla="*/ 1344789 w 1373970"/>
                  <a:gd name="connsiteY13" fmla="*/ 119391 h 1181694"/>
                  <a:gd name="connsiteX14" fmla="*/ 1369647 w 1373970"/>
                  <a:gd name="connsiteY14" fmla="*/ 148536 h 1181694"/>
                  <a:gd name="connsiteX15" fmla="*/ 1359379 w 1373970"/>
                  <a:gd name="connsiteY15" fmla="*/ 160109 h 1181694"/>
                  <a:gd name="connsiteX16" fmla="*/ 1373970 w 1373970"/>
                  <a:gd name="connsiteY16" fmla="*/ 220971 h 1181694"/>
                  <a:gd name="connsiteX17" fmla="*/ 1333440 w 1373970"/>
                  <a:gd name="connsiteY17" fmla="*/ 253117 h 1181694"/>
                  <a:gd name="connsiteX18" fmla="*/ 1318850 w 1373970"/>
                  <a:gd name="connsiteY18" fmla="*/ 307122 h 1181694"/>
                  <a:gd name="connsiteX19" fmla="*/ 1211030 w 1373970"/>
                  <a:gd name="connsiteY19" fmla="*/ 351326 h 1181694"/>
                  <a:gd name="connsiteX20" fmla="*/ 1176671 w 1373970"/>
                  <a:gd name="connsiteY20" fmla="*/ 475625 h 1181694"/>
                  <a:gd name="connsiteX21" fmla="*/ 1181135 w 1373970"/>
                  <a:gd name="connsiteY21" fmla="*/ 429304 h 1181694"/>
                  <a:gd name="connsiteX22" fmla="*/ 1141314 w 1373970"/>
                  <a:gd name="connsiteY22" fmla="*/ 429304 h 1181694"/>
                  <a:gd name="connsiteX23" fmla="*/ 1120421 w 1373970"/>
                  <a:gd name="connsiteY23" fmla="*/ 396238 h 1181694"/>
                  <a:gd name="connsiteX24" fmla="*/ 1095779 w 1373970"/>
                  <a:gd name="connsiteY24" fmla="*/ 396238 h 1181694"/>
                  <a:gd name="connsiteX25" fmla="*/ 1092743 w 1373970"/>
                  <a:gd name="connsiteY25" fmla="*/ 434985 h 1181694"/>
                  <a:gd name="connsiteX26" fmla="*/ 1046672 w 1373970"/>
                  <a:gd name="connsiteY26" fmla="*/ 447075 h 1181694"/>
                  <a:gd name="connsiteX27" fmla="*/ 1035244 w 1373970"/>
                  <a:gd name="connsiteY27" fmla="*/ 500970 h 1181694"/>
                  <a:gd name="connsiteX28" fmla="*/ 1039708 w 1373970"/>
                  <a:gd name="connsiteY28" fmla="*/ 539716 h 1181694"/>
                  <a:gd name="connsiteX29" fmla="*/ 1039708 w 1373970"/>
                  <a:gd name="connsiteY29" fmla="*/ 583269 h 1181694"/>
                  <a:gd name="connsiteX30" fmla="*/ 964351 w 1373970"/>
                  <a:gd name="connsiteY30" fmla="*/ 608323 h 1181694"/>
                  <a:gd name="connsiteX31" fmla="*/ 951137 w 1373970"/>
                  <a:gd name="connsiteY31" fmla="*/ 693682 h 1181694"/>
                  <a:gd name="connsiteX32" fmla="*/ 968816 w 1373970"/>
                  <a:gd name="connsiteY32" fmla="*/ 711453 h 1181694"/>
                  <a:gd name="connsiteX33" fmla="*/ 986494 w 1373970"/>
                  <a:gd name="connsiteY33" fmla="*/ 762726 h 1181694"/>
                  <a:gd name="connsiteX34" fmla="*/ 933280 w 1373970"/>
                  <a:gd name="connsiteY34" fmla="*/ 844589 h 1181694"/>
                  <a:gd name="connsiteX35" fmla="*/ 936673 w 1373970"/>
                  <a:gd name="connsiteY35" fmla="*/ 859446 h 1181694"/>
                  <a:gd name="connsiteX36" fmla="*/ 964351 w 1373970"/>
                  <a:gd name="connsiteY36" fmla="*/ 873138 h 1181694"/>
                  <a:gd name="connsiteX37" fmla="*/ 961316 w 1373970"/>
                  <a:gd name="connsiteY37" fmla="*/ 955001 h 1181694"/>
                  <a:gd name="connsiteX38" fmla="*/ 880245 w 1373970"/>
                  <a:gd name="connsiteY38" fmla="*/ 1020695 h 1181694"/>
                  <a:gd name="connsiteX39" fmla="*/ 802389 w 1373970"/>
                  <a:gd name="connsiteY39" fmla="*/ 1013412 h 1181694"/>
                  <a:gd name="connsiteX40" fmla="*/ 680961 w 1373970"/>
                  <a:gd name="connsiteY40" fmla="*/ 1005837 h 1181694"/>
                  <a:gd name="connsiteX41" fmla="*/ 635783 w 1373970"/>
                  <a:gd name="connsiteY41" fmla="*/ 1044584 h 1181694"/>
                  <a:gd name="connsiteX42" fmla="*/ 610426 w 1373970"/>
                  <a:gd name="connsiteY42" fmla="*/ 1031620 h 1181694"/>
                  <a:gd name="connsiteX43" fmla="*/ 480427 w 1373970"/>
                  <a:gd name="connsiteY43" fmla="*/ 1056674 h 1181694"/>
                  <a:gd name="connsiteX44" fmla="*/ 435752 w 1373970"/>
                  <a:gd name="connsiteY44" fmla="*/ 1118978 h 1181694"/>
                  <a:gd name="connsiteX45" fmla="*/ 426392 w 1373970"/>
                  <a:gd name="connsiteY45" fmla="*/ 1128043 h 1181694"/>
                  <a:gd name="connsiteX46" fmla="*/ 412105 w 1373970"/>
                  <a:gd name="connsiteY46" fmla="*/ 1130425 h 1181694"/>
                  <a:gd name="connsiteX47" fmla="*/ 400466 w 1373970"/>
                  <a:gd name="connsiteY47" fmla="*/ 1154409 h 1181694"/>
                  <a:gd name="connsiteX48" fmla="*/ 364451 w 1373970"/>
                  <a:gd name="connsiteY48" fmla="*/ 1171144 h 1181694"/>
                  <a:gd name="connsiteX49" fmla="*/ 360928 w 1373970"/>
                  <a:gd name="connsiteY49" fmla="*/ 1181694 h 1181694"/>
                  <a:gd name="connsiteX50" fmla="*/ 362410 w 1373970"/>
                  <a:gd name="connsiteY50" fmla="*/ 1171043 h 1181694"/>
                  <a:gd name="connsiteX51" fmla="*/ 319843 w 1373970"/>
                  <a:gd name="connsiteY51" fmla="*/ 1142402 h 1181694"/>
                  <a:gd name="connsiteX52" fmla="*/ 206104 w 1373970"/>
                  <a:gd name="connsiteY52" fmla="*/ 1096009 h 1181694"/>
                  <a:gd name="connsiteX53" fmla="*/ 89867 w 1373970"/>
                  <a:gd name="connsiteY53" fmla="*/ 1041567 h 1181694"/>
                  <a:gd name="connsiteX54" fmla="*/ 54338 w 1373970"/>
                  <a:gd name="connsiteY54" fmla="*/ 1041567 h 1181694"/>
                  <a:gd name="connsiteX55" fmla="*/ 43895 w 1373970"/>
                  <a:gd name="connsiteY55" fmla="*/ 1031271 h 1181694"/>
                  <a:gd name="connsiteX56" fmla="*/ 64441 w 1373970"/>
                  <a:gd name="connsiteY56" fmla="*/ 998132 h 1181694"/>
                  <a:gd name="connsiteX57" fmla="*/ 46846 w 1373970"/>
                  <a:gd name="connsiteY57" fmla="*/ 983220 h 1181694"/>
                  <a:gd name="connsiteX58" fmla="*/ 19149 w 1373970"/>
                  <a:gd name="connsiteY58" fmla="*/ 983220 h 1181694"/>
                  <a:gd name="connsiteX59" fmla="*/ 6890 w 1373970"/>
                  <a:gd name="connsiteY59" fmla="*/ 938128 h 1181694"/>
                  <a:gd name="connsiteX60" fmla="*/ 0 w 1373970"/>
                  <a:gd name="connsiteY60" fmla="*/ 937579 h 1181694"/>
                  <a:gd name="connsiteX61" fmla="*/ 776 w 1373970"/>
                  <a:gd name="connsiteY61" fmla="*/ 912545 h 1181694"/>
                  <a:gd name="connsiteX62" fmla="*/ 8244 w 1373970"/>
                  <a:gd name="connsiteY62" fmla="*/ 798410 h 1181694"/>
                  <a:gd name="connsiteX63" fmla="*/ 69654 w 1373970"/>
                  <a:gd name="connsiteY63" fmla="*/ 746620 h 1181694"/>
                  <a:gd name="connsiteX64" fmla="*/ 130510 w 1373970"/>
                  <a:gd name="connsiteY64" fmla="*/ 650282 h 1181694"/>
                  <a:gd name="connsiteX65" fmla="*/ 176797 w 1373970"/>
                  <a:gd name="connsiteY65" fmla="*/ 594146 h 1181694"/>
                  <a:gd name="connsiteX66" fmla="*/ 253697 w 1373970"/>
                  <a:gd name="connsiteY66" fmla="*/ 557929 h 1181694"/>
                  <a:gd name="connsiteX67" fmla="*/ 281912 w 1373970"/>
                  <a:gd name="connsiteY67" fmla="*/ 458332 h 1181694"/>
                  <a:gd name="connsiteX68" fmla="*/ 333179 w 1373970"/>
                  <a:gd name="connsiteY68" fmla="*/ 428634 h 1181694"/>
                  <a:gd name="connsiteX69" fmla="*/ 386843 w 1373970"/>
                  <a:gd name="connsiteY69" fmla="*/ 402557 h 1181694"/>
                  <a:gd name="connsiteX70" fmla="*/ 389240 w 1373970"/>
                  <a:gd name="connsiteY70" fmla="*/ 323423 h 1181694"/>
                  <a:gd name="connsiteX71" fmla="*/ 455813 w 1373970"/>
                  <a:gd name="connsiteY71" fmla="*/ 139259 h 1181694"/>
                  <a:gd name="connsiteX72" fmla="*/ 465034 w 1373970"/>
                  <a:gd name="connsiteY72" fmla="*/ 57409 h 1181694"/>
                  <a:gd name="connsiteX73" fmla="*/ 448153 w 1373970"/>
                  <a:gd name="connsiteY73" fmla="*/ 0 h 1181694"/>
                  <a:gd name="connsiteX0" fmla="*/ 448153 w 1373970"/>
                  <a:gd name="connsiteY0" fmla="*/ 0 h 1181694"/>
                  <a:gd name="connsiteX1" fmla="*/ 539058 w 1373970"/>
                  <a:gd name="connsiteY1" fmla="*/ 3666 h 1181694"/>
                  <a:gd name="connsiteX2" fmla="*/ 613633 w 1373970"/>
                  <a:gd name="connsiteY2" fmla="*/ 130534 h 1181694"/>
                  <a:gd name="connsiteX3" fmla="*/ 656324 w 1373970"/>
                  <a:gd name="connsiteY3" fmla="*/ 75672 h 1181694"/>
                  <a:gd name="connsiteX4" fmla="*/ 757919 w 1373970"/>
                  <a:gd name="connsiteY4" fmla="*/ 97103 h 1181694"/>
                  <a:gd name="connsiteX5" fmla="*/ 784398 w 1373970"/>
                  <a:gd name="connsiteY5" fmla="*/ 147250 h 1181694"/>
                  <a:gd name="connsiteX6" fmla="*/ 853569 w 1373970"/>
                  <a:gd name="connsiteY6" fmla="*/ 113819 h 1181694"/>
                  <a:gd name="connsiteX7" fmla="*/ 976239 w 1373970"/>
                  <a:gd name="connsiteY7" fmla="*/ 130534 h 1181694"/>
                  <a:gd name="connsiteX8" fmla="*/ 970835 w 1373970"/>
                  <a:gd name="connsiteY8" fmla="*/ 92817 h 1181694"/>
                  <a:gd name="connsiteX9" fmla="*/ 1002178 w 1373970"/>
                  <a:gd name="connsiteY9" fmla="*/ 92817 h 1181694"/>
                  <a:gd name="connsiteX10" fmla="*/ 1050813 w 1373970"/>
                  <a:gd name="connsiteY10" fmla="*/ 143393 h 1181694"/>
                  <a:gd name="connsiteX11" fmla="*/ 1247517 w 1373970"/>
                  <a:gd name="connsiteY11" fmla="*/ 160109 h 1181694"/>
                  <a:gd name="connsiteX12" fmla="*/ 1279401 w 1373970"/>
                  <a:gd name="connsiteY12" fmla="*/ 113819 h 1181694"/>
                  <a:gd name="connsiteX13" fmla="*/ 1344789 w 1373970"/>
                  <a:gd name="connsiteY13" fmla="*/ 119391 h 1181694"/>
                  <a:gd name="connsiteX14" fmla="*/ 1369647 w 1373970"/>
                  <a:gd name="connsiteY14" fmla="*/ 148536 h 1181694"/>
                  <a:gd name="connsiteX15" fmla="*/ 1359379 w 1373970"/>
                  <a:gd name="connsiteY15" fmla="*/ 160109 h 1181694"/>
                  <a:gd name="connsiteX16" fmla="*/ 1373970 w 1373970"/>
                  <a:gd name="connsiteY16" fmla="*/ 220971 h 1181694"/>
                  <a:gd name="connsiteX17" fmla="*/ 1333440 w 1373970"/>
                  <a:gd name="connsiteY17" fmla="*/ 253117 h 1181694"/>
                  <a:gd name="connsiteX18" fmla="*/ 1160100 w 1373970"/>
                  <a:gd name="connsiteY18" fmla="*/ 281722 h 1181694"/>
                  <a:gd name="connsiteX19" fmla="*/ 1211030 w 1373970"/>
                  <a:gd name="connsiteY19" fmla="*/ 351326 h 1181694"/>
                  <a:gd name="connsiteX20" fmla="*/ 1176671 w 1373970"/>
                  <a:gd name="connsiteY20" fmla="*/ 475625 h 1181694"/>
                  <a:gd name="connsiteX21" fmla="*/ 1181135 w 1373970"/>
                  <a:gd name="connsiteY21" fmla="*/ 429304 h 1181694"/>
                  <a:gd name="connsiteX22" fmla="*/ 1141314 w 1373970"/>
                  <a:gd name="connsiteY22" fmla="*/ 429304 h 1181694"/>
                  <a:gd name="connsiteX23" fmla="*/ 1120421 w 1373970"/>
                  <a:gd name="connsiteY23" fmla="*/ 396238 h 1181694"/>
                  <a:gd name="connsiteX24" fmla="*/ 1095779 w 1373970"/>
                  <a:gd name="connsiteY24" fmla="*/ 396238 h 1181694"/>
                  <a:gd name="connsiteX25" fmla="*/ 1092743 w 1373970"/>
                  <a:gd name="connsiteY25" fmla="*/ 434985 h 1181694"/>
                  <a:gd name="connsiteX26" fmla="*/ 1046672 w 1373970"/>
                  <a:gd name="connsiteY26" fmla="*/ 447075 h 1181694"/>
                  <a:gd name="connsiteX27" fmla="*/ 1035244 w 1373970"/>
                  <a:gd name="connsiteY27" fmla="*/ 500970 h 1181694"/>
                  <a:gd name="connsiteX28" fmla="*/ 1039708 w 1373970"/>
                  <a:gd name="connsiteY28" fmla="*/ 539716 h 1181694"/>
                  <a:gd name="connsiteX29" fmla="*/ 1039708 w 1373970"/>
                  <a:gd name="connsiteY29" fmla="*/ 583269 h 1181694"/>
                  <a:gd name="connsiteX30" fmla="*/ 964351 w 1373970"/>
                  <a:gd name="connsiteY30" fmla="*/ 608323 h 1181694"/>
                  <a:gd name="connsiteX31" fmla="*/ 951137 w 1373970"/>
                  <a:gd name="connsiteY31" fmla="*/ 693682 h 1181694"/>
                  <a:gd name="connsiteX32" fmla="*/ 968816 w 1373970"/>
                  <a:gd name="connsiteY32" fmla="*/ 711453 h 1181694"/>
                  <a:gd name="connsiteX33" fmla="*/ 986494 w 1373970"/>
                  <a:gd name="connsiteY33" fmla="*/ 762726 h 1181694"/>
                  <a:gd name="connsiteX34" fmla="*/ 933280 w 1373970"/>
                  <a:gd name="connsiteY34" fmla="*/ 844589 h 1181694"/>
                  <a:gd name="connsiteX35" fmla="*/ 936673 w 1373970"/>
                  <a:gd name="connsiteY35" fmla="*/ 859446 h 1181694"/>
                  <a:gd name="connsiteX36" fmla="*/ 964351 w 1373970"/>
                  <a:gd name="connsiteY36" fmla="*/ 873138 h 1181694"/>
                  <a:gd name="connsiteX37" fmla="*/ 961316 w 1373970"/>
                  <a:gd name="connsiteY37" fmla="*/ 955001 h 1181694"/>
                  <a:gd name="connsiteX38" fmla="*/ 880245 w 1373970"/>
                  <a:gd name="connsiteY38" fmla="*/ 1020695 h 1181694"/>
                  <a:gd name="connsiteX39" fmla="*/ 802389 w 1373970"/>
                  <a:gd name="connsiteY39" fmla="*/ 1013412 h 1181694"/>
                  <a:gd name="connsiteX40" fmla="*/ 680961 w 1373970"/>
                  <a:gd name="connsiteY40" fmla="*/ 1005837 h 1181694"/>
                  <a:gd name="connsiteX41" fmla="*/ 635783 w 1373970"/>
                  <a:gd name="connsiteY41" fmla="*/ 1044584 h 1181694"/>
                  <a:gd name="connsiteX42" fmla="*/ 610426 w 1373970"/>
                  <a:gd name="connsiteY42" fmla="*/ 1031620 h 1181694"/>
                  <a:gd name="connsiteX43" fmla="*/ 480427 w 1373970"/>
                  <a:gd name="connsiteY43" fmla="*/ 1056674 h 1181694"/>
                  <a:gd name="connsiteX44" fmla="*/ 435752 w 1373970"/>
                  <a:gd name="connsiteY44" fmla="*/ 1118978 h 1181694"/>
                  <a:gd name="connsiteX45" fmla="*/ 426392 w 1373970"/>
                  <a:gd name="connsiteY45" fmla="*/ 1128043 h 1181694"/>
                  <a:gd name="connsiteX46" fmla="*/ 412105 w 1373970"/>
                  <a:gd name="connsiteY46" fmla="*/ 1130425 h 1181694"/>
                  <a:gd name="connsiteX47" fmla="*/ 400466 w 1373970"/>
                  <a:gd name="connsiteY47" fmla="*/ 1154409 h 1181694"/>
                  <a:gd name="connsiteX48" fmla="*/ 364451 w 1373970"/>
                  <a:gd name="connsiteY48" fmla="*/ 1171144 h 1181694"/>
                  <a:gd name="connsiteX49" fmla="*/ 360928 w 1373970"/>
                  <a:gd name="connsiteY49" fmla="*/ 1181694 h 1181694"/>
                  <a:gd name="connsiteX50" fmla="*/ 362410 w 1373970"/>
                  <a:gd name="connsiteY50" fmla="*/ 1171043 h 1181694"/>
                  <a:gd name="connsiteX51" fmla="*/ 319843 w 1373970"/>
                  <a:gd name="connsiteY51" fmla="*/ 1142402 h 1181694"/>
                  <a:gd name="connsiteX52" fmla="*/ 206104 w 1373970"/>
                  <a:gd name="connsiteY52" fmla="*/ 1096009 h 1181694"/>
                  <a:gd name="connsiteX53" fmla="*/ 89867 w 1373970"/>
                  <a:gd name="connsiteY53" fmla="*/ 1041567 h 1181694"/>
                  <a:gd name="connsiteX54" fmla="*/ 54338 w 1373970"/>
                  <a:gd name="connsiteY54" fmla="*/ 1041567 h 1181694"/>
                  <a:gd name="connsiteX55" fmla="*/ 43895 w 1373970"/>
                  <a:gd name="connsiteY55" fmla="*/ 1031271 h 1181694"/>
                  <a:gd name="connsiteX56" fmla="*/ 64441 w 1373970"/>
                  <a:gd name="connsiteY56" fmla="*/ 998132 h 1181694"/>
                  <a:gd name="connsiteX57" fmla="*/ 46846 w 1373970"/>
                  <a:gd name="connsiteY57" fmla="*/ 983220 h 1181694"/>
                  <a:gd name="connsiteX58" fmla="*/ 19149 w 1373970"/>
                  <a:gd name="connsiteY58" fmla="*/ 983220 h 1181694"/>
                  <a:gd name="connsiteX59" fmla="*/ 6890 w 1373970"/>
                  <a:gd name="connsiteY59" fmla="*/ 938128 h 1181694"/>
                  <a:gd name="connsiteX60" fmla="*/ 0 w 1373970"/>
                  <a:gd name="connsiteY60" fmla="*/ 937579 h 1181694"/>
                  <a:gd name="connsiteX61" fmla="*/ 776 w 1373970"/>
                  <a:gd name="connsiteY61" fmla="*/ 912545 h 1181694"/>
                  <a:gd name="connsiteX62" fmla="*/ 8244 w 1373970"/>
                  <a:gd name="connsiteY62" fmla="*/ 798410 h 1181694"/>
                  <a:gd name="connsiteX63" fmla="*/ 69654 w 1373970"/>
                  <a:gd name="connsiteY63" fmla="*/ 746620 h 1181694"/>
                  <a:gd name="connsiteX64" fmla="*/ 130510 w 1373970"/>
                  <a:gd name="connsiteY64" fmla="*/ 650282 h 1181694"/>
                  <a:gd name="connsiteX65" fmla="*/ 176797 w 1373970"/>
                  <a:gd name="connsiteY65" fmla="*/ 594146 h 1181694"/>
                  <a:gd name="connsiteX66" fmla="*/ 253697 w 1373970"/>
                  <a:gd name="connsiteY66" fmla="*/ 557929 h 1181694"/>
                  <a:gd name="connsiteX67" fmla="*/ 281912 w 1373970"/>
                  <a:gd name="connsiteY67" fmla="*/ 458332 h 1181694"/>
                  <a:gd name="connsiteX68" fmla="*/ 333179 w 1373970"/>
                  <a:gd name="connsiteY68" fmla="*/ 428634 h 1181694"/>
                  <a:gd name="connsiteX69" fmla="*/ 386843 w 1373970"/>
                  <a:gd name="connsiteY69" fmla="*/ 402557 h 1181694"/>
                  <a:gd name="connsiteX70" fmla="*/ 389240 w 1373970"/>
                  <a:gd name="connsiteY70" fmla="*/ 323423 h 1181694"/>
                  <a:gd name="connsiteX71" fmla="*/ 455813 w 1373970"/>
                  <a:gd name="connsiteY71" fmla="*/ 139259 h 1181694"/>
                  <a:gd name="connsiteX72" fmla="*/ 465034 w 1373970"/>
                  <a:gd name="connsiteY72" fmla="*/ 57409 h 1181694"/>
                  <a:gd name="connsiteX73" fmla="*/ 448153 w 1373970"/>
                  <a:gd name="connsiteY73" fmla="*/ 0 h 1181694"/>
                  <a:gd name="connsiteX0" fmla="*/ 448153 w 1373970"/>
                  <a:gd name="connsiteY0" fmla="*/ 0 h 1181694"/>
                  <a:gd name="connsiteX1" fmla="*/ 539058 w 1373970"/>
                  <a:gd name="connsiteY1" fmla="*/ 3666 h 1181694"/>
                  <a:gd name="connsiteX2" fmla="*/ 613633 w 1373970"/>
                  <a:gd name="connsiteY2" fmla="*/ 130534 h 1181694"/>
                  <a:gd name="connsiteX3" fmla="*/ 656324 w 1373970"/>
                  <a:gd name="connsiteY3" fmla="*/ 75672 h 1181694"/>
                  <a:gd name="connsiteX4" fmla="*/ 757919 w 1373970"/>
                  <a:gd name="connsiteY4" fmla="*/ 97103 h 1181694"/>
                  <a:gd name="connsiteX5" fmla="*/ 784398 w 1373970"/>
                  <a:gd name="connsiteY5" fmla="*/ 147250 h 1181694"/>
                  <a:gd name="connsiteX6" fmla="*/ 853569 w 1373970"/>
                  <a:gd name="connsiteY6" fmla="*/ 113819 h 1181694"/>
                  <a:gd name="connsiteX7" fmla="*/ 976239 w 1373970"/>
                  <a:gd name="connsiteY7" fmla="*/ 130534 h 1181694"/>
                  <a:gd name="connsiteX8" fmla="*/ 970835 w 1373970"/>
                  <a:gd name="connsiteY8" fmla="*/ 92817 h 1181694"/>
                  <a:gd name="connsiteX9" fmla="*/ 1002178 w 1373970"/>
                  <a:gd name="connsiteY9" fmla="*/ 92817 h 1181694"/>
                  <a:gd name="connsiteX10" fmla="*/ 1050813 w 1373970"/>
                  <a:gd name="connsiteY10" fmla="*/ 143393 h 1181694"/>
                  <a:gd name="connsiteX11" fmla="*/ 1247517 w 1373970"/>
                  <a:gd name="connsiteY11" fmla="*/ 160109 h 1181694"/>
                  <a:gd name="connsiteX12" fmla="*/ 1279401 w 1373970"/>
                  <a:gd name="connsiteY12" fmla="*/ 113819 h 1181694"/>
                  <a:gd name="connsiteX13" fmla="*/ 1344789 w 1373970"/>
                  <a:gd name="connsiteY13" fmla="*/ 119391 h 1181694"/>
                  <a:gd name="connsiteX14" fmla="*/ 1369647 w 1373970"/>
                  <a:gd name="connsiteY14" fmla="*/ 148536 h 1181694"/>
                  <a:gd name="connsiteX15" fmla="*/ 1359379 w 1373970"/>
                  <a:gd name="connsiteY15" fmla="*/ 160109 h 1181694"/>
                  <a:gd name="connsiteX16" fmla="*/ 1373970 w 1373970"/>
                  <a:gd name="connsiteY16" fmla="*/ 220971 h 1181694"/>
                  <a:gd name="connsiteX17" fmla="*/ 1161990 w 1373970"/>
                  <a:gd name="connsiteY17" fmla="*/ 164217 h 1181694"/>
                  <a:gd name="connsiteX18" fmla="*/ 1160100 w 1373970"/>
                  <a:gd name="connsiteY18" fmla="*/ 281722 h 1181694"/>
                  <a:gd name="connsiteX19" fmla="*/ 1211030 w 1373970"/>
                  <a:gd name="connsiteY19" fmla="*/ 351326 h 1181694"/>
                  <a:gd name="connsiteX20" fmla="*/ 1176671 w 1373970"/>
                  <a:gd name="connsiteY20" fmla="*/ 475625 h 1181694"/>
                  <a:gd name="connsiteX21" fmla="*/ 1181135 w 1373970"/>
                  <a:gd name="connsiteY21" fmla="*/ 429304 h 1181694"/>
                  <a:gd name="connsiteX22" fmla="*/ 1141314 w 1373970"/>
                  <a:gd name="connsiteY22" fmla="*/ 429304 h 1181694"/>
                  <a:gd name="connsiteX23" fmla="*/ 1120421 w 1373970"/>
                  <a:gd name="connsiteY23" fmla="*/ 396238 h 1181694"/>
                  <a:gd name="connsiteX24" fmla="*/ 1095779 w 1373970"/>
                  <a:gd name="connsiteY24" fmla="*/ 396238 h 1181694"/>
                  <a:gd name="connsiteX25" fmla="*/ 1092743 w 1373970"/>
                  <a:gd name="connsiteY25" fmla="*/ 434985 h 1181694"/>
                  <a:gd name="connsiteX26" fmla="*/ 1046672 w 1373970"/>
                  <a:gd name="connsiteY26" fmla="*/ 447075 h 1181694"/>
                  <a:gd name="connsiteX27" fmla="*/ 1035244 w 1373970"/>
                  <a:gd name="connsiteY27" fmla="*/ 500970 h 1181694"/>
                  <a:gd name="connsiteX28" fmla="*/ 1039708 w 1373970"/>
                  <a:gd name="connsiteY28" fmla="*/ 539716 h 1181694"/>
                  <a:gd name="connsiteX29" fmla="*/ 1039708 w 1373970"/>
                  <a:gd name="connsiteY29" fmla="*/ 583269 h 1181694"/>
                  <a:gd name="connsiteX30" fmla="*/ 964351 w 1373970"/>
                  <a:gd name="connsiteY30" fmla="*/ 608323 h 1181694"/>
                  <a:gd name="connsiteX31" fmla="*/ 951137 w 1373970"/>
                  <a:gd name="connsiteY31" fmla="*/ 693682 h 1181694"/>
                  <a:gd name="connsiteX32" fmla="*/ 968816 w 1373970"/>
                  <a:gd name="connsiteY32" fmla="*/ 711453 h 1181694"/>
                  <a:gd name="connsiteX33" fmla="*/ 986494 w 1373970"/>
                  <a:gd name="connsiteY33" fmla="*/ 762726 h 1181694"/>
                  <a:gd name="connsiteX34" fmla="*/ 933280 w 1373970"/>
                  <a:gd name="connsiteY34" fmla="*/ 844589 h 1181694"/>
                  <a:gd name="connsiteX35" fmla="*/ 936673 w 1373970"/>
                  <a:gd name="connsiteY35" fmla="*/ 859446 h 1181694"/>
                  <a:gd name="connsiteX36" fmla="*/ 964351 w 1373970"/>
                  <a:gd name="connsiteY36" fmla="*/ 873138 h 1181694"/>
                  <a:gd name="connsiteX37" fmla="*/ 961316 w 1373970"/>
                  <a:gd name="connsiteY37" fmla="*/ 955001 h 1181694"/>
                  <a:gd name="connsiteX38" fmla="*/ 880245 w 1373970"/>
                  <a:gd name="connsiteY38" fmla="*/ 1020695 h 1181694"/>
                  <a:gd name="connsiteX39" fmla="*/ 802389 w 1373970"/>
                  <a:gd name="connsiteY39" fmla="*/ 1013412 h 1181694"/>
                  <a:gd name="connsiteX40" fmla="*/ 680961 w 1373970"/>
                  <a:gd name="connsiteY40" fmla="*/ 1005837 h 1181694"/>
                  <a:gd name="connsiteX41" fmla="*/ 635783 w 1373970"/>
                  <a:gd name="connsiteY41" fmla="*/ 1044584 h 1181694"/>
                  <a:gd name="connsiteX42" fmla="*/ 610426 w 1373970"/>
                  <a:gd name="connsiteY42" fmla="*/ 1031620 h 1181694"/>
                  <a:gd name="connsiteX43" fmla="*/ 480427 w 1373970"/>
                  <a:gd name="connsiteY43" fmla="*/ 1056674 h 1181694"/>
                  <a:gd name="connsiteX44" fmla="*/ 435752 w 1373970"/>
                  <a:gd name="connsiteY44" fmla="*/ 1118978 h 1181694"/>
                  <a:gd name="connsiteX45" fmla="*/ 426392 w 1373970"/>
                  <a:gd name="connsiteY45" fmla="*/ 1128043 h 1181694"/>
                  <a:gd name="connsiteX46" fmla="*/ 412105 w 1373970"/>
                  <a:gd name="connsiteY46" fmla="*/ 1130425 h 1181694"/>
                  <a:gd name="connsiteX47" fmla="*/ 400466 w 1373970"/>
                  <a:gd name="connsiteY47" fmla="*/ 1154409 h 1181694"/>
                  <a:gd name="connsiteX48" fmla="*/ 364451 w 1373970"/>
                  <a:gd name="connsiteY48" fmla="*/ 1171144 h 1181694"/>
                  <a:gd name="connsiteX49" fmla="*/ 360928 w 1373970"/>
                  <a:gd name="connsiteY49" fmla="*/ 1181694 h 1181694"/>
                  <a:gd name="connsiteX50" fmla="*/ 362410 w 1373970"/>
                  <a:gd name="connsiteY50" fmla="*/ 1171043 h 1181694"/>
                  <a:gd name="connsiteX51" fmla="*/ 319843 w 1373970"/>
                  <a:gd name="connsiteY51" fmla="*/ 1142402 h 1181694"/>
                  <a:gd name="connsiteX52" fmla="*/ 206104 w 1373970"/>
                  <a:gd name="connsiteY52" fmla="*/ 1096009 h 1181694"/>
                  <a:gd name="connsiteX53" fmla="*/ 89867 w 1373970"/>
                  <a:gd name="connsiteY53" fmla="*/ 1041567 h 1181694"/>
                  <a:gd name="connsiteX54" fmla="*/ 54338 w 1373970"/>
                  <a:gd name="connsiteY54" fmla="*/ 1041567 h 1181694"/>
                  <a:gd name="connsiteX55" fmla="*/ 43895 w 1373970"/>
                  <a:gd name="connsiteY55" fmla="*/ 1031271 h 1181694"/>
                  <a:gd name="connsiteX56" fmla="*/ 64441 w 1373970"/>
                  <a:gd name="connsiteY56" fmla="*/ 998132 h 1181694"/>
                  <a:gd name="connsiteX57" fmla="*/ 46846 w 1373970"/>
                  <a:gd name="connsiteY57" fmla="*/ 983220 h 1181694"/>
                  <a:gd name="connsiteX58" fmla="*/ 19149 w 1373970"/>
                  <a:gd name="connsiteY58" fmla="*/ 983220 h 1181694"/>
                  <a:gd name="connsiteX59" fmla="*/ 6890 w 1373970"/>
                  <a:gd name="connsiteY59" fmla="*/ 938128 h 1181694"/>
                  <a:gd name="connsiteX60" fmla="*/ 0 w 1373970"/>
                  <a:gd name="connsiteY60" fmla="*/ 937579 h 1181694"/>
                  <a:gd name="connsiteX61" fmla="*/ 776 w 1373970"/>
                  <a:gd name="connsiteY61" fmla="*/ 912545 h 1181694"/>
                  <a:gd name="connsiteX62" fmla="*/ 8244 w 1373970"/>
                  <a:gd name="connsiteY62" fmla="*/ 798410 h 1181694"/>
                  <a:gd name="connsiteX63" fmla="*/ 69654 w 1373970"/>
                  <a:gd name="connsiteY63" fmla="*/ 746620 h 1181694"/>
                  <a:gd name="connsiteX64" fmla="*/ 130510 w 1373970"/>
                  <a:gd name="connsiteY64" fmla="*/ 650282 h 1181694"/>
                  <a:gd name="connsiteX65" fmla="*/ 176797 w 1373970"/>
                  <a:gd name="connsiteY65" fmla="*/ 594146 h 1181694"/>
                  <a:gd name="connsiteX66" fmla="*/ 253697 w 1373970"/>
                  <a:gd name="connsiteY66" fmla="*/ 557929 h 1181694"/>
                  <a:gd name="connsiteX67" fmla="*/ 281912 w 1373970"/>
                  <a:gd name="connsiteY67" fmla="*/ 458332 h 1181694"/>
                  <a:gd name="connsiteX68" fmla="*/ 333179 w 1373970"/>
                  <a:gd name="connsiteY68" fmla="*/ 428634 h 1181694"/>
                  <a:gd name="connsiteX69" fmla="*/ 386843 w 1373970"/>
                  <a:gd name="connsiteY69" fmla="*/ 402557 h 1181694"/>
                  <a:gd name="connsiteX70" fmla="*/ 389240 w 1373970"/>
                  <a:gd name="connsiteY70" fmla="*/ 323423 h 1181694"/>
                  <a:gd name="connsiteX71" fmla="*/ 455813 w 1373970"/>
                  <a:gd name="connsiteY71" fmla="*/ 139259 h 1181694"/>
                  <a:gd name="connsiteX72" fmla="*/ 465034 w 1373970"/>
                  <a:gd name="connsiteY72" fmla="*/ 57409 h 1181694"/>
                  <a:gd name="connsiteX73" fmla="*/ 448153 w 1373970"/>
                  <a:gd name="connsiteY73" fmla="*/ 0 h 1181694"/>
                  <a:gd name="connsiteX0" fmla="*/ 448153 w 1369647"/>
                  <a:gd name="connsiteY0" fmla="*/ 0 h 1181694"/>
                  <a:gd name="connsiteX1" fmla="*/ 539058 w 1369647"/>
                  <a:gd name="connsiteY1" fmla="*/ 3666 h 1181694"/>
                  <a:gd name="connsiteX2" fmla="*/ 613633 w 1369647"/>
                  <a:gd name="connsiteY2" fmla="*/ 130534 h 1181694"/>
                  <a:gd name="connsiteX3" fmla="*/ 656324 w 1369647"/>
                  <a:gd name="connsiteY3" fmla="*/ 75672 h 1181694"/>
                  <a:gd name="connsiteX4" fmla="*/ 757919 w 1369647"/>
                  <a:gd name="connsiteY4" fmla="*/ 97103 h 1181694"/>
                  <a:gd name="connsiteX5" fmla="*/ 784398 w 1369647"/>
                  <a:gd name="connsiteY5" fmla="*/ 147250 h 1181694"/>
                  <a:gd name="connsiteX6" fmla="*/ 853569 w 1369647"/>
                  <a:gd name="connsiteY6" fmla="*/ 113819 h 1181694"/>
                  <a:gd name="connsiteX7" fmla="*/ 976239 w 1369647"/>
                  <a:gd name="connsiteY7" fmla="*/ 130534 h 1181694"/>
                  <a:gd name="connsiteX8" fmla="*/ 970835 w 1369647"/>
                  <a:gd name="connsiteY8" fmla="*/ 92817 h 1181694"/>
                  <a:gd name="connsiteX9" fmla="*/ 1002178 w 1369647"/>
                  <a:gd name="connsiteY9" fmla="*/ 92817 h 1181694"/>
                  <a:gd name="connsiteX10" fmla="*/ 1050813 w 1369647"/>
                  <a:gd name="connsiteY10" fmla="*/ 143393 h 1181694"/>
                  <a:gd name="connsiteX11" fmla="*/ 1247517 w 1369647"/>
                  <a:gd name="connsiteY11" fmla="*/ 160109 h 1181694"/>
                  <a:gd name="connsiteX12" fmla="*/ 1279401 w 1369647"/>
                  <a:gd name="connsiteY12" fmla="*/ 113819 h 1181694"/>
                  <a:gd name="connsiteX13" fmla="*/ 1344789 w 1369647"/>
                  <a:gd name="connsiteY13" fmla="*/ 119391 h 1181694"/>
                  <a:gd name="connsiteX14" fmla="*/ 1369647 w 1369647"/>
                  <a:gd name="connsiteY14" fmla="*/ 148536 h 1181694"/>
                  <a:gd name="connsiteX15" fmla="*/ 1359379 w 1369647"/>
                  <a:gd name="connsiteY15" fmla="*/ 160109 h 1181694"/>
                  <a:gd name="connsiteX16" fmla="*/ 1161990 w 1369647"/>
                  <a:gd name="connsiteY16" fmla="*/ 164217 h 1181694"/>
                  <a:gd name="connsiteX17" fmla="*/ 1160100 w 1369647"/>
                  <a:gd name="connsiteY17" fmla="*/ 281722 h 1181694"/>
                  <a:gd name="connsiteX18" fmla="*/ 1211030 w 1369647"/>
                  <a:gd name="connsiteY18" fmla="*/ 351326 h 1181694"/>
                  <a:gd name="connsiteX19" fmla="*/ 1176671 w 1369647"/>
                  <a:gd name="connsiteY19" fmla="*/ 475625 h 1181694"/>
                  <a:gd name="connsiteX20" fmla="*/ 1181135 w 1369647"/>
                  <a:gd name="connsiteY20" fmla="*/ 429304 h 1181694"/>
                  <a:gd name="connsiteX21" fmla="*/ 1141314 w 1369647"/>
                  <a:gd name="connsiteY21" fmla="*/ 429304 h 1181694"/>
                  <a:gd name="connsiteX22" fmla="*/ 1120421 w 1369647"/>
                  <a:gd name="connsiteY22" fmla="*/ 396238 h 1181694"/>
                  <a:gd name="connsiteX23" fmla="*/ 1095779 w 1369647"/>
                  <a:gd name="connsiteY23" fmla="*/ 396238 h 1181694"/>
                  <a:gd name="connsiteX24" fmla="*/ 1092743 w 1369647"/>
                  <a:gd name="connsiteY24" fmla="*/ 434985 h 1181694"/>
                  <a:gd name="connsiteX25" fmla="*/ 1046672 w 1369647"/>
                  <a:gd name="connsiteY25" fmla="*/ 447075 h 1181694"/>
                  <a:gd name="connsiteX26" fmla="*/ 1035244 w 1369647"/>
                  <a:gd name="connsiteY26" fmla="*/ 500970 h 1181694"/>
                  <a:gd name="connsiteX27" fmla="*/ 1039708 w 1369647"/>
                  <a:gd name="connsiteY27" fmla="*/ 539716 h 1181694"/>
                  <a:gd name="connsiteX28" fmla="*/ 1039708 w 1369647"/>
                  <a:gd name="connsiteY28" fmla="*/ 583269 h 1181694"/>
                  <a:gd name="connsiteX29" fmla="*/ 964351 w 1369647"/>
                  <a:gd name="connsiteY29" fmla="*/ 608323 h 1181694"/>
                  <a:gd name="connsiteX30" fmla="*/ 951137 w 1369647"/>
                  <a:gd name="connsiteY30" fmla="*/ 693682 h 1181694"/>
                  <a:gd name="connsiteX31" fmla="*/ 968816 w 1369647"/>
                  <a:gd name="connsiteY31" fmla="*/ 711453 h 1181694"/>
                  <a:gd name="connsiteX32" fmla="*/ 986494 w 1369647"/>
                  <a:gd name="connsiteY32" fmla="*/ 762726 h 1181694"/>
                  <a:gd name="connsiteX33" fmla="*/ 933280 w 1369647"/>
                  <a:gd name="connsiteY33" fmla="*/ 844589 h 1181694"/>
                  <a:gd name="connsiteX34" fmla="*/ 936673 w 1369647"/>
                  <a:gd name="connsiteY34" fmla="*/ 859446 h 1181694"/>
                  <a:gd name="connsiteX35" fmla="*/ 964351 w 1369647"/>
                  <a:gd name="connsiteY35" fmla="*/ 873138 h 1181694"/>
                  <a:gd name="connsiteX36" fmla="*/ 961316 w 1369647"/>
                  <a:gd name="connsiteY36" fmla="*/ 955001 h 1181694"/>
                  <a:gd name="connsiteX37" fmla="*/ 880245 w 1369647"/>
                  <a:gd name="connsiteY37" fmla="*/ 1020695 h 1181694"/>
                  <a:gd name="connsiteX38" fmla="*/ 802389 w 1369647"/>
                  <a:gd name="connsiteY38" fmla="*/ 1013412 h 1181694"/>
                  <a:gd name="connsiteX39" fmla="*/ 680961 w 1369647"/>
                  <a:gd name="connsiteY39" fmla="*/ 1005837 h 1181694"/>
                  <a:gd name="connsiteX40" fmla="*/ 635783 w 1369647"/>
                  <a:gd name="connsiteY40" fmla="*/ 1044584 h 1181694"/>
                  <a:gd name="connsiteX41" fmla="*/ 610426 w 1369647"/>
                  <a:gd name="connsiteY41" fmla="*/ 1031620 h 1181694"/>
                  <a:gd name="connsiteX42" fmla="*/ 480427 w 1369647"/>
                  <a:gd name="connsiteY42" fmla="*/ 1056674 h 1181694"/>
                  <a:gd name="connsiteX43" fmla="*/ 435752 w 1369647"/>
                  <a:gd name="connsiteY43" fmla="*/ 1118978 h 1181694"/>
                  <a:gd name="connsiteX44" fmla="*/ 426392 w 1369647"/>
                  <a:gd name="connsiteY44" fmla="*/ 1128043 h 1181694"/>
                  <a:gd name="connsiteX45" fmla="*/ 412105 w 1369647"/>
                  <a:gd name="connsiteY45" fmla="*/ 1130425 h 1181694"/>
                  <a:gd name="connsiteX46" fmla="*/ 400466 w 1369647"/>
                  <a:gd name="connsiteY46" fmla="*/ 1154409 h 1181694"/>
                  <a:gd name="connsiteX47" fmla="*/ 364451 w 1369647"/>
                  <a:gd name="connsiteY47" fmla="*/ 1171144 h 1181694"/>
                  <a:gd name="connsiteX48" fmla="*/ 360928 w 1369647"/>
                  <a:gd name="connsiteY48" fmla="*/ 1181694 h 1181694"/>
                  <a:gd name="connsiteX49" fmla="*/ 362410 w 1369647"/>
                  <a:gd name="connsiteY49" fmla="*/ 1171043 h 1181694"/>
                  <a:gd name="connsiteX50" fmla="*/ 319843 w 1369647"/>
                  <a:gd name="connsiteY50" fmla="*/ 1142402 h 1181694"/>
                  <a:gd name="connsiteX51" fmla="*/ 206104 w 1369647"/>
                  <a:gd name="connsiteY51" fmla="*/ 1096009 h 1181694"/>
                  <a:gd name="connsiteX52" fmla="*/ 89867 w 1369647"/>
                  <a:gd name="connsiteY52" fmla="*/ 1041567 h 1181694"/>
                  <a:gd name="connsiteX53" fmla="*/ 54338 w 1369647"/>
                  <a:gd name="connsiteY53" fmla="*/ 1041567 h 1181694"/>
                  <a:gd name="connsiteX54" fmla="*/ 43895 w 1369647"/>
                  <a:gd name="connsiteY54" fmla="*/ 1031271 h 1181694"/>
                  <a:gd name="connsiteX55" fmla="*/ 64441 w 1369647"/>
                  <a:gd name="connsiteY55" fmla="*/ 998132 h 1181694"/>
                  <a:gd name="connsiteX56" fmla="*/ 46846 w 1369647"/>
                  <a:gd name="connsiteY56" fmla="*/ 983220 h 1181694"/>
                  <a:gd name="connsiteX57" fmla="*/ 19149 w 1369647"/>
                  <a:gd name="connsiteY57" fmla="*/ 983220 h 1181694"/>
                  <a:gd name="connsiteX58" fmla="*/ 6890 w 1369647"/>
                  <a:gd name="connsiteY58" fmla="*/ 938128 h 1181694"/>
                  <a:gd name="connsiteX59" fmla="*/ 0 w 1369647"/>
                  <a:gd name="connsiteY59" fmla="*/ 937579 h 1181694"/>
                  <a:gd name="connsiteX60" fmla="*/ 776 w 1369647"/>
                  <a:gd name="connsiteY60" fmla="*/ 912545 h 1181694"/>
                  <a:gd name="connsiteX61" fmla="*/ 8244 w 1369647"/>
                  <a:gd name="connsiteY61" fmla="*/ 798410 h 1181694"/>
                  <a:gd name="connsiteX62" fmla="*/ 69654 w 1369647"/>
                  <a:gd name="connsiteY62" fmla="*/ 746620 h 1181694"/>
                  <a:gd name="connsiteX63" fmla="*/ 130510 w 1369647"/>
                  <a:gd name="connsiteY63" fmla="*/ 650282 h 1181694"/>
                  <a:gd name="connsiteX64" fmla="*/ 176797 w 1369647"/>
                  <a:gd name="connsiteY64" fmla="*/ 594146 h 1181694"/>
                  <a:gd name="connsiteX65" fmla="*/ 253697 w 1369647"/>
                  <a:gd name="connsiteY65" fmla="*/ 557929 h 1181694"/>
                  <a:gd name="connsiteX66" fmla="*/ 281912 w 1369647"/>
                  <a:gd name="connsiteY66" fmla="*/ 458332 h 1181694"/>
                  <a:gd name="connsiteX67" fmla="*/ 333179 w 1369647"/>
                  <a:gd name="connsiteY67" fmla="*/ 428634 h 1181694"/>
                  <a:gd name="connsiteX68" fmla="*/ 386843 w 1369647"/>
                  <a:gd name="connsiteY68" fmla="*/ 402557 h 1181694"/>
                  <a:gd name="connsiteX69" fmla="*/ 389240 w 1369647"/>
                  <a:gd name="connsiteY69" fmla="*/ 323423 h 1181694"/>
                  <a:gd name="connsiteX70" fmla="*/ 455813 w 1369647"/>
                  <a:gd name="connsiteY70" fmla="*/ 139259 h 1181694"/>
                  <a:gd name="connsiteX71" fmla="*/ 465034 w 1369647"/>
                  <a:gd name="connsiteY71" fmla="*/ 57409 h 1181694"/>
                  <a:gd name="connsiteX72" fmla="*/ 448153 w 1369647"/>
                  <a:gd name="connsiteY72" fmla="*/ 0 h 1181694"/>
                  <a:gd name="connsiteX0" fmla="*/ 448153 w 1369647"/>
                  <a:gd name="connsiteY0" fmla="*/ 0 h 1181694"/>
                  <a:gd name="connsiteX1" fmla="*/ 539058 w 1369647"/>
                  <a:gd name="connsiteY1" fmla="*/ 3666 h 1181694"/>
                  <a:gd name="connsiteX2" fmla="*/ 613633 w 1369647"/>
                  <a:gd name="connsiteY2" fmla="*/ 130534 h 1181694"/>
                  <a:gd name="connsiteX3" fmla="*/ 656324 w 1369647"/>
                  <a:gd name="connsiteY3" fmla="*/ 75672 h 1181694"/>
                  <a:gd name="connsiteX4" fmla="*/ 757919 w 1369647"/>
                  <a:gd name="connsiteY4" fmla="*/ 97103 h 1181694"/>
                  <a:gd name="connsiteX5" fmla="*/ 784398 w 1369647"/>
                  <a:gd name="connsiteY5" fmla="*/ 147250 h 1181694"/>
                  <a:gd name="connsiteX6" fmla="*/ 853569 w 1369647"/>
                  <a:gd name="connsiteY6" fmla="*/ 113819 h 1181694"/>
                  <a:gd name="connsiteX7" fmla="*/ 976239 w 1369647"/>
                  <a:gd name="connsiteY7" fmla="*/ 130534 h 1181694"/>
                  <a:gd name="connsiteX8" fmla="*/ 970835 w 1369647"/>
                  <a:gd name="connsiteY8" fmla="*/ 92817 h 1181694"/>
                  <a:gd name="connsiteX9" fmla="*/ 1002178 w 1369647"/>
                  <a:gd name="connsiteY9" fmla="*/ 92817 h 1181694"/>
                  <a:gd name="connsiteX10" fmla="*/ 1050813 w 1369647"/>
                  <a:gd name="connsiteY10" fmla="*/ 143393 h 1181694"/>
                  <a:gd name="connsiteX11" fmla="*/ 1247517 w 1369647"/>
                  <a:gd name="connsiteY11" fmla="*/ 160109 h 1181694"/>
                  <a:gd name="connsiteX12" fmla="*/ 1279401 w 1369647"/>
                  <a:gd name="connsiteY12" fmla="*/ 113819 h 1181694"/>
                  <a:gd name="connsiteX13" fmla="*/ 1344789 w 1369647"/>
                  <a:gd name="connsiteY13" fmla="*/ 119391 h 1181694"/>
                  <a:gd name="connsiteX14" fmla="*/ 1369647 w 1369647"/>
                  <a:gd name="connsiteY14" fmla="*/ 148536 h 1181694"/>
                  <a:gd name="connsiteX15" fmla="*/ 1161990 w 1369647"/>
                  <a:gd name="connsiteY15" fmla="*/ 164217 h 1181694"/>
                  <a:gd name="connsiteX16" fmla="*/ 1160100 w 1369647"/>
                  <a:gd name="connsiteY16" fmla="*/ 281722 h 1181694"/>
                  <a:gd name="connsiteX17" fmla="*/ 1211030 w 1369647"/>
                  <a:gd name="connsiteY17" fmla="*/ 351326 h 1181694"/>
                  <a:gd name="connsiteX18" fmla="*/ 1176671 w 1369647"/>
                  <a:gd name="connsiteY18" fmla="*/ 475625 h 1181694"/>
                  <a:gd name="connsiteX19" fmla="*/ 1181135 w 1369647"/>
                  <a:gd name="connsiteY19" fmla="*/ 429304 h 1181694"/>
                  <a:gd name="connsiteX20" fmla="*/ 1141314 w 1369647"/>
                  <a:gd name="connsiteY20" fmla="*/ 429304 h 1181694"/>
                  <a:gd name="connsiteX21" fmla="*/ 1120421 w 1369647"/>
                  <a:gd name="connsiteY21" fmla="*/ 396238 h 1181694"/>
                  <a:gd name="connsiteX22" fmla="*/ 1095779 w 1369647"/>
                  <a:gd name="connsiteY22" fmla="*/ 396238 h 1181694"/>
                  <a:gd name="connsiteX23" fmla="*/ 1092743 w 1369647"/>
                  <a:gd name="connsiteY23" fmla="*/ 434985 h 1181694"/>
                  <a:gd name="connsiteX24" fmla="*/ 1046672 w 1369647"/>
                  <a:gd name="connsiteY24" fmla="*/ 447075 h 1181694"/>
                  <a:gd name="connsiteX25" fmla="*/ 1035244 w 1369647"/>
                  <a:gd name="connsiteY25" fmla="*/ 500970 h 1181694"/>
                  <a:gd name="connsiteX26" fmla="*/ 1039708 w 1369647"/>
                  <a:gd name="connsiteY26" fmla="*/ 539716 h 1181694"/>
                  <a:gd name="connsiteX27" fmla="*/ 1039708 w 1369647"/>
                  <a:gd name="connsiteY27" fmla="*/ 583269 h 1181694"/>
                  <a:gd name="connsiteX28" fmla="*/ 964351 w 1369647"/>
                  <a:gd name="connsiteY28" fmla="*/ 608323 h 1181694"/>
                  <a:gd name="connsiteX29" fmla="*/ 951137 w 1369647"/>
                  <a:gd name="connsiteY29" fmla="*/ 693682 h 1181694"/>
                  <a:gd name="connsiteX30" fmla="*/ 968816 w 1369647"/>
                  <a:gd name="connsiteY30" fmla="*/ 711453 h 1181694"/>
                  <a:gd name="connsiteX31" fmla="*/ 986494 w 1369647"/>
                  <a:gd name="connsiteY31" fmla="*/ 762726 h 1181694"/>
                  <a:gd name="connsiteX32" fmla="*/ 933280 w 1369647"/>
                  <a:gd name="connsiteY32" fmla="*/ 844589 h 1181694"/>
                  <a:gd name="connsiteX33" fmla="*/ 936673 w 1369647"/>
                  <a:gd name="connsiteY33" fmla="*/ 859446 h 1181694"/>
                  <a:gd name="connsiteX34" fmla="*/ 964351 w 1369647"/>
                  <a:gd name="connsiteY34" fmla="*/ 873138 h 1181694"/>
                  <a:gd name="connsiteX35" fmla="*/ 961316 w 1369647"/>
                  <a:gd name="connsiteY35" fmla="*/ 955001 h 1181694"/>
                  <a:gd name="connsiteX36" fmla="*/ 880245 w 1369647"/>
                  <a:gd name="connsiteY36" fmla="*/ 1020695 h 1181694"/>
                  <a:gd name="connsiteX37" fmla="*/ 802389 w 1369647"/>
                  <a:gd name="connsiteY37" fmla="*/ 1013412 h 1181694"/>
                  <a:gd name="connsiteX38" fmla="*/ 680961 w 1369647"/>
                  <a:gd name="connsiteY38" fmla="*/ 1005837 h 1181694"/>
                  <a:gd name="connsiteX39" fmla="*/ 635783 w 1369647"/>
                  <a:gd name="connsiteY39" fmla="*/ 1044584 h 1181694"/>
                  <a:gd name="connsiteX40" fmla="*/ 610426 w 1369647"/>
                  <a:gd name="connsiteY40" fmla="*/ 1031620 h 1181694"/>
                  <a:gd name="connsiteX41" fmla="*/ 480427 w 1369647"/>
                  <a:gd name="connsiteY41" fmla="*/ 1056674 h 1181694"/>
                  <a:gd name="connsiteX42" fmla="*/ 435752 w 1369647"/>
                  <a:gd name="connsiteY42" fmla="*/ 1118978 h 1181694"/>
                  <a:gd name="connsiteX43" fmla="*/ 426392 w 1369647"/>
                  <a:gd name="connsiteY43" fmla="*/ 1128043 h 1181694"/>
                  <a:gd name="connsiteX44" fmla="*/ 412105 w 1369647"/>
                  <a:gd name="connsiteY44" fmla="*/ 1130425 h 1181694"/>
                  <a:gd name="connsiteX45" fmla="*/ 400466 w 1369647"/>
                  <a:gd name="connsiteY45" fmla="*/ 1154409 h 1181694"/>
                  <a:gd name="connsiteX46" fmla="*/ 364451 w 1369647"/>
                  <a:gd name="connsiteY46" fmla="*/ 1171144 h 1181694"/>
                  <a:gd name="connsiteX47" fmla="*/ 360928 w 1369647"/>
                  <a:gd name="connsiteY47" fmla="*/ 1181694 h 1181694"/>
                  <a:gd name="connsiteX48" fmla="*/ 362410 w 1369647"/>
                  <a:gd name="connsiteY48" fmla="*/ 1171043 h 1181694"/>
                  <a:gd name="connsiteX49" fmla="*/ 319843 w 1369647"/>
                  <a:gd name="connsiteY49" fmla="*/ 1142402 h 1181694"/>
                  <a:gd name="connsiteX50" fmla="*/ 206104 w 1369647"/>
                  <a:gd name="connsiteY50" fmla="*/ 1096009 h 1181694"/>
                  <a:gd name="connsiteX51" fmla="*/ 89867 w 1369647"/>
                  <a:gd name="connsiteY51" fmla="*/ 1041567 h 1181694"/>
                  <a:gd name="connsiteX52" fmla="*/ 54338 w 1369647"/>
                  <a:gd name="connsiteY52" fmla="*/ 1041567 h 1181694"/>
                  <a:gd name="connsiteX53" fmla="*/ 43895 w 1369647"/>
                  <a:gd name="connsiteY53" fmla="*/ 1031271 h 1181694"/>
                  <a:gd name="connsiteX54" fmla="*/ 64441 w 1369647"/>
                  <a:gd name="connsiteY54" fmla="*/ 998132 h 1181694"/>
                  <a:gd name="connsiteX55" fmla="*/ 46846 w 1369647"/>
                  <a:gd name="connsiteY55" fmla="*/ 983220 h 1181694"/>
                  <a:gd name="connsiteX56" fmla="*/ 19149 w 1369647"/>
                  <a:gd name="connsiteY56" fmla="*/ 983220 h 1181694"/>
                  <a:gd name="connsiteX57" fmla="*/ 6890 w 1369647"/>
                  <a:gd name="connsiteY57" fmla="*/ 938128 h 1181694"/>
                  <a:gd name="connsiteX58" fmla="*/ 0 w 1369647"/>
                  <a:gd name="connsiteY58" fmla="*/ 937579 h 1181694"/>
                  <a:gd name="connsiteX59" fmla="*/ 776 w 1369647"/>
                  <a:gd name="connsiteY59" fmla="*/ 912545 h 1181694"/>
                  <a:gd name="connsiteX60" fmla="*/ 8244 w 1369647"/>
                  <a:gd name="connsiteY60" fmla="*/ 798410 h 1181694"/>
                  <a:gd name="connsiteX61" fmla="*/ 69654 w 1369647"/>
                  <a:gd name="connsiteY61" fmla="*/ 746620 h 1181694"/>
                  <a:gd name="connsiteX62" fmla="*/ 130510 w 1369647"/>
                  <a:gd name="connsiteY62" fmla="*/ 650282 h 1181694"/>
                  <a:gd name="connsiteX63" fmla="*/ 176797 w 1369647"/>
                  <a:gd name="connsiteY63" fmla="*/ 594146 h 1181694"/>
                  <a:gd name="connsiteX64" fmla="*/ 253697 w 1369647"/>
                  <a:gd name="connsiteY64" fmla="*/ 557929 h 1181694"/>
                  <a:gd name="connsiteX65" fmla="*/ 281912 w 1369647"/>
                  <a:gd name="connsiteY65" fmla="*/ 458332 h 1181694"/>
                  <a:gd name="connsiteX66" fmla="*/ 333179 w 1369647"/>
                  <a:gd name="connsiteY66" fmla="*/ 428634 h 1181694"/>
                  <a:gd name="connsiteX67" fmla="*/ 386843 w 1369647"/>
                  <a:gd name="connsiteY67" fmla="*/ 402557 h 1181694"/>
                  <a:gd name="connsiteX68" fmla="*/ 389240 w 1369647"/>
                  <a:gd name="connsiteY68" fmla="*/ 323423 h 1181694"/>
                  <a:gd name="connsiteX69" fmla="*/ 455813 w 1369647"/>
                  <a:gd name="connsiteY69" fmla="*/ 139259 h 1181694"/>
                  <a:gd name="connsiteX70" fmla="*/ 465034 w 1369647"/>
                  <a:gd name="connsiteY70" fmla="*/ 57409 h 1181694"/>
                  <a:gd name="connsiteX71" fmla="*/ 448153 w 1369647"/>
                  <a:gd name="connsiteY71" fmla="*/ 0 h 1181694"/>
                  <a:gd name="connsiteX0" fmla="*/ 448153 w 1344789"/>
                  <a:gd name="connsiteY0" fmla="*/ 0 h 1181694"/>
                  <a:gd name="connsiteX1" fmla="*/ 539058 w 1344789"/>
                  <a:gd name="connsiteY1" fmla="*/ 3666 h 1181694"/>
                  <a:gd name="connsiteX2" fmla="*/ 613633 w 1344789"/>
                  <a:gd name="connsiteY2" fmla="*/ 130534 h 1181694"/>
                  <a:gd name="connsiteX3" fmla="*/ 656324 w 1344789"/>
                  <a:gd name="connsiteY3" fmla="*/ 75672 h 1181694"/>
                  <a:gd name="connsiteX4" fmla="*/ 757919 w 1344789"/>
                  <a:gd name="connsiteY4" fmla="*/ 97103 h 1181694"/>
                  <a:gd name="connsiteX5" fmla="*/ 784398 w 1344789"/>
                  <a:gd name="connsiteY5" fmla="*/ 147250 h 1181694"/>
                  <a:gd name="connsiteX6" fmla="*/ 853569 w 1344789"/>
                  <a:gd name="connsiteY6" fmla="*/ 113819 h 1181694"/>
                  <a:gd name="connsiteX7" fmla="*/ 976239 w 1344789"/>
                  <a:gd name="connsiteY7" fmla="*/ 130534 h 1181694"/>
                  <a:gd name="connsiteX8" fmla="*/ 970835 w 1344789"/>
                  <a:gd name="connsiteY8" fmla="*/ 92817 h 1181694"/>
                  <a:gd name="connsiteX9" fmla="*/ 1002178 w 1344789"/>
                  <a:gd name="connsiteY9" fmla="*/ 92817 h 1181694"/>
                  <a:gd name="connsiteX10" fmla="*/ 1050813 w 1344789"/>
                  <a:gd name="connsiteY10" fmla="*/ 143393 h 1181694"/>
                  <a:gd name="connsiteX11" fmla="*/ 1247517 w 1344789"/>
                  <a:gd name="connsiteY11" fmla="*/ 160109 h 1181694"/>
                  <a:gd name="connsiteX12" fmla="*/ 1279401 w 1344789"/>
                  <a:gd name="connsiteY12" fmla="*/ 113819 h 1181694"/>
                  <a:gd name="connsiteX13" fmla="*/ 1344789 w 1344789"/>
                  <a:gd name="connsiteY13" fmla="*/ 119391 h 1181694"/>
                  <a:gd name="connsiteX14" fmla="*/ 1161990 w 1344789"/>
                  <a:gd name="connsiteY14" fmla="*/ 164217 h 1181694"/>
                  <a:gd name="connsiteX15" fmla="*/ 1160100 w 1344789"/>
                  <a:gd name="connsiteY15" fmla="*/ 281722 h 1181694"/>
                  <a:gd name="connsiteX16" fmla="*/ 1211030 w 1344789"/>
                  <a:gd name="connsiteY16" fmla="*/ 351326 h 1181694"/>
                  <a:gd name="connsiteX17" fmla="*/ 1176671 w 1344789"/>
                  <a:gd name="connsiteY17" fmla="*/ 475625 h 1181694"/>
                  <a:gd name="connsiteX18" fmla="*/ 1181135 w 1344789"/>
                  <a:gd name="connsiteY18" fmla="*/ 429304 h 1181694"/>
                  <a:gd name="connsiteX19" fmla="*/ 1141314 w 1344789"/>
                  <a:gd name="connsiteY19" fmla="*/ 429304 h 1181694"/>
                  <a:gd name="connsiteX20" fmla="*/ 1120421 w 1344789"/>
                  <a:gd name="connsiteY20" fmla="*/ 396238 h 1181694"/>
                  <a:gd name="connsiteX21" fmla="*/ 1095779 w 1344789"/>
                  <a:gd name="connsiteY21" fmla="*/ 396238 h 1181694"/>
                  <a:gd name="connsiteX22" fmla="*/ 1092743 w 1344789"/>
                  <a:gd name="connsiteY22" fmla="*/ 434985 h 1181694"/>
                  <a:gd name="connsiteX23" fmla="*/ 1046672 w 1344789"/>
                  <a:gd name="connsiteY23" fmla="*/ 447075 h 1181694"/>
                  <a:gd name="connsiteX24" fmla="*/ 1035244 w 1344789"/>
                  <a:gd name="connsiteY24" fmla="*/ 500970 h 1181694"/>
                  <a:gd name="connsiteX25" fmla="*/ 1039708 w 1344789"/>
                  <a:gd name="connsiteY25" fmla="*/ 539716 h 1181694"/>
                  <a:gd name="connsiteX26" fmla="*/ 1039708 w 1344789"/>
                  <a:gd name="connsiteY26" fmla="*/ 583269 h 1181694"/>
                  <a:gd name="connsiteX27" fmla="*/ 964351 w 1344789"/>
                  <a:gd name="connsiteY27" fmla="*/ 608323 h 1181694"/>
                  <a:gd name="connsiteX28" fmla="*/ 951137 w 1344789"/>
                  <a:gd name="connsiteY28" fmla="*/ 693682 h 1181694"/>
                  <a:gd name="connsiteX29" fmla="*/ 968816 w 1344789"/>
                  <a:gd name="connsiteY29" fmla="*/ 711453 h 1181694"/>
                  <a:gd name="connsiteX30" fmla="*/ 986494 w 1344789"/>
                  <a:gd name="connsiteY30" fmla="*/ 762726 h 1181694"/>
                  <a:gd name="connsiteX31" fmla="*/ 933280 w 1344789"/>
                  <a:gd name="connsiteY31" fmla="*/ 844589 h 1181694"/>
                  <a:gd name="connsiteX32" fmla="*/ 936673 w 1344789"/>
                  <a:gd name="connsiteY32" fmla="*/ 859446 h 1181694"/>
                  <a:gd name="connsiteX33" fmla="*/ 964351 w 1344789"/>
                  <a:gd name="connsiteY33" fmla="*/ 873138 h 1181694"/>
                  <a:gd name="connsiteX34" fmla="*/ 961316 w 1344789"/>
                  <a:gd name="connsiteY34" fmla="*/ 955001 h 1181694"/>
                  <a:gd name="connsiteX35" fmla="*/ 880245 w 1344789"/>
                  <a:gd name="connsiteY35" fmla="*/ 1020695 h 1181694"/>
                  <a:gd name="connsiteX36" fmla="*/ 802389 w 1344789"/>
                  <a:gd name="connsiteY36" fmla="*/ 1013412 h 1181694"/>
                  <a:gd name="connsiteX37" fmla="*/ 680961 w 1344789"/>
                  <a:gd name="connsiteY37" fmla="*/ 1005837 h 1181694"/>
                  <a:gd name="connsiteX38" fmla="*/ 635783 w 1344789"/>
                  <a:gd name="connsiteY38" fmla="*/ 1044584 h 1181694"/>
                  <a:gd name="connsiteX39" fmla="*/ 610426 w 1344789"/>
                  <a:gd name="connsiteY39" fmla="*/ 1031620 h 1181694"/>
                  <a:gd name="connsiteX40" fmla="*/ 480427 w 1344789"/>
                  <a:gd name="connsiteY40" fmla="*/ 1056674 h 1181694"/>
                  <a:gd name="connsiteX41" fmla="*/ 435752 w 1344789"/>
                  <a:gd name="connsiteY41" fmla="*/ 1118978 h 1181694"/>
                  <a:gd name="connsiteX42" fmla="*/ 426392 w 1344789"/>
                  <a:gd name="connsiteY42" fmla="*/ 1128043 h 1181694"/>
                  <a:gd name="connsiteX43" fmla="*/ 412105 w 1344789"/>
                  <a:gd name="connsiteY43" fmla="*/ 1130425 h 1181694"/>
                  <a:gd name="connsiteX44" fmla="*/ 400466 w 1344789"/>
                  <a:gd name="connsiteY44" fmla="*/ 1154409 h 1181694"/>
                  <a:gd name="connsiteX45" fmla="*/ 364451 w 1344789"/>
                  <a:gd name="connsiteY45" fmla="*/ 1171144 h 1181694"/>
                  <a:gd name="connsiteX46" fmla="*/ 360928 w 1344789"/>
                  <a:gd name="connsiteY46" fmla="*/ 1181694 h 1181694"/>
                  <a:gd name="connsiteX47" fmla="*/ 362410 w 1344789"/>
                  <a:gd name="connsiteY47" fmla="*/ 1171043 h 1181694"/>
                  <a:gd name="connsiteX48" fmla="*/ 319843 w 1344789"/>
                  <a:gd name="connsiteY48" fmla="*/ 1142402 h 1181694"/>
                  <a:gd name="connsiteX49" fmla="*/ 206104 w 1344789"/>
                  <a:gd name="connsiteY49" fmla="*/ 1096009 h 1181694"/>
                  <a:gd name="connsiteX50" fmla="*/ 89867 w 1344789"/>
                  <a:gd name="connsiteY50" fmla="*/ 1041567 h 1181694"/>
                  <a:gd name="connsiteX51" fmla="*/ 54338 w 1344789"/>
                  <a:gd name="connsiteY51" fmla="*/ 1041567 h 1181694"/>
                  <a:gd name="connsiteX52" fmla="*/ 43895 w 1344789"/>
                  <a:gd name="connsiteY52" fmla="*/ 1031271 h 1181694"/>
                  <a:gd name="connsiteX53" fmla="*/ 64441 w 1344789"/>
                  <a:gd name="connsiteY53" fmla="*/ 998132 h 1181694"/>
                  <a:gd name="connsiteX54" fmla="*/ 46846 w 1344789"/>
                  <a:gd name="connsiteY54" fmla="*/ 983220 h 1181694"/>
                  <a:gd name="connsiteX55" fmla="*/ 19149 w 1344789"/>
                  <a:gd name="connsiteY55" fmla="*/ 983220 h 1181694"/>
                  <a:gd name="connsiteX56" fmla="*/ 6890 w 1344789"/>
                  <a:gd name="connsiteY56" fmla="*/ 938128 h 1181694"/>
                  <a:gd name="connsiteX57" fmla="*/ 0 w 1344789"/>
                  <a:gd name="connsiteY57" fmla="*/ 937579 h 1181694"/>
                  <a:gd name="connsiteX58" fmla="*/ 776 w 1344789"/>
                  <a:gd name="connsiteY58" fmla="*/ 912545 h 1181694"/>
                  <a:gd name="connsiteX59" fmla="*/ 8244 w 1344789"/>
                  <a:gd name="connsiteY59" fmla="*/ 798410 h 1181694"/>
                  <a:gd name="connsiteX60" fmla="*/ 69654 w 1344789"/>
                  <a:gd name="connsiteY60" fmla="*/ 746620 h 1181694"/>
                  <a:gd name="connsiteX61" fmla="*/ 130510 w 1344789"/>
                  <a:gd name="connsiteY61" fmla="*/ 650282 h 1181694"/>
                  <a:gd name="connsiteX62" fmla="*/ 176797 w 1344789"/>
                  <a:gd name="connsiteY62" fmla="*/ 594146 h 1181694"/>
                  <a:gd name="connsiteX63" fmla="*/ 253697 w 1344789"/>
                  <a:gd name="connsiteY63" fmla="*/ 557929 h 1181694"/>
                  <a:gd name="connsiteX64" fmla="*/ 281912 w 1344789"/>
                  <a:gd name="connsiteY64" fmla="*/ 458332 h 1181694"/>
                  <a:gd name="connsiteX65" fmla="*/ 333179 w 1344789"/>
                  <a:gd name="connsiteY65" fmla="*/ 428634 h 1181694"/>
                  <a:gd name="connsiteX66" fmla="*/ 386843 w 1344789"/>
                  <a:gd name="connsiteY66" fmla="*/ 402557 h 1181694"/>
                  <a:gd name="connsiteX67" fmla="*/ 389240 w 1344789"/>
                  <a:gd name="connsiteY67" fmla="*/ 323423 h 1181694"/>
                  <a:gd name="connsiteX68" fmla="*/ 455813 w 1344789"/>
                  <a:gd name="connsiteY68" fmla="*/ 139259 h 1181694"/>
                  <a:gd name="connsiteX69" fmla="*/ 465034 w 1344789"/>
                  <a:gd name="connsiteY69" fmla="*/ 57409 h 1181694"/>
                  <a:gd name="connsiteX70" fmla="*/ 448153 w 1344789"/>
                  <a:gd name="connsiteY70" fmla="*/ 0 h 1181694"/>
                  <a:gd name="connsiteX0" fmla="*/ 448153 w 1279401"/>
                  <a:gd name="connsiteY0" fmla="*/ 0 h 1181694"/>
                  <a:gd name="connsiteX1" fmla="*/ 539058 w 1279401"/>
                  <a:gd name="connsiteY1" fmla="*/ 3666 h 1181694"/>
                  <a:gd name="connsiteX2" fmla="*/ 613633 w 1279401"/>
                  <a:gd name="connsiteY2" fmla="*/ 130534 h 1181694"/>
                  <a:gd name="connsiteX3" fmla="*/ 656324 w 1279401"/>
                  <a:gd name="connsiteY3" fmla="*/ 75672 h 1181694"/>
                  <a:gd name="connsiteX4" fmla="*/ 757919 w 1279401"/>
                  <a:gd name="connsiteY4" fmla="*/ 97103 h 1181694"/>
                  <a:gd name="connsiteX5" fmla="*/ 784398 w 1279401"/>
                  <a:gd name="connsiteY5" fmla="*/ 147250 h 1181694"/>
                  <a:gd name="connsiteX6" fmla="*/ 853569 w 1279401"/>
                  <a:gd name="connsiteY6" fmla="*/ 113819 h 1181694"/>
                  <a:gd name="connsiteX7" fmla="*/ 976239 w 1279401"/>
                  <a:gd name="connsiteY7" fmla="*/ 130534 h 1181694"/>
                  <a:gd name="connsiteX8" fmla="*/ 970835 w 1279401"/>
                  <a:gd name="connsiteY8" fmla="*/ 92817 h 1181694"/>
                  <a:gd name="connsiteX9" fmla="*/ 1002178 w 1279401"/>
                  <a:gd name="connsiteY9" fmla="*/ 92817 h 1181694"/>
                  <a:gd name="connsiteX10" fmla="*/ 1050813 w 1279401"/>
                  <a:gd name="connsiteY10" fmla="*/ 143393 h 1181694"/>
                  <a:gd name="connsiteX11" fmla="*/ 1247517 w 1279401"/>
                  <a:gd name="connsiteY11" fmla="*/ 160109 h 1181694"/>
                  <a:gd name="connsiteX12" fmla="*/ 1279401 w 1279401"/>
                  <a:gd name="connsiteY12" fmla="*/ 113819 h 1181694"/>
                  <a:gd name="connsiteX13" fmla="*/ 1161990 w 1279401"/>
                  <a:gd name="connsiteY13" fmla="*/ 164217 h 1181694"/>
                  <a:gd name="connsiteX14" fmla="*/ 1160100 w 1279401"/>
                  <a:gd name="connsiteY14" fmla="*/ 281722 h 1181694"/>
                  <a:gd name="connsiteX15" fmla="*/ 1211030 w 1279401"/>
                  <a:gd name="connsiteY15" fmla="*/ 351326 h 1181694"/>
                  <a:gd name="connsiteX16" fmla="*/ 1176671 w 1279401"/>
                  <a:gd name="connsiteY16" fmla="*/ 475625 h 1181694"/>
                  <a:gd name="connsiteX17" fmla="*/ 1181135 w 1279401"/>
                  <a:gd name="connsiteY17" fmla="*/ 429304 h 1181694"/>
                  <a:gd name="connsiteX18" fmla="*/ 1141314 w 1279401"/>
                  <a:gd name="connsiteY18" fmla="*/ 429304 h 1181694"/>
                  <a:gd name="connsiteX19" fmla="*/ 1120421 w 1279401"/>
                  <a:gd name="connsiteY19" fmla="*/ 396238 h 1181694"/>
                  <a:gd name="connsiteX20" fmla="*/ 1095779 w 1279401"/>
                  <a:gd name="connsiteY20" fmla="*/ 396238 h 1181694"/>
                  <a:gd name="connsiteX21" fmla="*/ 1092743 w 1279401"/>
                  <a:gd name="connsiteY21" fmla="*/ 434985 h 1181694"/>
                  <a:gd name="connsiteX22" fmla="*/ 1046672 w 1279401"/>
                  <a:gd name="connsiteY22" fmla="*/ 447075 h 1181694"/>
                  <a:gd name="connsiteX23" fmla="*/ 1035244 w 1279401"/>
                  <a:gd name="connsiteY23" fmla="*/ 500970 h 1181694"/>
                  <a:gd name="connsiteX24" fmla="*/ 1039708 w 1279401"/>
                  <a:gd name="connsiteY24" fmla="*/ 539716 h 1181694"/>
                  <a:gd name="connsiteX25" fmla="*/ 1039708 w 1279401"/>
                  <a:gd name="connsiteY25" fmla="*/ 583269 h 1181694"/>
                  <a:gd name="connsiteX26" fmla="*/ 964351 w 1279401"/>
                  <a:gd name="connsiteY26" fmla="*/ 608323 h 1181694"/>
                  <a:gd name="connsiteX27" fmla="*/ 951137 w 1279401"/>
                  <a:gd name="connsiteY27" fmla="*/ 693682 h 1181694"/>
                  <a:gd name="connsiteX28" fmla="*/ 968816 w 1279401"/>
                  <a:gd name="connsiteY28" fmla="*/ 711453 h 1181694"/>
                  <a:gd name="connsiteX29" fmla="*/ 986494 w 1279401"/>
                  <a:gd name="connsiteY29" fmla="*/ 762726 h 1181694"/>
                  <a:gd name="connsiteX30" fmla="*/ 933280 w 1279401"/>
                  <a:gd name="connsiteY30" fmla="*/ 844589 h 1181694"/>
                  <a:gd name="connsiteX31" fmla="*/ 936673 w 1279401"/>
                  <a:gd name="connsiteY31" fmla="*/ 859446 h 1181694"/>
                  <a:gd name="connsiteX32" fmla="*/ 964351 w 1279401"/>
                  <a:gd name="connsiteY32" fmla="*/ 873138 h 1181694"/>
                  <a:gd name="connsiteX33" fmla="*/ 961316 w 1279401"/>
                  <a:gd name="connsiteY33" fmla="*/ 955001 h 1181694"/>
                  <a:gd name="connsiteX34" fmla="*/ 880245 w 1279401"/>
                  <a:gd name="connsiteY34" fmla="*/ 1020695 h 1181694"/>
                  <a:gd name="connsiteX35" fmla="*/ 802389 w 1279401"/>
                  <a:gd name="connsiteY35" fmla="*/ 1013412 h 1181694"/>
                  <a:gd name="connsiteX36" fmla="*/ 680961 w 1279401"/>
                  <a:gd name="connsiteY36" fmla="*/ 1005837 h 1181694"/>
                  <a:gd name="connsiteX37" fmla="*/ 635783 w 1279401"/>
                  <a:gd name="connsiteY37" fmla="*/ 1044584 h 1181694"/>
                  <a:gd name="connsiteX38" fmla="*/ 610426 w 1279401"/>
                  <a:gd name="connsiteY38" fmla="*/ 1031620 h 1181694"/>
                  <a:gd name="connsiteX39" fmla="*/ 480427 w 1279401"/>
                  <a:gd name="connsiteY39" fmla="*/ 1056674 h 1181694"/>
                  <a:gd name="connsiteX40" fmla="*/ 435752 w 1279401"/>
                  <a:gd name="connsiteY40" fmla="*/ 1118978 h 1181694"/>
                  <a:gd name="connsiteX41" fmla="*/ 426392 w 1279401"/>
                  <a:gd name="connsiteY41" fmla="*/ 1128043 h 1181694"/>
                  <a:gd name="connsiteX42" fmla="*/ 412105 w 1279401"/>
                  <a:gd name="connsiteY42" fmla="*/ 1130425 h 1181694"/>
                  <a:gd name="connsiteX43" fmla="*/ 400466 w 1279401"/>
                  <a:gd name="connsiteY43" fmla="*/ 1154409 h 1181694"/>
                  <a:gd name="connsiteX44" fmla="*/ 364451 w 1279401"/>
                  <a:gd name="connsiteY44" fmla="*/ 1171144 h 1181694"/>
                  <a:gd name="connsiteX45" fmla="*/ 360928 w 1279401"/>
                  <a:gd name="connsiteY45" fmla="*/ 1181694 h 1181694"/>
                  <a:gd name="connsiteX46" fmla="*/ 362410 w 1279401"/>
                  <a:gd name="connsiteY46" fmla="*/ 1171043 h 1181694"/>
                  <a:gd name="connsiteX47" fmla="*/ 319843 w 1279401"/>
                  <a:gd name="connsiteY47" fmla="*/ 1142402 h 1181694"/>
                  <a:gd name="connsiteX48" fmla="*/ 206104 w 1279401"/>
                  <a:gd name="connsiteY48" fmla="*/ 1096009 h 1181694"/>
                  <a:gd name="connsiteX49" fmla="*/ 89867 w 1279401"/>
                  <a:gd name="connsiteY49" fmla="*/ 1041567 h 1181694"/>
                  <a:gd name="connsiteX50" fmla="*/ 54338 w 1279401"/>
                  <a:gd name="connsiteY50" fmla="*/ 1041567 h 1181694"/>
                  <a:gd name="connsiteX51" fmla="*/ 43895 w 1279401"/>
                  <a:gd name="connsiteY51" fmla="*/ 1031271 h 1181694"/>
                  <a:gd name="connsiteX52" fmla="*/ 64441 w 1279401"/>
                  <a:gd name="connsiteY52" fmla="*/ 998132 h 1181694"/>
                  <a:gd name="connsiteX53" fmla="*/ 46846 w 1279401"/>
                  <a:gd name="connsiteY53" fmla="*/ 983220 h 1181694"/>
                  <a:gd name="connsiteX54" fmla="*/ 19149 w 1279401"/>
                  <a:gd name="connsiteY54" fmla="*/ 983220 h 1181694"/>
                  <a:gd name="connsiteX55" fmla="*/ 6890 w 1279401"/>
                  <a:gd name="connsiteY55" fmla="*/ 938128 h 1181694"/>
                  <a:gd name="connsiteX56" fmla="*/ 0 w 1279401"/>
                  <a:gd name="connsiteY56" fmla="*/ 937579 h 1181694"/>
                  <a:gd name="connsiteX57" fmla="*/ 776 w 1279401"/>
                  <a:gd name="connsiteY57" fmla="*/ 912545 h 1181694"/>
                  <a:gd name="connsiteX58" fmla="*/ 8244 w 1279401"/>
                  <a:gd name="connsiteY58" fmla="*/ 798410 h 1181694"/>
                  <a:gd name="connsiteX59" fmla="*/ 69654 w 1279401"/>
                  <a:gd name="connsiteY59" fmla="*/ 746620 h 1181694"/>
                  <a:gd name="connsiteX60" fmla="*/ 130510 w 1279401"/>
                  <a:gd name="connsiteY60" fmla="*/ 650282 h 1181694"/>
                  <a:gd name="connsiteX61" fmla="*/ 176797 w 1279401"/>
                  <a:gd name="connsiteY61" fmla="*/ 594146 h 1181694"/>
                  <a:gd name="connsiteX62" fmla="*/ 253697 w 1279401"/>
                  <a:gd name="connsiteY62" fmla="*/ 557929 h 1181694"/>
                  <a:gd name="connsiteX63" fmla="*/ 281912 w 1279401"/>
                  <a:gd name="connsiteY63" fmla="*/ 458332 h 1181694"/>
                  <a:gd name="connsiteX64" fmla="*/ 333179 w 1279401"/>
                  <a:gd name="connsiteY64" fmla="*/ 428634 h 1181694"/>
                  <a:gd name="connsiteX65" fmla="*/ 386843 w 1279401"/>
                  <a:gd name="connsiteY65" fmla="*/ 402557 h 1181694"/>
                  <a:gd name="connsiteX66" fmla="*/ 389240 w 1279401"/>
                  <a:gd name="connsiteY66" fmla="*/ 323423 h 1181694"/>
                  <a:gd name="connsiteX67" fmla="*/ 455813 w 1279401"/>
                  <a:gd name="connsiteY67" fmla="*/ 139259 h 1181694"/>
                  <a:gd name="connsiteX68" fmla="*/ 465034 w 1279401"/>
                  <a:gd name="connsiteY68" fmla="*/ 57409 h 1181694"/>
                  <a:gd name="connsiteX69" fmla="*/ 448153 w 1279401"/>
                  <a:gd name="connsiteY69" fmla="*/ 0 h 1181694"/>
                  <a:gd name="connsiteX0" fmla="*/ 448153 w 1279401"/>
                  <a:gd name="connsiteY0" fmla="*/ 0 h 1181694"/>
                  <a:gd name="connsiteX1" fmla="*/ 539058 w 1279401"/>
                  <a:gd name="connsiteY1" fmla="*/ 3666 h 1181694"/>
                  <a:gd name="connsiteX2" fmla="*/ 613633 w 1279401"/>
                  <a:gd name="connsiteY2" fmla="*/ 130534 h 1181694"/>
                  <a:gd name="connsiteX3" fmla="*/ 656324 w 1279401"/>
                  <a:gd name="connsiteY3" fmla="*/ 75672 h 1181694"/>
                  <a:gd name="connsiteX4" fmla="*/ 757919 w 1279401"/>
                  <a:gd name="connsiteY4" fmla="*/ 97103 h 1181694"/>
                  <a:gd name="connsiteX5" fmla="*/ 784398 w 1279401"/>
                  <a:gd name="connsiteY5" fmla="*/ 147250 h 1181694"/>
                  <a:gd name="connsiteX6" fmla="*/ 853569 w 1279401"/>
                  <a:gd name="connsiteY6" fmla="*/ 113819 h 1181694"/>
                  <a:gd name="connsiteX7" fmla="*/ 976239 w 1279401"/>
                  <a:gd name="connsiteY7" fmla="*/ 130534 h 1181694"/>
                  <a:gd name="connsiteX8" fmla="*/ 970835 w 1279401"/>
                  <a:gd name="connsiteY8" fmla="*/ 92817 h 1181694"/>
                  <a:gd name="connsiteX9" fmla="*/ 1002178 w 1279401"/>
                  <a:gd name="connsiteY9" fmla="*/ 92817 h 1181694"/>
                  <a:gd name="connsiteX10" fmla="*/ 1050813 w 1279401"/>
                  <a:gd name="connsiteY10" fmla="*/ 143393 h 1181694"/>
                  <a:gd name="connsiteX11" fmla="*/ 1279401 w 1279401"/>
                  <a:gd name="connsiteY11" fmla="*/ 113819 h 1181694"/>
                  <a:gd name="connsiteX12" fmla="*/ 1161990 w 1279401"/>
                  <a:gd name="connsiteY12" fmla="*/ 164217 h 1181694"/>
                  <a:gd name="connsiteX13" fmla="*/ 1160100 w 1279401"/>
                  <a:gd name="connsiteY13" fmla="*/ 281722 h 1181694"/>
                  <a:gd name="connsiteX14" fmla="*/ 1211030 w 1279401"/>
                  <a:gd name="connsiteY14" fmla="*/ 351326 h 1181694"/>
                  <a:gd name="connsiteX15" fmla="*/ 1176671 w 1279401"/>
                  <a:gd name="connsiteY15" fmla="*/ 475625 h 1181694"/>
                  <a:gd name="connsiteX16" fmla="*/ 1181135 w 1279401"/>
                  <a:gd name="connsiteY16" fmla="*/ 429304 h 1181694"/>
                  <a:gd name="connsiteX17" fmla="*/ 1141314 w 1279401"/>
                  <a:gd name="connsiteY17" fmla="*/ 429304 h 1181694"/>
                  <a:gd name="connsiteX18" fmla="*/ 1120421 w 1279401"/>
                  <a:gd name="connsiteY18" fmla="*/ 396238 h 1181694"/>
                  <a:gd name="connsiteX19" fmla="*/ 1095779 w 1279401"/>
                  <a:gd name="connsiteY19" fmla="*/ 396238 h 1181694"/>
                  <a:gd name="connsiteX20" fmla="*/ 1092743 w 1279401"/>
                  <a:gd name="connsiteY20" fmla="*/ 434985 h 1181694"/>
                  <a:gd name="connsiteX21" fmla="*/ 1046672 w 1279401"/>
                  <a:gd name="connsiteY21" fmla="*/ 447075 h 1181694"/>
                  <a:gd name="connsiteX22" fmla="*/ 1035244 w 1279401"/>
                  <a:gd name="connsiteY22" fmla="*/ 500970 h 1181694"/>
                  <a:gd name="connsiteX23" fmla="*/ 1039708 w 1279401"/>
                  <a:gd name="connsiteY23" fmla="*/ 539716 h 1181694"/>
                  <a:gd name="connsiteX24" fmla="*/ 1039708 w 1279401"/>
                  <a:gd name="connsiteY24" fmla="*/ 583269 h 1181694"/>
                  <a:gd name="connsiteX25" fmla="*/ 964351 w 1279401"/>
                  <a:gd name="connsiteY25" fmla="*/ 608323 h 1181694"/>
                  <a:gd name="connsiteX26" fmla="*/ 951137 w 1279401"/>
                  <a:gd name="connsiteY26" fmla="*/ 693682 h 1181694"/>
                  <a:gd name="connsiteX27" fmla="*/ 968816 w 1279401"/>
                  <a:gd name="connsiteY27" fmla="*/ 711453 h 1181694"/>
                  <a:gd name="connsiteX28" fmla="*/ 986494 w 1279401"/>
                  <a:gd name="connsiteY28" fmla="*/ 762726 h 1181694"/>
                  <a:gd name="connsiteX29" fmla="*/ 933280 w 1279401"/>
                  <a:gd name="connsiteY29" fmla="*/ 844589 h 1181694"/>
                  <a:gd name="connsiteX30" fmla="*/ 936673 w 1279401"/>
                  <a:gd name="connsiteY30" fmla="*/ 859446 h 1181694"/>
                  <a:gd name="connsiteX31" fmla="*/ 964351 w 1279401"/>
                  <a:gd name="connsiteY31" fmla="*/ 873138 h 1181694"/>
                  <a:gd name="connsiteX32" fmla="*/ 961316 w 1279401"/>
                  <a:gd name="connsiteY32" fmla="*/ 955001 h 1181694"/>
                  <a:gd name="connsiteX33" fmla="*/ 880245 w 1279401"/>
                  <a:gd name="connsiteY33" fmla="*/ 1020695 h 1181694"/>
                  <a:gd name="connsiteX34" fmla="*/ 802389 w 1279401"/>
                  <a:gd name="connsiteY34" fmla="*/ 1013412 h 1181694"/>
                  <a:gd name="connsiteX35" fmla="*/ 680961 w 1279401"/>
                  <a:gd name="connsiteY35" fmla="*/ 1005837 h 1181694"/>
                  <a:gd name="connsiteX36" fmla="*/ 635783 w 1279401"/>
                  <a:gd name="connsiteY36" fmla="*/ 1044584 h 1181694"/>
                  <a:gd name="connsiteX37" fmla="*/ 610426 w 1279401"/>
                  <a:gd name="connsiteY37" fmla="*/ 1031620 h 1181694"/>
                  <a:gd name="connsiteX38" fmla="*/ 480427 w 1279401"/>
                  <a:gd name="connsiteY38" fmla="*/ 1056674 h 1181694"/>
                  <a:gd name="connsiteX39" fmla="*/ 435752 w 1279401"/>
                  <a:gd name="connsiteY39" fmla="*/ 1118978 h 1181694"/>
                  <a:gd name="connsiteX40" fmla="*/ 426392 w 1279401"/>
                  <a:gd name="connsiteY40" fmla="*/ 1128043 h 1181694"/>
                  <a:gd name="connsiteX41" fmla="*/ 412105 w 1279401"/>
                  <a:gd name="connsiteY41" fmla="*/ 1130425 h 1181694"/>
                  <a:gd name="connsiteX42" fmla="*/ 400466 w 1279401"/>
                  <a:gd name="connsiteY42" fmla="*/ 1154409 h 1181694"/>
                  <a:gd name="connsiteX43" fmla="*/ 364451 w 1279401"/>
                  <a:gd name="connsiteY43" fmla="*/ 1171144 h 1181694"/>
                  <a:gd name="connsiteX44" fmla="*/ 360928 w 1279401"/>
                  <a:gd name="connsiteY44" fmla="*/ 1181694 h 1181694"/>
                  <a:gd name="connsiteX45" fmla="*/ 362410 w 1279401"/>
                  <a:gd name="connsiteY45" fmla="*/ 1171043 h 1181694"/>
                  <a:gd name="connsiteX46" fmla="*/ 319843 w 1279401"/>
                  <a:gd name="connsiteY46" fmla="*/ 1142402 h 1181694"/>
                  <a:gd name="connsiteX47" fmla="*/ 206104 w 1279401"/>
                  <a:gd name="connsiteY47" fmla="*/ 1096009 h 1181694"/>
                  <a:gd name="connsiteX48" fmla="*/ 89867 w 1279401"/>
                  <a:gd name="connsiteY48" fmla="*/ 1041567 h 1181694"/>
                  <a:gd name="connsiteX49" fmla="*/ 54338 w 1279401"/>
                  <a:gd name="connsiteY49" fmla="*/ 1041567 h 1181694"/>
                  <a:gd name="connsiteX50" fmla="*/ 43895 w 1279401"/>
                  <a:gd name="connsiteY50" fmla="*/ 1031271 h 1181694"/>
                  <a:gd name="connsiteX51" fmla="*/ 64441 w 1279401"/>
                  <a:gd name="connsiteY51" fmla="*/ 998132 h 1181694"/>
                  <a:gd name="connsiteX52" fmla="*/ 46846 w 1279401"/>
                  <a:gd name="connsiteY52" fmla="*/ 983220 h 1181694"/>
                  <a:gd name="connsiteX53" fmla="*/ 19149 w 1279401"/>
                  <a:gd name="connsiteY53" fmla="*/ 983220 h 1181694"/>
                  <a:gd name="connsiteX54" fmla="*/ 6890 w 1279401"/>
                  <a:gd name="connsiteY54" fmla="*/ 938128 h 1181694"/>
                  <a:gd name="connsiteX55" fmla="*/ 0 w 1279401"/>
                  <a:gd name="connsiteY55" fmla="*/ 937579 h 1181694"/>
                  <a:gd name="connsiteX56" fmla="*/ 776 w 1279401"/>
                  <a:gd name="connsiteY56" fmla="*/ 912545 h 1181694"/>
                  <a:gd name="connsiteX57" fmla="*/ 8244 w 1279401"/>
                  <a:gd name="connsiteY57" fmla="*/ 798410 h 1181694"/>
                  <a:gd name="connsiteX58" fmla="*/ 69654 w 1279401"/>
                  <a:gd name="connsiteY58" fmla="*/ 746620 h 1181694"/>
                  <a:gd name="connsiteX59" fmla="*/ 130510 w 1279401"/>
                  <a:gd name="connsiteY59" fmla="*/ 650282 h 1181694"/>
                  <a:gd name="connsiteX60" fmla="*/ 176797 w 1279401"/>
                  <a:gd name="connsiteY60" fmla="*/ 594146 h 1181694"/>
                  <a:gd name="connsiteX61" fmla="*/ 253697 w 1279401"/>
                  <a:gd name="connsiteY61" fmla="*/ 557929 h 1181694"/>
                  <a:gd name="connsiteX62" fmla="*/ 281912 w 1279401"/>
                  <a:gd name="connsiteY62" fmla="*/ 458332 h 1181694"/>
                  <a:gd name="connsiteX63" fmla="*/ 333179 w 1279401"/>
                  <a:gd name="connsiteY63" fmla="*/ 428634 h 1181694"/>
                  <a:gd name="connsiteX64" fmla="*/ 386843 w 1279401"/>
                  <a:gd name="connsiteY64" fmla="*/ 402557 h 1181694"/>
                  <a:gd name="connsiteX65" fmla="*/ 389240 w 1279401"/>
                  <a:gd name="connsiteY65" fmla="*/ 323423 h 1181694"/>
                  <a:gd name="connsiteX66" fmla="*/ 455813 w 1279401"/>
                  <a:gd name="connsiteY66" fmla="*/ 139259 h 1181694"/>
                  <a:gd name="connsiteX67" fmla="*/ 465034 w 1279401"/>
                  <a:gd name="connsiteY67" fmla="*/ 57409 h 1181694"/>
                  <a:gd name="connsiteX68" fmla="*/ 448153 w 1279401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5632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76239 w 1211030"/>
                  <a:gd name="connsiteY7" fmla="*/ 130534 h 1181694"/>
                  <a:gd name="connsiteX8" fmla="*/ 970835 w 1211030"/>
                  <a:gd name="connsiteY8" fmla="*/ 92817 h 1181694"/>
                  <a:gd name="connsiteX9" fmla="*/ 1002178 w 1211030"/>
                  <a:gd name="connsiteY9" fmla="*/ 92817 h 1181694"/>
                  <a:gd name="connsiteX10" fmla="*/ 1050813 w 1211030"/>
                  <a:gd name="connsiteY10" fmla="*/ 143393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5632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76239 w 1211030"/>
                  <a:gd name="connsiteY7" fmla="*/ 130534 h 1181694"/>
                  <a:gd name="connsiteX8" fmla="*/ 970835 w 1211030"/>
                  <a:gd name="connsiteY8" fmla="*/ 92817 h 1181694"/>
                  <a:gd name="connsiteX9" fmla="*/ 1002178 w 1211030"/>
                  <a:gd name="connsiteY9" fmla="*/ 92817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5632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76239 w 1211030"/>
                  <a:gd name="connsiteY7" fmla="*/ 130534 h 1181694"/>
                  <a:gd name="connsiteX8" fmla="*/ 970835 w 1211030"/>
                  <a:gd name="connsiteY8" fmla="*/ 928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5632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70835 w 1211030"/>
                  <a:gd name="connsiteY8" fmla="*/ 928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5632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13685 w 1211030"/>
                  <a:gd name="connsiteY8" fmla="*/ 1309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13633 w 1211030"/>
                  <a:gd name="connsiteY2" fmla="*/ 130534 h 1181694"/>
                  <a:gd name="connsiteX3" fmla="*/ 67537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13685 w 1211030"/>
                  <a:gd name="connsiteY8" fmla="*/ 1309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39058 w 1211030"/>
                  <a:gd name="connsiteY1" fmla="*/ 3666 h 1181694"/>
                  <a:gd name="connsiteX2" fmla="*/ 658083 w 1211030"/>
                  <a:gd name="connsiteY2" fmla="*/ 152759 h 1181694"/>
                  <a:gd name="connsiteX3" fmla="*/ 67537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13685 w 1211030"/>
                  <a:gd name="connsiteY8" fmla="*/ 1309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23183 w 1211030"/>
                  <a:gd name="connsiteY1" fmla="*/ 79866 h 1181694"/>
                  <a:gd name="connsiteX2" fmla="*/ 658083 w 1211030"/>
                  <a:gd name="connsiteY2" fmla="*/ 152759 h 1181694"/>
                  <a:gd name="connsiteX3" fmla="*/ 67537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13685 w 1211030"/>
                  <a:gd name="connsiteY8" fmla="*/ 1309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48153 w 1211030"/>
                  <a:gd name="connsiteY0" fmla="*/ 0 h 1181694"/>
                  <a:gd name="connsiteX1" fmla="*/ 523183 w 1211030"/>
                  <a:gd name="connsiteY1" fmla="*/ 79866 h 1181694"/>
                  <a:gd name="connsiteX2" fmla="*/ 658083 w 1211030"/>
                  <a:gd name="connsiteY2" fmla="*/ 152759 h 1181694"/>
                  <a:gd name="connsiteX3" fmla="*/ 675374 w 1211030"/>
                  <a:gd name="connsiteY3" fmla="*/ 75672 h 1181694"/>
                  <a:gd name="connsiteX4" fmla="*/ 757919 w 1211030"/>
                  <a:gd name="connsiteY4" fmla="*/ 97103 h 1181694"/>
                  <a:gd name="connsiteX5" fmla="*/ 784398 w 1211030"/>
                  <a:gd name="connsiteY5" fmla="*/ 147250 h 1181694"/>
                  <a:gd name="connsiteX6" fmla="*/ 853569 w 1211030"/>
                  <a:gd name="connsiteY6" fmla="*/ 113819 h 1181694"/>
                  <a:gd name="connsiteX7" fmla="*/ 925439 w 1211030"/>
                  <a:gd name="connsiteY7" fmla="*/ 197209 h 1181694"/>
                  <a:gd name="connsiteX8" fmla="*/ 913685 w 1211030"/>
                  <a:gd name="connsiteY8" fmla="*/ 130917 h 1181694"/>
                  <a:gd name="connsiteX9" fmla="*/ 1005353 w 1211030"/>
                  <a:gd name="connsiteY9" fmla="*/ 108692 h 1181694"/>
                  <a:gd name="connsiteX10" fmla="*/ 1041288 w 1211030"/>
                  <a:gd name="connsiteY10" fmla="*/ 102118 h 1181694"/>
                  <a:gd name="connsiteX11" fmla="*/ 1158751 w 1211030"/>
                  <a:gd name="connsiteY11" fmla="*/ 75719 h 1181694"/>
                  <a:gd name="connsiteX12" fmla="*/ 1161990 w 1211030"/>
                  <a:gd name="connsiteY12" fmla="*/ 164217 h 1181694"/>
                  <a:gd name="connsiteX13" fmla="*/ 1160100 w 1211030"/>
                  <a:gd name="connsiteY13" fmla="*/ 281722 h 1181694"/>
                  <a:gd name="connsiteX14" fmla="*/ 1211030 w 1211030"/>
                  <a:gd name="connsiteY14" fmla="*/ 351326 h 1181694"/>
                  <a:gd name="connsiteX15" fmla="*/ 1176671 w 1211030"/>
                  <a:gd name="connsiteY15" fmla="*/ 475625 h 1181694"/>
                  <a:gd name="connsiteX16" fmla="*/ 1181135 w 1211030"/>
                  <a:gd name="connsiteY16" fmla="*/ 429304 h 1181694"/>
                  <a:gd name="connsiteX17" fmla="*/ 1141314 w 1211030"/>
                  <a:gd name="connsiteY17" fmla="*/ 429304 h 1181694"/>
                  <a:gd name="connsiteX18" fmla="*/ 1120421 w 1211030"/>
                  <a:gd name="connsiteY18" fmla="*/ 396238 h 1181694"/>
                  <a:gd name="connsiteX19" fmla="*/ 1095779 w 1211030"/>
                  <a:gd name="connsiteY19" fmla="*/ 396238 h 1181694"/>
                  <a:gd name="connsiteX20" fmla="*/ 1092743 w 1211030"/>
                  <a:gd name="connsiteY20" fmla="*/ 434985 h 1181694"/>
                  <a:gd name="connsiteX21" fmla="*/ 1046672 w 1211030"/>
                  <a:gd name="connsiteY21" fmla="*/ 447075 h 1181694"/>
                  <a:gd name="connsiteX22" fmla="*/ 1035244 w 1211030"/>
                  <a:gd name="connsiteY22" fmla="*/ 500970 h 1181694"/>
                  <a:gd name="connsiteX23" fmla="*/ 1039708 w 1211030"/>
                  <a:gd name="connsiteY23" fmla="*/ 539716 h 1181694"/>
                  <a:gd name="connsiteX24" fmla="*/ 1039708 w 1211030"/>
                  <a:gd name="connsiteY24" fmla="*/ 583269 h 1181694"/>
                  <a:gd name="connsiteX25" fmla="*/ 964351 w 1211030"/>
                  <a:gd name="connsiteY25" fmla="*/ 608323 h 1181694"/>
                  <a:gd name="connsiteX26" fmla="*/ 951137 w 1211030"/>
                  <a:gd name="connsiteY26" fmla="*/ 693682 h 1181694"/>
                  <a:gd name="connsiteX27" fmla="*/ 968816 w 1211030"/>
                  <a:gd name="connsiteY27" fmla="*/ 711453 h 1181694"/>
                  <a:gd name="connsiteX28" fmla="*/ 986494 w 1211030"/>
                  <a:gd name="connsiteY28" fmla="*/ 762726 h 1181694"/>
                  <a:gd name="connsiteX29" fmla="*/ 933280 w 1211030"/>
                  <a:gd name="connsiteY29" fmla="*/ 844589 h 1181694"/>
                  <a:gd name="connsiteX30" fmla="*/ 936673 w 1211030"/>
                  <a:gd name="connsiteY30" fmla="*/ 859446 h 1181694"/>
                  <a:gd name="connsiteX31" fmla="*/ 964351 w 1211030"/>
                  <a:gd name="connsiteY31" fmla="*/ 873138 h 1181694"/>
                  <a:gd name="connsiteX32" fmla="*/ 961316 w 1211030"/>
                  <a:gd name="connsiteY32" fmla="*/ 955001 h 1181694"/>
                  <a:gd name="connsiteX33" fmla="*/ 880245 w 1211030"/>
                  <a:gd name="connsiteY33" fmla="*/ 1020695 h 1181694"/>
                  <a:gd name="connsiteX34" fmla="*/ 802389 w 1211030"/>
                  <a:gd name="connsiteY34" fmla="*/ 1013412 h 1181694"/>
                  <a:gd name="connsiteX35" fmla="*/ 680961 w 1211030"/>
                  <a:gd name="connsiteY35" fmla="*/ 1005837 h 1181694"/>
                  <a:gd name="connsiteX36" fmla="*/ 635783 w 1211030"/>
                  <a:gd name="connsiteY36" fmla="*/ 1044584 h 1181694"/>
                  <a:gd name="connsiteX37" fmla="*/ 610426 w 1211030"/>
                  <a:gd name="connsiteY37" fmla="*/ 1031620 h 1181694"/>
                  <a:gd name="connsiteX38" fmla="*/ 480427 w 1211030"/>
                  <a:gd name="connsiteY38" fmla="*/ 1056674 h 1181694"/>
                  <a:gd name="connsiteX39" fmla="*/ 435752 w 1211030"/>
                  <a:gd name="connsiteY39" fmla="*/ 1118978 h 1181694"/>
                  <a:gd name="connsiteX40" fmla="*/ 426392 w 1211030"/>
                  <a:gd name="connsiteY40" fmla="*/ 1128043 h 1181694"/>
                  <a:gd name="connsiteX41" fmla="*/ 412105 w 1211030"/>
                  <a:gd name="connsiteY41" fmla="*/ 1130425 h 1181694"/>
                  <a:gd name="connsiteX42" fmla="*/ 400466 w 1211030"/>
                  <a:gd name="connsiteY42" fmla="*/ 1154409 h 1181694"/>
                  <a:gd name="connsiteX43" fmla="*/ 364451 w 1211030"/>
                  <a:gd name="connsiteY43" fmla="*/ 1171144 h 1181694"/>
                  <a:gd name="connsiteX44" fmla="*/ 360928 w 1211030"/>
                  <a:gd name="connsiteY44" fmla="*/ 1181694 h 1181694"/>
                  <a:gd name="connsiteX45" fmla="*/ 362410 w 1211030"/>
                  <a:gd name="connsiteY45" fmla="*/ 1171043 h 1181694"/>
                  <a:gd name="connsiteX46" fmla="*/ 319843 w 1211030"/>
                  <a:gd name="connsiteY46" fmla="*/ 1142402 h 1181694"/>
                  <a:gd name="connsiteX47" fmla="*/ 206104 w 1211030"/>
                  <a:gd name="connsiteY47" fmla="*/ 1096009 h 1181694"/>
                  <a:gd name="connsiteX48" fmla="*/ 89867 w 1211030"/>
                  <a:gd name="connsiteY48" fmla="*/ 1041567 h 1181694"/>
                  <a:gd name="connsiteX49" fmla="*/ 54338 w 1211030"/>
                  <a:gd name="connsiteY49" fmla="*/ 1041567 h 1181694"/>
                  <a:gd name="connsiteX50" fmla="*/ 43895 w 1211030"/>
                  <a:gd name="connsiteY50" fmla="*/ 1031271 h 1181694"/>
                  <a:gd name="connsiteX51" fmla="*/ 64441 w 1211030"/>
                  <a:gd name="connsiteY51" fmla="*/ 998132 h 1181694"/>
                  <a:gd name="connsiteX52" fmla="*/ 46846 w 1211030"/>
                  <a:gd name="connsiteY52" fmla="*/ 983220 h 1181694"/>
                  <a:gd name="connsiteX53" fmla="*/ 19149 w 1211030"/>
                  <a:gd name="connsiteY53" fmla="*/ 983220 h 1181694"/>
                  <a:gd name="connsiteX54" fmla="*/ 6890 w 1211030"/>
                  <a:gd name="connsiteY54" fmla="*/ 938128 h 1181694"/>
                  <a:gd name="connsiteX55" fmla="*/ 0 w 1211030"/>
                  <a:gd name="connsiteY55" fmla="*/ 937579 h 1181694"/>
                  <a:gd name="connsiteX56" fmla="*/ 776 w 1211030"/>
                  <a:gd name="connsiteY56" fmla="*/ 912545 h 1181694"/>
                  <a:gd name="connsiteX57" fmla="*/ 8244 w 1211030"/>
                  <a:gd name="connsiteY57" fmla="*/ 798410 h 1181694"/>
                  <a:gd name="connsiteX58" fmla="*/ 69654 w 1211030"/>
                  <a:gd name="connsiteY58" fmla="*/ 746620 h 1181694"/>
                  <a:gd name="connsiteX59" fmla="*/ 130510 w 1211030"/>
                  <a:gd name="connsiteY59" fmla="*/ 650282 h 1181694"/>
                  <a:gd name="connsiteX60" fmla="*/ 176797 w 1211030"/>
                  <a:gd name="connsiteY60" fmla="*/ 594146 h 1181694"/>
                  <a:gd name="connsiteX61" fmla="*/ 253697 w 1211030"/>
                  <a:gd name="connsiteY61" fmla="*/ 557929 h 1181694"/>
                  <a:gd name="connsiteX62" fmla="*/ 281912 w 1211030"/>
                  <a:gd name="connsiteY62" fmla="*/ 458332 h 1181694"/>
                  <a:gd name="connsiteX63" fmla="*/ 333179 w 1211030"/>
                  <a:gd name="connsiteY63" fmla="*/ 428634 h 1181694"/>
                  <a:gd name="connsiteX64" fmla="*/ 386843 w 1211030"/>
                  <a:gd name="connsiteY64" fmla="*/ 402557 h 1181694"/>
                  <a:gd name="connsiteX65" fmla="*/ 389240 w 1211030"/>
                  <a:gd name="connsiteY65" fmla="*/ 323423 h 1181694"/>
                  <a:gd name="connsiteX66" fmla="*/ 455813 w 1211030"/>
                  <a:gd name="connsiteY66" fmla="*/ 139259 h 1181694"/>
                  <a:gd name="connsiteX67" fmla="*/ 465034 w 1211030"/>
                  <a:gd name="connsiteY67" fmla="*/ 57409 h 1181694"/>
                  <a:gd name="connsiteX68" fmla="*/ 448153 w 1211030"/>
                  <a:gd name="connsiteY68" fmla="*/ 0 h 1181694"/>
                  <a:gd name="connsiteX0" fmla="*/ 464028 w 1211030"/>
                  <a:gd name="connsiteY0" fmla="*/ 4222 h 1141466"/>
                  <a:gd name="connsiteX1" fmla="*/ 523183 w 1211030"/>
                  <a:gd name="connsiteY1" fmla="*/ 39638 h 1141466"/>
                  <a:gd name="connsiteX2" fmla="*/ 658083 w 1211030"/>
                  <a:gd name="connsiteY2" fmla="*/ 112531 h 1141466"/>
                  <a:gd name="connsiteX3" fmla="*/ 675374 w 1211030"/>
                  <a:gd name="connsiteY3" fmla="*/ 35444 h 1141466"/>
                  <a:gd name="connsiteX4" fmla="*/ 757919 w 1211030"/>
                  <a:gd name="connsiteY4" fmla="*/ 56875 h 1141466"/>
                  <a:gd name="connsiteX5" fmla="*/ 784398 w 1211030"/>
                  <a:gd name="connsiteY5" fmla="*/ 107022 h 1141466"/>
                  <a:gd name="connsiteX6" fmla="*/ 853569 w 1211030"/>
                  <a:gd name="connsiteY6" fmla="*/ 73591 h 1141466"/>
                  <a:gd name="connsiteX7" fmla="*/ 925439 w 1211030"/>
                  <a:gd name="connsiteY7" fmla="*/ 156981 h 1141466"/>
                  <a:gd name="connsiteX8" fmla="*/ 913685 w 1211030"/>
                  <a:gd name="connsiteY8" fmla="*/ 90689 h 1141466"/>
                  <a:gd name="connsiteX9" fmla="*/ 1005353 w 1211030"/>
                  <a:gd name="connsiteY9" fmla="*/ 68464 h 1141466"/>
                  <a:gd name="connsiteX10" fmla="*/ 1041288 w 1211030"/>
                  <a:gd name="connsiteY10" fmla="*/ 61890 h 1141466"/>
                  <a:gd name="connsiteX11" fmla="*/ 1158751 w 1211030"/>
                  <a:gd name="connsiteY11" fmla="*/ 35491 h 1141466"/>
                  <a:gd name="connsiteX12" fmla="*/ 1161990 w 1211030"/>
                  <a:gd name="connsiteY12" fmla="*/ 123989 h 1141466"/>
                  <a:gd name="connsiteX13" fmla="*/ 1160100 w 1211030"/>
                  <a:gd name="connsiteY13" fmla="*/ 241494 h 1141466"/>
                  <a:gd name="connsiteX14" fmla="*/ 1211030 w 1211030"/>
                  <a:gd name="connsiteY14" fmla="*/ 311098 h 1141466"/>
                  <a:gd name="connsiteX15" fmla="*/ 1176671 w 1211030"/>
                  <a:gd name="connsiteY15" fmla="*/ 435397 h 1141466"/>
                  <a:gd name="connsiteX16" fmla="*/ 1181135 w 1211030"/>
                  <a:gd name="connsiteY16" fmla="*/ 389076 h 1141466"/>
                  <a:gd name="connsiteX17" fmla="*/ 1141314 w 1211030"/>
                  <a:gd name="connsiteY17" fmla="*/ 389076 h 1141466"/>
                  <a:gd name="connsiteX18" fmla="*/ 1120421 w 1211030"/>
                  <a:gd name="connsiteY18" fmla="*/ 356010 h 1141466"/>
                  <a:gd name="connsiteX19" fmla="*/ 1095779 w 1211030"/>
                  <a:gd name="connsiteY19" fmla="*/ 356010 h 1141466"/>
                  <a:gd name="connsiteX20" fmla="*/ 1092743 w 1211030"/>
                  <a:gd name="connsiteY20" fmla="*/ 394757 h 1141466"/>
                  <a:gd name="connsiteX21" fmla="*/ 1046672 w 1211030"/>
                  <a:gd name="connsiteY21" fmla="*/ 406847 h 1141466"/>
                  <a:gd name="connsiteX22" fmla="*/ 1035244 w 1211030"/>
                  <a:gd name="connsiteY22" fmla="*/ 460742 h 1141466"/>
                  <a:gd name="connsiteX23" fmla="*/ 1039708 w 1211030"/>
                  <a:gd name="connsiteY23" fmla="*/ 499488 h 1141466"/>
                  <a:gd name="connsiteX24" fmla="*/ 1039708 w 1211030"/>
                  <a:gd name="connsiteY24" fmla="*/ 543041 h 1141466"/>
                  <a:gd name="connsiteX25" fmla="*/ 964351 w 1211030"/>
                  <a:gd name="connsiteY25" fmla="*/ 568095 h 1141466"/>
                  <a:gd name="connsiteX26" fmla="*/ 951137 w 1211030"/>
                  <a:gd name="connsiteY26" fmla="*/ 653454 h 1141466"/>
                  <a:gd name="connsiteX27" fmla="*/ 968816 w 1211030"/>
                  <a:gd name="connsiteY27" fmla="*/ 671225 h 1141466"/>
                  <a:gd name="connsiteX28" fmla="*/ 986494 w 1211030"/>
                  <a:gd name="connsiteY28" fmla="*/ 722498 h 1141466"/>
                  <a:gd name="connsiteX29" fmla="*/ 933280 w 1211030"/>
                  <a:gd name="connsiteY29" fmla="*/ 804361 h 1141466"/>
                  <a:gd name="connsiteX30" fmla="*/ 936673 w 1211030"/>
                  <a:gd name="connsiteY30" fmla="*/ 819218 h 1141466"/>
                  <a:gd name="connsiteX31" fmla="*/ 964351 w 1211030"/>
                  <a:gd name="connsiteY31" fmla="*/ 832910 h 1141466"/>
                  <a:gd name="connsiteX32" fmla="*/ 961316 w 1211030"/>
                  <a:gd name="connsiteY32" fmla="*/ 914773 h 1141466"/>
                  <a:gd name="connsiteX33" fmla="*/ 880245 w 1211030"/>
                  <a:gd name="connsiteY33" fmla="*/ 980467 h 1141466"/>
                  <a:gd name="connsiteX34" fmla="*/ 802389 w 1211030"/>
                  <a:gd name="connsiteY34" fmla="*/ 973184 h 1141466"/>
                  <a:gd name="connsiteX35" fmla="*/ 680961 w 1211030"/>
                  <a:gd name="connsiteY35" fmla="*/ 965609 h 1141466"/>
                  <a:gd name="connsiteX36" fmla="*/ 635783 w 1211030"/>
                  <a:gd name="connsiteY36" fmla="*/ 1004356 h 1141466"/>
                  <a:gd name="connsiteX37" fmla="*/ 610426 w 1211030"/>
                  <a:gd name="connsiteY37" fmla="*/ 991392 h 1141466"/>
                  <a:gd name="connsiteX38" fmla="*/ 480427 w 1211030"/>
                  <a:gd name="connsiteY38" fmla="*/ 1016446 h 1141466"/>
                  <a:gd name="connsiteX39" fmla="*/ 435752 w 1211030"/>
                  <a:gd name="connsiteY39" fmla="*/ 1078750 h 1141466"/>
                  <a:gd name="connsiteX40" fmla="*/ 426392 w 1211030"/>
                  <a:gd name="connsiteY40" fmla="*/ 1087815 h 1141466"/>
                  <a:gd name="connsiteX41" fmla="*/ 412105 w 1211030"/>
                  <a:gd name="connsiteY41" fmla="*/ 1090197 h 1141466"/>
                  <a:gd name="connsiteX42" fmla="*/ 400466 w 1211030"/>
                  <a:gd name="connsiteY42" fmla="*/ 1114181 h 1141466"/>
                  <a:gd name="connsiteX43" fmla="*/ 364451 w 1211030"/>
                  <a:gd name="connsiteY43" fmla="*/ 1130916 h 1141466"/>
                  <a:gd name="connsiteX44" fmla="*/ 360928 w 1211030"/>
                  <a:gd name="connsiteY44" fmla="*/ 1141466 h 1141466"/>
                  <a:gd name="connsiteX45" fmla="*/ 362410 w 1211030"/>
                  <a:gd name="connsiteY45" fmla="*/ 1130815 h 1141466"/>
                  <a:gd name="connsiteX46" fmla="*/ 319843 w 1211030"/>
                  <a:gd name="connsiteY46" fmla="*/ 1102174 h 1141466"/>
                  <a:gd name="connsiteX47" fmla="*/ 206104 w 1211030"/>
                  <a:gd name="connsiteY47" fmla="*/ 1055781 h 1141466"/>
                  <a:gd name="connsiteX48" fmla="*/ 89867 w 1211030"/>
                  <a:gd name="connsiteY48" fmla="*/ 1001339 h 1141466"/>
                  <a:gd name="connsiteX49" fmla="*/ 54338 w 1211030"/>
                  <a:gd name="connsiteY49" fmla="*/ 1001339 h 1141466"/>
                  <a:gd name="connsiteX50" fmla="*/ 43895 w 1211030"/>
                  <a:gd name="connsiteY50" fmla="*/ 991043 h 1141466"/>
                  <a:gd name="connsiteX51" fmla="*/ 64441 w 1211030"/>
                  <a:gd name="connsiteY51" fmla="*/ 957904 h 1141466"/>
                  <a:gd name="connsiteX52" fmla="*/ 46846 w 1211030"/>
                  <a:gd name="connsiteY52" fmla="*/ 942992 h 1141466"/>
                  <a:gd name="connsiteX53" fmla="*/ 19149 w 1211030"/>
                  <a:gd name="connsiteY53" fmla="*/ 942992 h 1141466"/>
                  <a:gd name="connsiteX54" fmla="*/ 6890 w 1211030"/>
                  <a:gd name="connsiteY54" fmla="*/ 897900 h 1141466"/>
                  <a:gd name="connsiteX55" fmla="*/ 0 w 1211030"/>
                  <a:gd name="connsiteY55" fmla="*/ 897351 h 1141466"/>
                  <a:gd name="connsiteX56" fmla="*/ 776 w 1211030"/>
                  <a:gd name="connsiteY56" fmla="*/ 872317 h 1141466"/>
                  <a:gd name="connsiteX57" fmla="*/ 8244 w 1211030"/>
                  <a:gd name="connsiteY57" fmla="*/ 758182 h 1141466"/>
                  <a:gd name="connsiteX58" fmla="*/ 69654 w 1211030"/>
                  <a:gd name="connsiteY58" fmla="*/ 706392 h 1141466"/>
                  <a:gd name="connsiteX59" fmla="*/ 130510 w 1211030"/>
                  <a:gd name="connsiteY59" fmla="*/ 610054 h 1141466"/>
                  <a:gd name="connsiteX60" fmla="*/ 176797 w 1211030"/>
                  <a:gd name="connsiteY60" fmla="*/ 553918 h 1141466"/>
                  <a:gd name="connsiteX61" fmla="*/ 253697 w 1211030"/>
                  <a:gd name="connsiteY61" fmla="*/ 517701 h 1141466"/>
                  <a:gd name="connsiteX62" fmla="*/ 281912 w 1211030"/>
                  <a:gd name="connsiteY62" fmla="*/ 418104 h 1141466"/>
                  <a:gd name="connsiteX63" fmla="*/ 333179 w 1211030"/>
                  <a:gd name="connsiteY63" fmla="*/ 388406 h 1141466"/>
                  <a:gd name="connsiteX64" fmla="*/ 386843 w 1211030"/>
                  <a:gd name="connsiteY64" fmla="*/ 362329 h 1141466"/>
                  <a:gd name="connsiteX65" fmla="*/ 389240 w 1211030"/>
                  <a:gd name="connsiteY65" fmla="*/ 283195 h 1141466"/>
                  <a:gd name="connsiteX66" fmla="*/ 455813 w 1211030"/>
                  <a:gd name="connsiteY66" fmla="*/ 99031 h 1141466"/>
                  <a:gd name="connsiteX67" fmla="*/ 465034 w 1211030"/>
                  <a:gd name="connsiteY67" fmla="*/ 17181 h 1141466"/>
                  <a:gd name="connsiteX68" fmla="*/ 464028 w 1211030"/>
                  <a:gd name="connsiteY68" fmla="*/ 4222 h 1141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211030" h="1141466">
                    <a:moveTo>
                      <a:pt x="464028" y="4222"/>
                    </a:moveTo>
                    <a:cubicBezTo>
                      <a:pt x="489038" y="30844"/>
                      <a:pt x="510873" y="-40959"/>
                      <a:pt x="523183" y="39638"/>
                    </a:cubicBezTo>
                    <a:lnTo>
                      <a:pt x="658083" y="112531"/>
                    </a:lnTo>
                    <a:lnTo>
                      <a:pt x="675374" y="35444"/>
                    </a:lnTo>
                    <a:lnTo>
                      <a:pt x="757919" y="56875"/>
                    </a:lnTo>
                    <a:lnTo>
                      <a:pt x="784398" y="107022"/>
                    </a:lnTo>
                    <a:lnTo>
                      <a:pt x="853569" y="73591"/>
                    </a:lnTo>
                    <a:lnTo>
                      <a:pt x="925439" y="156981"/>
                    </a:lnTo>
                    <a:lnTo>
                      <a:pt x="913685" y="90689"/>
                    </a:lnTo>
                    <a:lnTo>
                      <a:pt x="1005353" y="68464"/>
                    </a:lnTo>
                    <a:lnTo>
                      <a:pt x="1041288" y="61890"/>
                    </a:lnTo>
                    <a:lnTo>
                      <a:pt x="1158751" y="35491"/>
                    </a:lnTo>
                    <a:lnTo>
                      <a:pt x="1161990" y="123989"/>
                    </a:lnTo>
                    <a:lnTo>
                      <a:pt x="1160100" y="241494"/>
                    </a:lnTo>
                    <a:lnTo>
                      <a:pt x="1211030" y="311098"/>
                    </a:lnTo>
                    <a:lnTo>
                      <a:pt x="1176671" y="435397"/>
                    </a:lnTo>
                    <a:cubicBezTo>
                      <a:pt x="1178099" y="419956"/>
                      <a:pt x="1179707" y="404516"/>
                      <a:pt x="1181135" y="389076"/>
                    </a:cubicBezTo>
                    <a:lnTo>
                      <a:pt x="1141314" y="389076"/>
                    </a:lnTo>
                    <a:lnTo>
                      <a:pt x="1120421" y="356010"/>
                    </a:lnTo>
                    <a:lnTo>
                      <a:pt x="1095779" y="356010"/>
                    </a:lnTo>
                    <a:cubicBezTo>
                      <a:pt x="1094707" y="368974"/>
                      <a:pt x="1093814" y="381793"/>
                      <a:pt x="1092743" y="394757"/>
                    </a:cubicBezTo>
                    <a:lnTo>
                      <a:pt x="1046672" y="406847"/>
                    </a:lnTo>
                    <a:cubicBezTo>
                      <a:pt x="1042922" y="424763"/>
                      <a:pt x="1038994" y="442825"/>
                      <a:pt x="1035244" y="460742"/>
                    </a:cubicBezTo>
                    <a:cubicBezTo>
                      <a:pt x="1036672" y="473706"/>
                      <a:pt x="1038279" y="486524"/>
                      <a:pt x="1039708" y="499488"/>
                    </a:cubicBezTo>
                    <a:lnTo>
                      <a:pt x="1039708" y="543041"/>
                    </a:lnTo>
                    <a:lnTo>
                      <a:pt x="964351" y="568095"/>
                    </a:lnTo>
                    <a:cubicBezTo>
                      <a:pt x="960066" y="596500"/>
                      <a:pt x="955601" y="625050"/>
                      <a:pt x="951137" y="653454"/>
                    </a:cubicBezTo>
                    <a:lnTo>
                      <a:pt x="968816" y="671225"/>
                    </a:lnTo>
                    <a:lnTo>
                      <a:pt x="986494" y="722498"/>
                    </a:lnTo>
                    <a:lnTo>
                      <a:pt x="933280" y="804361"/>
                    </a:lnTo>
                    <a:cubicBezTo>
                      <a:pt x="934352" y="809313"/>
                      <a:pt x="935602" y="814266"/>
                      <a:pt x="936673" y="819218"/>
                    </a:cubicBezTo>
                    <a:lnTo>
                      <a:pt x="964351" y="832910"/>
                    </a:lnTo>
                    <a:cubicBezTo>
                      <a:pt x="963280" y="860149"/>
                      <a:pt x="962387" y="887534"/>
                      <a:pt x="961316" y="914773"/>
                    </a:cubicBezTo>
                    <a:lnTo>
                      <a:pt x="880245" y="980467"/>
                    </a:lnTo>
                    <a:lnTo>
                      <a:pt x="802389" y="973184"/>
                    </a:lnTo>
                    <a:lnTo>
                      <a:pt x="680961" y="965609"/>
                    </a:lnTo>
                    <a:lnTo>
                      <a:pt x="635783" y="1004356"/>
                    </a:lnTo>
                    <a:lnTo>
                      <a:pt x="610426" y="991392"/>
                    </a:lnTo>
                    <a:lnTo>
                      <a:pt x="480427" y="1016446"/>
                    </a:lnTo>
                    <a:cubicBezTo>
                      <a:pt x="451315" y="1031006"/>
                      <a:pt x="444758" y="1066855"/>
                      <a:pt x="435752" y="1078750"/>
                    </a:cubicBezTo>
                    <a:lnTo>
                      <a:pt x="426392" y="1087815"/>
                    </a:lnTo>
                    <a:cubicBezTo>
                      <a:pt x="422451" y="1089723"/>
                      <a:pt x="416426" y="1085803"/>
                      <a:pt x="412105" y="1090197"/>
                    </a:cubicBezTo>
                    <a:cubicBezTo>
                      <a:pt x="453469" y="1103748"/>
                      <a:pt x="359102" y="1100630"/>
                      <a:pt x="400466" y="1114181"/>
                    </a:cubicBezTo>
                    <a:lnTo>
                      <a:pt x="364451" y="1130916"/>
                    </a:lnTo>
                    <a:cubicBezTo>
                      <a:pt x="357464" y="1144988"/>
                      <a:pt x="361999" y="1130170"/>
                      <a:pt x="360928" y="1141466"/>
                    </a:cubicBezTo>
                    <a:lnTo>
                      <a:pt x="362410" y="1130815"/>
                    </a:lnTo>
                    <a:lnTo>
                      <a:pt x="319843" y="1102174"/>
                    </a:lnTo>
                    <a:lnTo>
                      <a:pt x="206104" y="1055781"/>
                    </a:lnTo>
                    <a:lnTo>
                      <a:pt x="89867" y="1001339"/>
                    </a:lnTo>
                    <a:lnTo>
                      <a:pt x="54338" y="1001339"/>
                    </a:lnTo>
                    <a:cubicBezTo>
                      <a:pt x="50819" y="997907"/>
                      <a:pt x="47414" y="994475"/>
                      <a:pt x="43895" y="991043"/>
                    </a:cubicBezTo>
                    <a:lnTo>
                      <a:pt x="64441" y="957904"/>
                    </a:lnTo>
                    <a:lnTo>
                      <a:pt x="46846" y="942992"/>
                    </a:lnTo>
                    <a:lnTo>
                      <a:pt x="19149" y="942992"/>
                    </a:lnTo>
                    <a:cubicBezTo>
                      <a:pt x="16652" y="923937"/>
                      <a:pt x="9387" y="916955"/>
                      <a:pt x="6890" y="897900"/>
                    </a:cubicBezTo>
                    <a:lnTo>
                      <a:pt x="0" y="897351"/>
                    </a:lnTo>
                    <a:cubicBezTo>
                      <a:pt x="259" y="889006"/>
                      <a:pt x="517" y="880662"/>
                      <a:pt x="776" y="872317"/>
                    </a:cubicBezTo>
                    <a:cubicBezTo>
                      <a:pt x="3265" y="834272"/>
                      <a:pt x="9074" y="784259"/>
                      <a:pt x="8244" y="758182"/>
                    </a:cubicBezTo>
                    <a:cubicBezTo>
                      <a:pt x="15436" y="730476"/>
                      <a:pt x="62646" y="734098"/>
                      <a:pt x="69654" y="706392"/>
                    </a:cubicBezTo>
                    <a:lnTo>
                      <a:pt x="130510" y="610054"/>
                    </a:lnTo>
                    <a:lnTo>
                      <a:pt x="176797" y="553918"/>
                    </a:lnTo>
                    <a:cubicBezTo>
                      <a:pt x="190628" y="533998"/>
                      <a:pt x="239866" y="537620"/>
                      <a:pt x="253697" y="517701"/>
                    </a:cubicBezTo>
                    <a:lnTo>
                      <a:pt x="281912" y="418104"/>
                    </a:lnTo>
                    <a:cubicBezTo>
                      <a:pt x="290211" y="413758"/>
                      <a:pt x="324881" y="392752"/>
                      <a:pt x="333179" y="388406"/>
                    </a:cubicBezTo>
                    <a:cubicBezTo>
                      <a:pt x="339265" y="390760"/>
                      <a:pt x="380757" y="359975"/>
                      <a:pt x="386843" y="362329"/>
                    </a:cubicBezTo>
                    <a:cubicBezTo>
                      <a:pt x="401965" y="334442"/>
                      <a:pt x="374119" y="311082"/>
                      <a:pt x="389240" y="283195"/>
                    </a:cubicBezTo>
                    <a:cubicBezTo>
                      <a:pt x="401043" y="223437"/>
                      <a:pt x="444011" y="158789"/>
                      <a:pt x="455813" y="99031"/>
                    </a:cubicBezTo>
                    <a:cubicBezTo>
                      <a:pt x="470013" y="71687"/>
                      <a:pt x="451019" y="44524"/>
                      <a:pt x="465034" y="17181"/>
                    </a:cubicBezTo>
                    <a:cubicBezTo>
                      <a:pt x="464699" y="12861"/>
                      <a:pt x="464363" y="8542"/>
                      <a:pt x="464028" y="422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: TO">
                <a:hlinkClick r:id="" action="ppaction://noaction"/>
                <a:extLst>
                  <a:ext uri="{FF2B5EF4-FFF2-40B4-BE49-F238E27FC236}">
                    <a16:creationId xmlns:a16="http://schemas.microsoft.com/office/drawing/2014/main" id="{BCA358B8-7128-DBE9-DCF1-29EA7C4F4F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4443" y="1886752"/>
                <a:ext cx="797648" cy="1373820"/>
              </a:xfrm>
              <a:custGeom>
                <a:avLst/>
                <a:gdLst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8744 w 1020761"/>
                  <a:gd name="connsiteY35" fmla="*/ 1395247 h 1705654"/>
                  <a:gd name="connsiteX36" fmla="*/ 715505 w 1020761"/>
                  <a:gd name="connsiteY36" fmla="*/ 1306749 h 1705654"/>
                  <a:gd name="connsiteX37" fmla="*/ 598042 w 1020761"/>
                  <a:gd name="connsiteY37" fmla="*/ 1333148 h 1705654"/>
                  <a:gd name="connsiteX38" fmla="*/ 562107 w 1020761"/>
                  <a:gd name="connsiteY38" fmla="*/ 1339722 h 1705654"/>
                  <a:gd name="connsiteX39" fmla="*/ 470439 w 1020761"/>
                  <a:gd name="connsiteY39" fmla="*/ 1361947 h 1705654"/>
                  <a:gd name="connsiteX40" fmla="*/ 482193 w 1020761"/>
                  <a:gd name="connsiteY40" fmla="*/ 1428239 h 1705654"/>
                  <a:gd name="connsiteX41" fmla="*/ 410323 w 1020761"/>
                  <a:gd name="connsiteY41" fmla="*/ 1344849 h 1705654"/>
                  <a:gd name="connsiteX42" fmla="*/ 341152 w 1020761"/>
                  <a:gd name="connsiteY42" fmla="*/ 1378280 h 1705654"/>
                  <a:gd name="connsiteX43" fmla="*/ 314673 w 1020761"/>
                  <a:gd name="connsiteY43" fmla="*/ 1328133 h 1705654"/>
                  <a:gd name="connsiteX44" fmla="*/ 232128 w 1020761"/>
                  <a:gd name="connsiteY44" fmla="*/ 1306702 h 1705654"/>
                  <a:gd name="connsiteX45" fmla="*/ 214837 w 1020761"/>
                  <a:gd name="connsiteY45" fmla="*/ 1383789 h 1705654"/>
                  <a:gd name="connsiteX46" fmla="*/ 79937 w 1020761"/>
                  <a:gd name="connsiteY46" fmla="*/ 1310896 h 1705654"/>
                  <a:gd name="connsiteX47" fmla="*/ 30000 w 1020761"/>
                  <a:gd name="connsiteY47" fmla="*/ 1281339 h 1705654"/>
                  <a:gd name="connsiteX48" fmla="*/ 21743 w 1020761"/>
                  <a:gd name="connsiteY48" fmla="*/ 1276091 h 1705654"/>
                  <a:gd name="connsiteX49" fmla="*/ 0 w 1020761"/>
                  <a:gd name="connsiteY49" fmla="*/ 1202146 h 1705654"/>
                  <a:gd name="connsiteX50" fmla="*/ 6865 w 1020761"/>
                  <a:gd name="connsiteY50" fmla="*/ 1119006 h 1705654"/>
                  <a:gd name="connsiteX51" fmla="*/ 12673 w 1020761"/>
                  <a:gd name="connsiteY51" fmla="*/ 1119006 h 1705654"/>
                  <a:gd name="connsiteX52" fmla="*/ 22343 w 1020761"/>
                  <a:gd name="connsiteY52" fmla="*/ 1001889 h 1705654"/>
                  <a:gd name="connsiteX53" fmla="*/ 97952 w 1020761"/>
                  <a:gd name="connsiteY53" fmla="*/ 792917 h 1705654"/>
                  <a:gd name="connsiteX54" fmla="*/ 92136 w 1020761"/>
                  <a:gd name="connsiteY54" fmla="*/ 792361 h 1705654"/>
                  <a:gd name="connsiteX55" fmla="*/ 92206 w 1020761"/>
                  <a:gd name="connsiteY55" fmla="*/ 792169 h 1705654"/>
                  <a:gd name="connsiteX56" fmla="*/ 55245 w 1020761"/>
                  <a:gd name="connsiteY56" fmla="*/ 788636 h 1705654"/>
                  <a:gd name="connsiteX57" fmla="*/ 124947 w 1020761"/>
                  <a:gd name="connsiteY57" fmla="*/ 670139 h 1705654"/>
                  <a:gd name="connsiteX58" fmla="*/ 195838 w 1020761"/>
                  <a:gd name="connsiteY58" fmla="*/ 575978 h 1705654"/>
                  <a:gd name="connsiteX59" fmla="*/ 228471 w 1020761"/>
                  <a:gd name="connsiteY59" fmla="*/ 454859 h 1705654"/>
                  <a:gd name="connsiteX60" fmla="*/ 210842 w 1020761"/>
                  <a:gd name="connsiteY60" fmla="*/ 408538 h 1705654"/>
                  <a:gd name="connsiteX61" fmla="*/ 235972 w 1020761"/>
                  <a:gd name="connsiteY61" fmla="*/ 332222 h 1705654"/>
                  <a:gd name="connsiteX62" fmla="*/ 235972 w 1020761"/>
                  <a:gd name="connsiteY62" fmla="*/ 306783 h 1705654"/>
                  <a:gd name="connsiteX63" fmla="*/ 295236 w 1020761"/>
                  <a:gd name="connsiteY63" fmla="*/ 270714 h 1705654"/>
                  <a:gd name="connsiteX64" fmla="*/ 370627 w 1020761"/>
                  <a:gd name="connsiteY64" fmla="*/ 185665 h 1705654"/>
                  <a:gd name="connsiteX65" fmla="*/ 401759 w 1020761"/>
                  <a:gd name="connsiteY65" fmla="*/ 73658 h 1705654"/>
                  <a:gd name="connsiteX66" fmla="*/ 373628 w 1020761"/>
                  <a:gd name="connsiteY66" fmla="*/ 52396 h 1705654"/>
                  <a:gd name="connsiteX67" fmla="*/ 324492 w 1020761"/>
                  <a:gd name="connsiteY67" fmla="*/ 42145 h 1705654"/>
                  <a:gd name="connsiteX68" fmla="*/ 366877 w 1020761"/>
                  <a:gd name="connsiteY68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8744 w 1020761"/>
                  <a:gd name="connsiteY35" fmla="*/ 1395247 h 1705654"/>
                  <a:gd name="connsiteX36" fmla="*/ 715505 w 1020761"/>
                  <a:gd name="connsiteY36" fmla="*/ 1306749 h 1705654"/>
                  <a:gd name="connsiteX37" fmla="*/ 598042 w 1020761"/>
                  <a:gd name="connsiteY37" fmla="*/ 1333148 h 1705654"/>
                  <a:gd name="connsiteX38" fmla="*/ 562107 w 1020761"/>
                  <a:gd name="connsiteY38" fmla="*/ 1339722 h 1705654"/>
                  <a:gd name="connsiteX39" fmla="*/ 470439 w 1020761"/>
                  <a:gd name="connsiteY39" fmla="*/ 1361947 h 1705654"/>
                  <a:gd name="connsiteX40" fmla="*/ 482193 w 1020761"/>
                  <a:gd name="connsiteY40" fmla="*/ 1428239 h 1705654"/>
                  <a:gd name="connsiteX41" fmla="*/ 410323 w 1020761"/>
                  <a:gd name="connsiteY41" fmla="*/ 1344849 h 1705654"/>
                  <a:gd name="connsiteX42" fmla="*/ 341152 w 1020761"/>
                  <a:gd name="connsiteY42" fmla="*/ 1378280 h 1705654"/>
                  <a:gd name="connsiteX43" fmla="*/ 314673 w 1020761"/>
                  <a:gd name="connsiteY43" fmla="*/ 1328133 h 1705654"/>
                  <a:gd name="connsiteX44" fmla="*/ 232128 w 1020761"/>
                  <a:gd name="connsiteY44" fmla="*/ 1306702 h 1705654"/>
                  <a:gd name="connsiteX45" fmla="*/ 214837 w 1020761"/>
                  <a:gd name="connsiteY45" fmla="*/ 1383789 h 1705654"/>
                  <a:gd name="connsiteX46" fmla="*/ 79937 w 1020761"/>
                  <a:gd name="connsiteY46" fmla="*/ 1310896 h 1705654"/>
                  <a:gd name="connsiteX47" fmla="*/ 30000 w 1020761"/>
                  <a:gd name="connsiteY47" fmla="*/ 1281339 h 1705654"/>
                  <a:gd name="connsiteX48" fmla="*/ 21743 w 1020761"/>
                  <a:gd name="connsiteY48" fmla="*/ 1276091 h 1705654"/>
                  <a:gd name="connsiteX49" fmla="*/ 0 w 1020761"/>
                  <a:gd name="connsiteY49" fmla="*/ 1202146 h 1705654"/>
                  <a:gd name="connsiteX50" fmla="*/ 6865 w 1020761"/>
                  <a:gd name="connsiteY50" fmla="*/ 1119006 h 1705654"/>
                  <a:gd name="connsiteX51" fmla="*/ 12673 w 1020761"/>
                  <a:gd name="connsiteY51" fmla="*/ 1119006 h 1705654"/>
                  <a:gd name="connsiteX52" fmla="*/ 22343 w 1020761"/>
                  <a:gd name="connsiteY52" fmla="*/ 1001889 h 1705654"/>
                  <a:gd name="connsiteX53" fmla="*/ 97952 w 1020761"/>
                  <a:gd name="connsiteY53" fmla="*/ 792917 h 1705654"/>
                  <a:gd name="connsiteX54" fmla="*/ 92136 w 1020761"/>
                  <a:gd name="connsiteY54" fmla="*/ 792361 h 1705654"/>
                  <a:gd name="connsiteX55" fmla="*/ 92206 w 1020761"/>
                  <a:gd name="connsiteY55" fmla="*/ 792169 h 1705654"/>
                  <a:gd name="connsiteX56" fmla="*/ 86201 w 1020761"/>
                  <a:gd name="connsiteY56" fmla="*/ 781492 h 1705654"/>
                  <a:gd name="connsiteX57" fmla="*/ 124947 w 1020761"/>
                  <a:gd name="connsiteY57" fmla="*/ 670139 h 1705654"/>
                  <a:gd name="connsiteX58" fmla="*/ 195838 w 1020761"/>
                  <a:gd name="connsiteY58" fmla="*/ 575978 h 1705654"/>
                  <a:gd name="connsiteX59" fmla="*/ 228471 w 1020761"/>
                  <a:gd name="connsiteY59" fmla="*/ 454859 h 1705654"/>
                  <a:gd name="connsiteX60" fmla="*/ 210842 w 1020761"/>
                  <a:gd name="connsiteY60" fmla="*/ 408538 h 1705654"/>
                  <a:gd name="connsiteX61" fmla="*/ 235972 w 1020761"/>
                  <a:gd name="connsiteY61" fmla="*/ 332222 h 1705654"/>
                  <a:gd name="connsiteX62" fmla="*/ 235972 w 1020761"/>
                  <a:gd name="connsiteY62" fmla="*/ 306783 h 1705654"/>
                  <a:gd name="connsiteX63" fmla="*/ 295236 w 1020761"/>
                  <a:gd name="connsiteY63" fmla="*/ 270714 h 1705654"/>
                  <a:gd name="connsiteX64" fmla="*/ 370627 w 1020761"/>
                  <a:gd name="connsiteY64" fmla="*/ 185665 h 1705654"/>
                  <a:gd name="connsiteX65" fmla="*/ 401759 w 1020761"/>
                  <a:gd name="connsiteY65" fmla="*/ 73658 h 1705654"/>
                  <a:gd name="connsiteX66" fmla="*/ 373628 w 1020761"/>
                  <a:gd name="connsiteY66" fmla="*/ 52396 h 1705654"/>
                  <a:gd name="connsiteX67" fmla="*/ 324492 w 1020761"/>
                  <a:gd name="connsiteY67" fmla="*/ 42145 h 1705654"/>
                  <a:gd name="connsiteX68" fmla="*/ 366877 w 1020761"/>
                  <a:gd name="connsiteY68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8744 w 1020761"/>
                  <a:gd name="connsiteY35" fmla="*/ 1395247 h 1705654"/>
                  <a:gd name="connsiteX36" fmla="*/ 715505 w 1020761"/>
                  <a:gd name="connsiteY36" fmla="*/ 1306749 h 1705654"/>
                  <a:gd name="connsiteX37" fmla="*/ 598042 w 1020761"/>
                  <a:gd name="connsiteY37" fmla="*/ 1333148 h 1705654"/>
                  <a:gd name="connsiteX38" fmla="*/ 562107 w 1020761"/>
                  <a:gd name="connsiteY38" fmla="*/ 1339722 h 1705654"/>
                  <a:gd name="connsiteX39" fmla="*/ 470439 w 1020761"/>
                  <a:gd name="connsiteY39" fmla="*/ 1361947 h 1705654"/>
                  <a:gd name="connsiteX40" fmla="*/ 482193 w 1020761"/>
                  <a:gd name="connsiteY40" fmla="*/ 1428239 h 1705654"/>
                  <a:gd name="connsiteX41" fmla="*/ 410323 w 1020761"/>
                  <a:gd name="connsiteY41" fmla="*/ 1344849 h 1705654"/>
                  <a:gd name="connsiteX42" fmla="*/ 341152 w 1020761"/>
                  <a:gd name="connsiteY42" fmla="*/ 1378280 h 1705654"/>
                  <a:gd name="connsiteX43" fmla="*/ 314673 w 1020761"/>
                  <a:gd name="connsiteY43" fmla="*/ 1328133 h 1705654"/>
                  <a:gd name="connsiteX44" fmla="*/ 232128 w 1020761"/>
                  <a:gd name="connsiteY44" fmla="*/ 1306702 h 1705654"/>
                  <a:gd name="connsiteX45" fmla="*/ 214837 w 1020761"/>
                  <a:gd name="connsiteY45" fmla="*/ 1383789 h 1705654"/>
                  <a:gd name="connsiteX46" fmla="*/ 79937 w 1020761"/>
                  <a:gd name="connsiteY46" fmla="*/ 1310896 h 1705654"/>
                  <a:gd name="connsiteX47" fmla="*/ 30000 w 1020761"/>
                  <a:gd name="connsiteY47" fmla="*/ 1281339 h 1705654"/>
                  <a:gd name="connsiteX48" fmla="*/ 21743 w 1020761"/>
                  <a:gd name="connsiteY48" fmla="*/ 1276091 h 1705654"/>
                  <a:gd name="connsiteX49" fmla="*/ 0 w 1020761"/>
                  <a:gd name="connsiteY49" fmla="*/ 1202146 h 1705654"/>
                  <a:gd name="connsiteX50" fmla="*/ 6865 w 1020761"/>
                  <a:gd name="connsiteY50" fmla="*/ 1119006 h 1705654"/>
                  <a:gd name="connsiteX51" fmla="*/ 12673 w 1020761"/>
                  <a:gd name="connsiteY51" fmla="*/ 1119006 h 1705654"/>
                  <a:gd name="connsiteX52" fmla="*/ 22343 w 1020761"/>
                  <a:gd name="connsiteY52" fmla="*/ 1001889 h 1705654"/>
                  <a:gd name="connsiteX53" fmla="*/ 97952 w 1020761"/>
                  <a:gd name="connsiteY53" fmla="*/ 792917 h 1705654"/>
                  <a:gd name="connsiteX54" fmla="*/ 92136 w 1020761"/>
                  <a:gd name="connsiteY54" fmla="*/ 792361 h 1705654"/>
                  <a:gd name="connsiteX55" fmla="*/ 92206 w 1020761"/>
                  <a:gd name="connsiteY55" fmla="*/ 792169 h 1705654"/>
                  <a:gd name="connsiteX56" fmla="*/ 86201 w 1020761"/>
                  <a:gd name="connsiteY56" fmla="*/ 781492 h 1705654"/>
                  <a:gd name="connsiteX57" fmla="*/ 124947 w 1020761"/>
                  <a:gd name="connsiteY57" fmla="*/ 670139 h 1705654"/>
                  <a:gd name="connsiteX58" fmla="*/ 195838 w 1020761"/>
                  <a:gd name="connsiteY58" fmla="*/ 575978 h 1705654"/>
                  <a:gd name="connsiteX59" fmla="*/ 228471 w 1020761"/>
                  <a:gd name="connsiteY59" fmla="*/ 454859 h 1705654"/>
                  <a:gd name="connsiteX60" fmla="*/ 210842 w 1020761"/>
                  <a:gd name="connsiteY60" fmla="*/ 408538 h 1705654"/>
                  <a:gd name="connsiteX61" fmla="*/ 235972 w 1020761"/>
                  <a:gd name="connsiteY61" fmla="*/ 332222 h 1705654"/>
                  <a:gd name="connsiteX62" fmla="*/ 235972 w 1020761"/>
                  <a:gd name="connsiteY62" fmla="*/ 306783 h 1705654"/>
                  <a:gd name="connsiteX63" fmla="*/ 295236 w 1020761"/>
                  <a:gd name="connsiteY63" fmla="*/ 270714 h 1705654"/>
                  <a:gd name="connsiteX64" fmla="*/ 370627 w 1020761"/>
                  <a:gd name="connsiteY64" fmla="*/ 185665 h 1705654"/>
                  <a:gd name="connsiteX65" fmla="*/ 401759 w 1020761"/>
                  <a:gd name="connsiteY65" fmla="*/ 73658 h 1705654"/>
                  <a:gd name="connsiteX66" fmla="*/ 373628 w 1020761"/>
                  <a:gd name="connsiteY66" fmla="*/ 52396 h 1705654"/>
                  <a:gd name="connsiteX67" fmla="*/ 324492 w 1020761"/>
                  <a:gd name="connsiteY67" fmla="*/ 42145 h 1705654"/>
                  <a:gd name="connsiteX68" fmla="*/ 366877 w 1020761"/>
                  <a:gd name="connsiteY68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8744 w 1020761"/>
                  <a:gd name="connsiteY35" fmla="*/ 1395247 h 1705654"/>
                  <a:gd name="connsiteX36" fmla="*/ 715505 w 1020761"/>
                  <a:gd name="connsiteY36" fmla="*/ 1306749 h 1705654"/>
                  <a:gd name="connsiteX37" fmla="*/ 598042 w 1020761"/>
                  <a:gd name="connsiteY37" fmla="*/ 1333148 h 1705654"/>
                  <a:gd name="connsiteX38" fmla="*/ 562107 w 1020761"/>
                  <a:gd name="connsiteY38" fmla="*/ 1339722 h 1705654"/>
                  <a:gd name="connsiteX39" fmla="*/ 470439 w 1020761"/>
                  <a:gd name="connsiteY39" fmla="*/ 1361947 h 1705654"/>
                  <a:gd name="connsiteX40" fmla="*/ 482193 w 1020761"/>
                  <a:gd name="connsiteY40" fmla="*/ 1428239 h 1705654"/>
                  <a:gd name="connsiteX41" fmla="*/ 410323 w 1020761"/>
                  <a:gd name="connsiteY41" fmla="*/ 1344849 h 1705654"/>
                  <a:gd name="connsiteX42" fmla="*/ 341152 w 1020761"/>
                  <a:gd name="connsiteY42" fmla="*/ 1378280 h 1705654"/>
                  <a:gd name="connsiteX43" fmla="*/ 314673 w 1020761"/>
                  <a:gd name="connsiteY43" fmla="*/ 1328133 h 1705654"/>
                  <a:gd name="connsiteX44" fmla="*/ 232128 w 1020761"/>
                  <a:gd name="connsiteY44" fmla="*/ 1306702 h 1705654"/>
                  <a:gd name="connsiteX45" fmla="*/ 214837 w 1020761"/>
                  <a:gd name="connsiteY45" fmla="*/ 1383789 h 1705654"/>
                  <a:gd name="connsiteX46" fmla="*/ 79937 w 1020761"/>
                  <a:gd name="connsiteY46" fmla="*/ 1310896 h 1705654"/>
                  <a:gd name="connsiteX47" fmla="*/ 30000 w 1020761"/>
                  <a:gd name="connsiteY47" fmla="*/ 1281339 h 1705654"/>
                  <a:gd name="connsiteX48" fmla="*/ 21743 w 1020761"/>
                  <a:gd name="connsiteY48" fmla="*/ 1276091 h 1705654"/>
                  <a:gd name="connsiteX49" fmla="*/ 0 w 1020761"/>
                  <a:gd name="connsiteY49" fmla="*/ 1202146 h 1705654"/>
                  <a:gd name="connsiteX50" fmla="*/ 6865 w 1020761"/>
                  <a:gd name="connsiteY50" fmla="*/ 1119006 h 1705654"/>
                  <a:gd name="connsiteX51" fmla="*/ 12673 w 1020761"/>
                  <a:gd name="connsiteY51" fmla="*/ 1119006 h 1705654"/>
                  <a:gd name="connsiteX52" fmla="*/ 22343 w 1020761"/>
                  <a:gd name="connsiteY52" fmla="*/ 1001889 h 1705654"/>
                  <a:gd name="connsiteX53" fmla="*/ 97952 w 1020761"/>
                  <a:gd name="connsiteY53" fmla="*/ 792917 h 1705654"/>
                  <a:gd name="connsiteX54" fmla="*/ 92136 w 1020761"/>
                  <a:gd name="connsiteY54" fmla="*/ 792361 h 1705654"/>
                  <a:gd name="connsiteX55" fmla="*/ 92206 w 1020761"/>
                  <a:gd name="connsiteY55" fmla="*/ 792169 h 1705654"/>
                  <a:gd name="connsiteX56" fmla="*/ 86201 w 1020761"/>
                  <a:gd name="connsiteY56" fmla="*/ 781492 h 1705654"/>
                  <a:gd name="connsiteX57" fmla="*/ 124947 w 1020761"/>
                  <a:gd name="connsiteY57" fmla="*/ 670139 h 1705654"/>
                  <a:gd name="connsiteX58" fmla="*/ 202981 w 1020761"/>
                  <a:gd name="connsiteY58" fmla="*/ 585503 h 1705654"/>
                  <a:gd name="connsiteX59" fmla="*/ 228471 w 1020761"/>
                  <a:gd name="connsiteY59" fmla="*/ 454859 h 1705654"/>
                  <a:gd name="connsiteX60" fmla="*/ 210842 w 1020761"/>
                  <a:gd name="connsiteY60" fmla="*/ 408538 h 1705654"/>
                  <a:gd name="connsiteX61" fmla="*/ 235972 w 1020761"/>
                  <a:gd name="connsiteY61" fmla="*/ 332222 h 1705654"/>
                  <a:gd name="connsiteX62" fmla="*/ 235972 w 1020761"/>
                  <a:gd name="connsiteY62" fmla="*/ 306783 h 1705654"/>
                  <a:gd name="connsiteX63" fmla="*/ 295236 w 1020761"/>
                  <a:gd name="connsiteY63" fmla="*/ 270714 h 1705654"/>
                  <a:gd name="connsiteX64" fmla="*/ 370627 w 1020761"/>
                  <a:gd name="connsiteY64" fmla="*/ 185665 h 1705654"/>
                  <a:gd name="connsiteX65" fmla="*/ 401759 w 1020761"/>
                  <a:gd name="connsiteY65" fmla="*/ 73658 h 1705654"/>
                  <a:gd name="connsiteX66" fmla="*/ 373628 w 1020761"/>
                  <a:gd name="connsiteY66" fmla="*/ 52396 h 1705654"/>
                  <a:gd name="connsiteX67" fmla="*/ 324492 w 1020761"/>
                  <a:gd name="connsiteY67" fmla="*/ 42145 h 1705654"/>
                  <a:gd name="connsiteX68" fmla="*/ 366877 w 1020761"/>
                  <a:gd name="connsiteY68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8744 w 1020761"/>
                  <a:gd name="connsiteY35" fmla="*/ 1395247 h 1705654"/>
                  <a:gd name="connsiteX36" fmla="*/ 715505 w 1020761"/>
                  <a:gd name="connsiteY36" fmla="*/ 1306749 h 1705654"/>
                  <a:gd name="connsiteX37" fmla="*/ 598042 w 1020761"/>
                  <a:gd name="connsiteY37" fmla="*/ 1333148 h 1705654"/>
                  <a:gd name="connsiteX38" fmla="*/ 562107 w 1020761"/>
                  <a:gd name="connsiteY38" fmla="*/ 1339722 h 1705654"/>
                  <a:gd name="connsiteX39" fmla="*/ 470439 w 1020761"/>
                  <a:gd name="connsiteY39" fmla="*/ 1361947 h 1705654"/>
                  <a:gd name="connsiteX40" fmla="*/ 482193 w 1020761"/>
                  <a:gd name="connsiteY40" fmla="*/ 1428239 h 1705654"/>
                  <a:gd name="connsiteX41" fmla="*/ 410323 w 1020761"/>
                  <a:gd name="connsiteY41" fmla="*/ 1344849 h 1705654"/>
                  <a:gd name="connsiteX42" fmla="*/ 341152 w 1020761"/>
                  <a:gd name="connsiteY42" fmla="*/ 1378280 h 1705654"/>
                  <a:gd name="connsiteX43" fmla="*/ 314673 w 1020761"/>
                  <a:gd name="connsiteY43" fmla="*/ 1328133 h 1705654"/>
                  <a:gd name="connsiteX44" fmla="*/ 232128 w 1020761"/>
                  <a:gd name="connsiteY44" fmla="*/ 1306702 h 1705654"/>
                  <a:gd name="connsiteX45" fmla="*/ 214837 w 1020761"/>
                  <a:gd name="connsiteY45" fmla="*/ 1383789 h 1705654"/>
                  <a:gd name="connsiteX46" fmla="*/ 79937 w 1020761"/>
                  <a:gd name="connsiteY46" fmla="*/ 1310896 h 1705654"/>
                  <a:gd name="connsiteX47" fmla="*/ 30000 w 1020761"/>
                  <a:gd name="connsiteY47" fmla="*/ 1281339 h 1705654"/>
                  <a:gd name="connsiteX48" fmla="*/ 21743 w 1020761"/>
                  <a:gd name="connsiteY48" fmla="*/ 1276091 h 1705654"/>
                  <a:gd name="connsiteX49" fmla="*/ 0 w 1020761"/>
                  <a:gd name="connsiteY49" fmla="*/ 1202146 h 1705654"/>
                  <a:gd name="connsiteX50" fmla="*/ 6865 w 1020761"/>
                  <a:gd name="connsiteY50" fmla="*/ 1119006 h 1705654"/>
                  <a:gd name="connsiteX51" fmla="*/ 12673 w 1020761"/>
                  <a:gd name="connsiteY51" fmla="*/ 1119006 h 1705654"/>
                  <a:gd name="connsiteX52" fmla="*/ 22343 w 1020761"/>
                  <a:gd name="connsiteY52" fmla="*/ 1001889 h 1705654"/>
                  <a:gd name="connsiteX53" fmla="*/ 97952 w 1020761"/>
                  <a:gd name="connsiteY53" fmla="*/ 792917 h 1705654"/>
                  <a:gd name="connsiteX54" fmla="*/ 92136 w 1020761"/>
                  <a:gd name="connsiteY54" fmla="*/ 792361 h 1705654"/>
                  <a:gd name="connsiteX55" fmla="*/ 92206 w 1020761"/>
                  <a:gd name="connsiteY55" fmla="*/ 792169 h 1705654"/>
                  <a:gd name="connsiteX56" fmla="*/ 86201 w 1020761"/>
                  <a:gd name="connsiteY56" fmla="*/ 781492 h 1705654"/>
                  <a:gd name="connsiteX57" fmla="*/ 124947 w 1020761"/>
                  <a:gd name="connsiteY57" fmla="*/ 670139 h 1705654"/>
                  <a:gd name="connsiteX58" fmla="*/ 202981 w 1020761"/>
                  <a:gd name="connsiteY58" fmla="*/ 585503 h 1705654"/>
                  <a:gd name="connsiteX59" fmla="*/ 242759 w 1020761"/>
                  <a:gd name="connsiteY59" fmla="*/ 469146 h 1705654"/>
                  <a:gd name="connsiteX60" fmla="*/ 210842 w 1020761"/>
                  <a:gd name="connsiteY60" fmla="*/ 408538 h 1705654"/>
                  <a:gd name="connsiteX61" fmla="*/ 235972 w 1020761"/>
                  <a:gd name="connsiteY61" fmla="*/ 332222 h 1705654"/>
                  <a:gd name="connsiteX62" fmla="*/ 235972 w 1020761"/>
                  <a:gd name="connsiteY62" fmla="*/ 306783 h 1705654"/>
                  <a:gd name="connsiteX63" fmla="*/ 295236 w 1020761"/>
                  <a:gd name="connsiteY63" fmla="*/ 270714 h 1705654"/>
                  <a:gd name="connsiteX64" fmla="*/ 370627 w 1020761"/>
                  <a:gd name="connsiteY64" fmla="*/ 185665 h 1705654"/>
                  <a:gd name="connsiteX65" fmla="*/ 401759 w 1020761"/>
                  <a:gd name="connsiteY65" fmla="*/ 73658 h 1705654"/>
                  <a:gd name="connsiteX66" fmla="*/ 373628 w 1020761"/>
                  <a:gd name="connsiteY66" fmla="*/ 52396 h 1705654"/>
                  <a:gd name="connsiteX67" fmla="*/ 324492 w 1020761"/>
                  <a:gd name="connsiteY67" fmla="*/ 42145 h 1705654"/>
                  <a:gd name="connsiteX68" fmla="*/ 366877 w 1020761"/>
                  <a:gd name="connsiteY68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6854 w 1020761"/>
                  <a:gd name="connsiteY34" fmla="*/ 1512752 h 1705654"/>
                  <a:gd name="connsiteX35" fmla="*/ 715505 w 1020761"/>
                  <a:gd name="connsiteY35" fmla="*/ 1306749 h 1705654"/>
                  <a:gd name="connsiteX36" fmla="*/ 598042 w 1020761"/>
                  <a:gd name="connsiteY36" fmla="*/ 1333148 h 1705654"/>
                  <a:gd name="connsiteX37" fmla="*/ 562107 w 1020761"/>
                  <a:gd name="connsiteY37" fmla="*/ 1339722 h 1705654"/>
                  <a:gd name="connsiteX38" fmla="*/ 470439 w 1020761"/>
                  <a:gd name="connsiteY38" fmla="*/ 1361947 h 1705654"/>
                  <a:gd name="connsiteX39" fmla="*/ 482193 w 1020761"/>
                  <a:gd name="connsiteY39" fmla="*/ 1428239 h 1705654"/>
                  <a:gd name="connsiteX40" fmla="*/ 410323 w 1020761"/>
                  <a:gd name="connsiteY40" fmla="*/ 1344849 h 1705654"/>
                  <a:gd name="connsiteX41" fmla="*/ 341152 w 1020761"/>
                  <a:gd name="connsiteY41" fmla="*/ 1378280 h 1705654"/>
                  <a:gd name="connsiteX42" fmla="*/ 314673 w 1020761"/>
                  <a:gd name="connsiteY42" fmla="*/ 1328133 h 1705654"/>
                  <a:gd name="connsiteX43" fmla="*/ 232128 w 1020761"/>
                  <a:gd name="connsiteY43" fmla="*/ 1306702 h 1705654"/>
                  <a:gd name="connsiteX44" fmla="*/ 214837 w 1020761"/>
                  <a:gd name="connsiteY44" fmla="*/ 1383789 h 1705654"/>
                  <a:gd name="connsiteX45" fmla="*/ 79937 w 1020761"/>
                  <a:gd name="connsiteY45" fmla="*/ 1310896 h 1705654"/>
                  <a:gd name="connsiteX46" fmla="*/ 30000 w 1020761"/>
                  <a:gd name="connsiteY46" fmla="*/ 1281339 h 1705654"/>
                  <a:gd name="connsiteX47" fmla="*/ 21743 w 1020761"/>
                  <a:gd name="connsiteY47" fmla="*/ 1276091 h 1705654"/>
                  <a:gd name="connsiteX48" fmla="*/ 0 w 1020761"/>
                  <a:gd name="connsiteY48" fmla="*/ 1202146 h 1705654"/>
                  <a:gd name="connsiteX49" fmla="*/ 6865 w 1020761"/>
                  <a:gd name="connsiteY49" fmla="*/ 1119006 h 1705654"/>
                  <a:gd name="connsiteX50" fmla="*/ 12673 w 1020761"/>
                  <a:gd name="connsiteY50" fmla="*/ 1119006 h 1705654"/>
                  <a:gd name="connsiteX51" fmla="*/ 22343 w 1020761"/>
                  <a:gd name="connsiteY51" fmla="*/ 1001889 h 1705654"/>
                  <a:gd name="connsiteX52" fmla="*/ 97952 w 1020761"/>
                  <a:gd name="connsiteY52" fmla="*/ 792917 h 1705654"/>
                  <a:gd name="connsiteX53" fmla="*/ 92136 w 1020761"/>
                  <a:gd name="connsiteY53" fmla="*/ 792361 h 1705654"/>
                  <a:gd name="connsiteX54" fmla="*/ 92206 w 1020761"/>
                  <a:gd name="connsiteY54" fmla="*/ 792169 h 1705654"/>
                  <a:gd name="connsiteX55" fmla="*/ 86201 w 1020761"/>
                  <a:gd name="connsiteY55" fmla="*/ 781492 h 1705654"/>
                  <a:gd name="connsiteX56" fmla="*/ 124947 w 1020761"/>
                  <a:gd name="connsiteY56" fmla="*/ 670139 h 1705654"/>
                  <a:gd name="connsiteX57" fmla="*/ 202981 w 1020761"/>
                  <a:gd name="connsiteY57" fmla="*/ 585503 h 1705654"/>
                  <a:gd name="connsiteX58" fmla="*/ 242759 w 1020761"/>
                  <a:gd name="connsiteY58" fmla="*/ 469146 h 1705654"/>
                  <a:gd name="connsiteX59" fmla="*/ 210842 w 1020761"/>
                  <a:gd name="connsiteY59" fmla="*/ 408538 h 1705654"/>
                  <a:gd name="connsiteX60" fmla="*/ 235972 w 1020761"/>
                  <a:gd name="connsiteY60" fmla="*/ 332222 h 1705654"/>
                  <a:gd name="connsiteX61" fmla="*/ 235972 w 1020761"/>
                  <a:gd name="connsiteY61" fmla="*/ 306783 h 1705654"/>
                  <a:gd name="connsiteX62" fmla="*/ 295236 w 1020761"/>
                  <a:gd name="connsiteY62" fmla="*/ 270714 h 1705654"/>
                  <a:gd name="connsiteX63" fmla="*/ 370627 w 1020761"/>
                  <a:gd name="connsiteY63" fmla="*/ 185665 h 1705654"/>
                  <a:gd name="connsiteX64" fmla="*/ 401759 w 1020761"/>
                  <a:gd name="connsiteY64" fmla="*/ 73658 h 1705654"/>
                  <a:gd name="connsiteX65" fmla="*/ 373628 w 1020761"/>
                  <a:gd name="connsiteY65" fmla="*/ 52396 h 1705654"/>
                  <a:gd name="connsiteX66" fmla="*/ 324492 w 1020761"/>
                  <a:gd name="connsiteY66" fmla="*/ 42145 h 1705654"/>
                  <a:gd name="connsiteX67" fmla="*/ 366877 w 1020761"/>
                  <a:gd name="connsiteY67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67784 w 1020761"/>
                  <a:gd name="connsiteY33" fmla="*/ 1582356 h 1705654"/>
                  <a:gd name="connsiteX34" fmla="*/ 715505 w 1020761"/>
                  <a:gd name="connsiteY34" fmla="*/ 1306749 h 1705654"/>
                  <a:gd name="connsiteX35" fmla="*/ 598042 w 1020761"/>
                  <a:gd name="connsiteY35" fmla="*/ 1333148 h 1705654"/>
                  <a:gd name="connsiteX36" fmla="*/ 562107 w 1020761"/>
                  <a:gd name="connsiteY36" fmla="*/ 1339722 h 1705654"/>
                  <a:gd name="connsiteX37" fmla="*/ 470439 w 1020761"/>
                  <a:gd name="connsiteY37" fmla="*/ 1361947 h 1705654"/>
                  <a:gd name="connsiteX38" fmla="*/ 482193 w 1020761"/>
                  <a:gd name="connsiteY38" fmla="*/ 1428239 h 1705654"/>
                  <a:gd name="connsiteX39" fmla="*/ 410323 w 1020761"/>
                  <a:gd name="connsiteY39" fmla="*/ 1344849 h 1705654"/>
                  <a:gd name="connsiteX40" fmla="*/ 341152 w 1020761"/>
                  <a:gd name="connsiteY40" fmla="*/ 1378280 h 1705654"/>
                  <a:gd name="connsiteX41" fmla="*/ 314673 w 1020761"/>
                  <a:gd name="connsiteY41" fmla="*/ 1328133 h 1705654"/>
                  <a:gd name="connsiteX42" fmla="*/ 232128 w 1020761"/>
                  <a:gd name="connsiteY42" fmla="*/ 1306702 h 1705654"/>
                  <a:gd name="connsiteX43" fmla="*/ 214837 w 1020761"/>
                  <a:gd name="connsiteY43" fmla="*/ 1383789 h 1705654"/>
                  <a:gd name="connsiteX44" fmla="*/ 79937 w 1020761"/>
                  <a:gd name="connsiteY44" fmla="*/ 1310896 h 1705654"/>
                  <a:gd name="connsiteX45" fmla="*/ 30000 w 1020761"/>
                  <a:gd name="connsiteY45" fmla="*/ 1281339 h 1705654"/>
                  <a:gd name="connsiteX46" fmla="*/ 21743 w 1020761"/>
                  <a:gd name="connsiteY46" fmla="*/ 1276091 h 1705654"/>
                  <a:gd name="connsiteX47" fmla="*/ 0 w 1020761"/>
                  <a:gd name="connsiteY47" fmla="*/ 1202146 h 1705654"/>
                  <a:gd name="connsiteX48" fmla="*/ 6865 w 1020761"/>
                  <a:gd name="connsiteY48" fmla="*/ 1119006 h 1705654"/>
                  <a:gd name="connsiteX49" fmla="*/ 12673 w 1020761"/>
                  <a:gd name="connsiteY49" fmla="*/ 1119006 h 1705654"/>
                  <a:gd name="connsiteX50" fmla="*/ 22343 w 1020761"/>
                  <a:gd name="connsiteY50" fmla="*/ 1001889 h 1705654"/>
                  <a:gd name="connsiteX51" fmla="*/ 97952 w 1020761"/>
                  <a:gd name="connsiteY51" fmla="*/ 792917 h 1705654"/>
                  <a:gd name="connsiteX52" fmla="*/ 92136 w 1020761"/>
                  <a:gd name="connsiteY52" fmla="*/ 792361 h 1705654"/>
                  <a:gd name="connsiteX53" fmla="*/ 92206 w 1020761"/>
                  <a:gd name="connsiteY53" fmla="*/ 792169 h 1705654"/>
                  <a:gd name="connsiteX54" fmla="*/ 86201 w 1020761"/>
                  <a:gd name="connsiteY54" fmla="*/ 781492 h 1705654"/>
                  <a:gd name="connsiteX55" fmla="*/ 124947 w 1020761"/>
                  <a:gd name="connsiteY55" fmla="*/ 670139 h 1705654"/>
                  <a:gd name="connsiteX56" fmla="*/ 202981 w 1020761"/>
                  <a:gd name="connsiteY56" fmla="*/ 585503 h 1705654"/>
                  <a:gd name="connsiteX57" fmla="*/ 242759 w 1020761"/>
                  <a:gd name="connsiteY57" fmla="*/ 469146 h 1705654"/>
                  <a:gd name="connsiteX58" fmla="*/ 210842 w 1020761"/>
                  <a:gd name="connsiteY58" fmla="*/ 408538 h 1705654"/>
                  <a:gd name="connsiteX59" fmla="*/ 235972 w 1020761"/>
                  <a:gd name="connsiteY59" fmla="*/ 332222 h 1705654"/>
                  <a:gd name="connsiteX60" fmla="*/ 235972 w 1020761"/>
                  <a:gd name="connsiteY60" fmla="*/ 306783 h 1705654"/>
                  <a:gd name="connsiteX61" fmla="*/ 295236 w 1020761"/>
                  <a:gd name="connsiteY61" fmla="*/ 270714 h 1705654"/>
                  <a:gd name="connsiteX62" fmla="*/ 370627 w 1020761"/>
                  <a:gd name="connsiteY62" fmla="*/ 185665 h 1705654"/>
                  <a:gd name="connsiteX63" fmla="*/ 401759 w 1020761"/>
                  <a:gd name="connsiteY63" fmla="*/ 73658 h 1705654"/>
                  <a:gd name="connsiteX64" fmla="*/ 373628 w 1020761"/>
                  <a:gd name="connsiteY64" fmla="*/ 52396 h 1705654"/>
                  <a:gd name="connsiteX65" fmla="*/ 324492 w 1020761"/>
                  <a:gd name="connsiteY65" fmla="*/ 42145 h 1705654"/>
                  <a:gd name="connsiteX66" fmla="*/ 366877 w 1020761"/>
                  <a:gd name="connsiteY66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38331 w 1020761"/>
                  <a:gd name="connsiteY32" fmla="*/ 1688907 h 1705654"/>
                  <a:gd name="connsiteX33" fmla="*/ 715505 w 1020761"/>
                  <a:gd name="connsiteY33" fmla="*/ 1306749 h 1705654"/>
                  <a:gd name="connsiteX34" fmla="*/ 598042 w 1020761"/>
                  <a:gd name="connsiteY34" fmla="*/ 1333148 h 1705654"/>
                  <a:gd name="connsiteX35" fmla="*/ 562107 w 1020761"/>
                  <a:gd name="connsiteY35" fmla="*/ 1339722 h 1705654"/>
                  <a:gd name="connsiteX36" fmla="*/ 470439 w 1020761"/>
                  <a:gd name="connsiteY36" fmla="*/ 1361947 h 1705654"/>
                  <a:gd name="connsiteX37" fmla="*/ 482193 w 1020761"/>
                  <a:gd name="connsiteY37" fmla="*/ 1428239 h 1705654"/>
                  <a:gd name="connsiteX38" fmla="*/ 410323 w 1020761"/>
                  <a:gd name="connsiteY38" fmla="*/ 1344849 h 1705654"/>
                  <a:gd name="connsiteX39" fmla="*/ 341152 w 1020761"/>
                  <a:gd name="connsiteY39" fmla="*/ 1378280 h 1705654"/>
                  <a:gd name="connsiteX40" fmla="*/ 314673 w 1020761"/>
                  <a:gd name="connsiteY40" fmla="*/ 1328133 h 1705654"/>
                  <a:gd name="connsiteX41" fmla="*/ 232128 w 1020761"/>
                  <a:gd name="connsiteY41" fmla="*/ 1306702 h 1705654"/>
                  <a:gd name="connsiteX42" fmla="*/ 214837 w 1020761"/>
                  <a:gd name="connsiteY42" fmla="*/ 1383789 h 1705654"/>
                  <a:gd name="connsiteX43" fmla="*/ 79937 w 1020761"/>
                  <a:gd name="connsiteY43" fmla="*/ 1310896 h 1705654"/>
                  <a:gd name="connsiteX44" fmla="*/ 30000 w 1020761"/>
                  <a:gd name="connsiteY44" fmla="*/ 1281339 h 1705654"/>
                  <a:gd name="connsiteX45" fmla="*/ 21743 w 1020761"/>
                  <a:gd name="connsiteY45" fmla="*/ 1276091 h 1705654"/>
                  <a:gd name="connsiteX46" fmla="*/ 0 w 1020761"/>
                  <a:gd name="connsiteY46" fmla="*/ 1202146 h 1705654"/>
                  <a:gd name="connsiteX47" fmla="*/ 6865 w 1020761"/>
                  <a:gd name="connsiteY47" fmla="*/ 1119006 h 1705654"/>
                  <a:gd name="connsiteX48" fmla="*/ 12673 w 1020761"/>
                  <a:gd name="connsiteY48" fmla="*/ 1119006 h 1705654"/>
                  <a:gd name="connsiteX49" fmla="*/ 22343 w 1020761"/>
                  <a:gd name="connsiteY49" fmla="*/ 1001889 h 1705654"/>
                  <a:gd name="connsiteX50" fmla="*/ 97952 w 1020761"/>
                  <a:gd name="connsiteY50" fmla="*/ 792917 h 1705654"/>
                  <a:gd name="connsiteX51" fmla="*/ 92136 w 1020761"/>
                  <a:gd name="connsiteY51" fmla="*/ 792361 h 1705654"/>
                  <a:gd name="connsiteX52" fmla="*/ 92206 w 1020761"/>
                  <a:gd name="connsiteY52" fmla="*/ 792169 h 1705654"/>
                  <a:gd name="connsiteX53" fmla="*/ 86201 w 1020761"/>
                  <a:gd name="connsiteY53" fmla="*/ 781492 h 1705654"/>
                  <a:gd name="connsiteX54" fmla="*/ 124947 w 1020761"/>
                  <a:gd name="connsiteY54" fmla="*/ 670139 h 1705654"/>
                  <a:gd name="connsiteX55" fmla="*/ 202981 w 1020761"/>
                  <a:gd name="connsiteY55" fmla="*/ 585503 h 1705654"/>
                  <a:gd name="connsiteX56" fmla="*/ 242759 w 1020761"/>
                  <a:gd name="connsiteY56" fmla="*/ 469146 h 1705654"/>
                  <a:gd name="connsiteX57" fmla="*/ 210842 w 1020761"/>
                  <a:gd name="connsiteY57" fmla="*/ 408538 h 1705654"/>
                  <a:gd name="connsiteX58" fmla="*/ 235972 w 1020761"/>
                  <a:gd name="connsiteY58" fmla="*/ 332222 h 1705654"/>
                  <a:gd name="connsiteX59" fmla="*/ 235972 w 1020761"/>
                  <a:gd name="connsiteY59" fmla="*/ 306783 h 1705654"/>
                  <a:gd name="connsiteX60" fmla="*/ 295236 w 1020761"/>
                  <a:gd name="connsiteY60" fmla="*/ 270714 h 1705654"/>
                  <a:gd name="connsiteX61" fmla="*/ 370627 w 1020761"/>
                  <a:gd name="connsiteY61" fmla="*/ 185665 h 1705654"/>
                  <a:gd name="connsiteX62" fmla="*/ 401759 w 1020761"/>
                  <a:gd name="connsiteY62" fmla="*/ 73658 h 1705654"/>
                  <a:gd name="connsiteX63" fmla="*/ 373628 w 1020761"/>
                  <a:gd name="connsiteY63" fmla="*/ 52396 h 1705654"/>
                  <a:gd name="connsiteX64" fmla="*/ 324492 w 1020761"/>
                  <a:gd name="connsiteY64" fmla="*/ 42145 h 1705654"/>
                  <a:gd name="connsiteX65" fmla="*/ 366877 w 1020761"/>
                  <a:gd name="connsiteY65" fmla="*/ 0 h 1705654"/>
                  <a:gd name="connsiteX0" fmla="*/ 366877 w 1020761"/>
                  <a:gd name="connsiteY0" fmla="*/ 0 h 1705654"/>
                  <a:gd name="connsiteX1" fmla="*/ 419013 w 1020761"/>
                  <a:gd name="connsiteY1" fmla="*/ 27337 h 1705654"/>
                  <a:gd name="connsiteX2" fmla="*/ 462148 w 1020761"/>
                  <a:gd name="connsiteY2" fmla="*/ 27337 h 1705654"/>
                  <a:gd name="connsiteX3" fmla="*/ 522911 w 1020761"/>
                  <a:gd name="connsiteY3" fmla="*/ 88466 h 1705654"/>
                  <a:gd name="connsiteX4" fmla="*/ 530038 w 1020761"/>
                  <a:gd name="connsiteY4" fmla="*/ 253248 h 1705654"/>
                  <a:gd name="connsiteX5" fmla="*/ 504907 w 1020761"/>
                  <a:gd name="connsiteY5" fmla="*/ 321591 h 1705654"/>
                  <a:gd name="connsiteX6" fmla="*/ 480152 w 1020761"/>
                  <a:gd name="connsiteY6" fmla="*/ 347409 h 1705654"/>
                  <a:gd name="connsiteX7" fmla="*/ 515410 w 1020761"/>
                  <a:gd name="connsiteY7" fmla="*/ 368292 h 1705654"/>
                  <a:gd name="connsiteX8" fmla="*/ 522911 w 1020761"/>
                  <a:gd name="connsiteY8" fmla="*/ 404362 h 1705654"/>
                  <a:gd name="connsiteX9" fmla="*/ 593802 w 1020761"/>
                  <a:gd name="connsiteY9" fmla="*/ 493967 h 1705654"/>
                  <a:gd name="connsiteX10" fmla="*/ 649690 w 1020761"/>
                  <a:gd name="connsiteY10" fmla="*/ 480298 h 1705654"/>
                  <a:gd name="connsiteX11" fmla="*/ 679697 w 1020761"/>
                  <a:gd name="connsiteY11" fmla="*/ 498523 h 1705654"/>
                  <a:gd name="connsiteX12" fmla="*/ 679697 w 1020761"/>
                  <a:gd name="connsiteY12" fmla="*/ 547502 h 1705654"/>
                  <a:gd name="connsiteX13" fmla="*/ 626060 w 1020761"/>
                  <a:gd name="connsiteY13" fmla="*/ 572941 h 1705654"/>
                  <a:gd name="connsiteX14" fmla="*/ 585926 w 1020761"/>
                  <a:gd name="connsiteY14" fmla="*/ 662546 h 1705654"/>
                  <a:gd name="connsiteX15" fmla="*/ 626060 w 1020761"/>
                  <a:gd name="connsiteY15" fmla="*/ 724054 h 1705654"/>
                  <a:gd name="connsiteX16" fmla="*/ 664318 w 1020761"/>
                  <a:gd name="connsiteY16" fmla="*/ 763162 h 1705654"/>
                  <a:gd name="connsiteX17" fmla="*/ 654191 w 1020761"/>
                  <a:gd name="connsiteY17" fmla="*/ 780627 h 1705654"/>
                  <a:gd name="connsiteX18" fmla="*/ 689824 w 1020761"/>
                  <a:gd name="connsiteY18" fmla="*/ 859980 h 1705654"/>
                  <a:gd name="connsiteX19" fmla="*/ 763715 w 1020761"/>
                  <a:gd name="connsiteY19" fmla="*/ 881243 h 1705654"/>
                  <a:gd name="connsiteX20" fmla="*/ 797473 w 1020761"/>
                  <a:gd name="connsiteY20" fmla="*/ 891494 h 1705654"/>
                  <a:gd name="connsiteX21" fmla="*/ 692449 w 1020761"/>
                  <a:gd name="connsiteY21" fmla="*/ 986035 h 1705654"/>
                  <a:gd name="connsiteX22" fmla="*/ 696951 w 1020761"/>
                  <a:gd name="connsiteY22" fmla="*/ 1003500 h 1705654"/>
                  <a:gd name="connsiteX23" fmla="*/ 661693 w 1020761"/>
                  <a:gd name="connsiteY23" fmla="*/ 1047164 h 1705654"/>
                  <a:gd name="connsiteX24" fmla="*/ 672195 w 1020761"/>
                  <a:gd name="connsiteY24" fmla="*/ 1078298 h 1705654"/>
                  <a:gd name="connsiteX25" fmla="*/ 728082 w 1020761"/>
                  <a:gd name="connsiteY25" fmla="*/ 1114368 h 1705654"/>
                  <a:gd name="connsiteX26" fmla="*/ 724868 w 1020761"/>
                  <a:gd name="connsiteY26" fmla="*/ 1119006 h 1705654"/>
                  <a:gd name="connsiteX27" fmla="*/ 1020761 w 1020761"/>
                  <a:gd name="connsiteY27" fmla="*/ 1119006 h 1705654"/>
                  <a:gd name="connsiteX28" fmla="*/ 1020761 w 1020761"/>
                  <a:gd name="connsiteY28" fmla="*/ 1558384 h 1705654"/>
                  <a:gd name="connsiteX29" fmla="*/ 1006893 w 1020761"/>
                  <a:gd name="connsiteY29" fmla="*/ 1557660 h 1705654"/>
                  <a:gd name="connsiteX30" fmla="*/ 819395 w 1020761"/>
                  <a:gd name="connsiteY30" fmla="*/ 1677104 h 1705654"/>
                  <a:gd name="connsiteX31" fmla="*/ 736717 w 1020761"/>
                  <a:gd name="connsiteY31" fmla="*/ 1705654 h 1705654"/>
                  <a:gd name="connsiteX32" fmla="*/ 715505 w 1020761"/>
                  <a:gd name="connsiteY32" fmla="*/ 1306749 h 1705654"/>
                  <a:gd name="connsiteX33" fmla="*/ 598042 w 1020761"/>
                  <a:gd name="connsiteY33" fmla="*/ 1333148 h 1705654"/>
                  <a:gd name="connsiteX34" fmla="*/ 562107 w 1020761"/>
                  <a:gd name="connsiteY34" fmla="*/ 1339722 h 1705654"/>
                  <a:gd name="connsiteX35" fmla="*/ 470439 w 1020761"/>
                  <a:gd name="connsiteY35" fmla="*/ 1361947 h 1705654"/>
                  <a:gd name="connsiteX36" fmla="*/ 482193 w 1020761"/>
                  <a:gd name="connsiteY36" fmla="*/ 1428239 h 1705654"/>
                  <a:gd name="connsiteX37" fmla="*/ 410323 w 1020761"/>
                  <a:gd name="connsiteY37" fmla="*/ 1344849 h 1705654"/>
                  <a:gd name="connsiteX38" fmla="*/ 341152 w 1020761"/>
                  <a:gd name="connsiteY38" fmla="*/ 1378280 h 1705654"/>
                  <a:gd name="connsiteX39" fmla="*/ 314673 w 1020761"/>
                  <a:gd name="connsiteY39" fmla="*/ 1328133 h 1705654"/>
                  <a:gd name="connsiteX40" fmla="*/ 232128 w 1020761"/>
                  <a:gd name="connsiteY40" fmla="*/ 1306702 h 1705654"/>
                  <a:gd name="connsiteX41" fmla="*/ 214837 w 1020761"/>
                  <a:gd name="connsiteY41" fmla="*/ 1383789 h 1705654"/>
                  <a:gd name="connsiteX42" fmla="*/ 79937 w 1020761"/>
                  <a:gd name="connsiteY42" fmla="*/ 1310896 h 1705654"/>
                  <a:gd name="connsiteX43" fmla="*/ 30000 w 1020761"/>
                  <a:gd name="connsiteY43" fmla="*/ 1281339 h 1705654"/>
                  <a:gd name="connsiteX44" fmla="*/ 21743 w 1020761"/>
                  <a:gd name="connsiteY44" fmla="*/ 1276091 h 1705654"/>
                  <a:gd name="connsiteX45" fmla="*/ 0 w 1020761"/>
                  <a:gd name="connsiteY45" fmla="*/ 1202146 h 1705654"/>
                  <a:gd name="connsiteX46" fmla="*/ 6865 w 1020761"/>
                  <a:gd name="connsiteY46" fmla="*/ 1119006 h 1705654"/>
                  <a:gd name="connsiteX47" fmla="*/ 12673 w 1020761"/>
                  <a:gd name="connsiteY47" fmla="*/ 1119006 h 1705654"/>
                  <a:gd name="connsiteX48" fmla="*/ 22343 w 1020761"/>
                  <a:gd name="connsiteY48" fmla="*/ 1001889 h 1705654"/>
                  <a:gd name="connsiteX49" fmla="*/ 97952 w 1020761"/>
                  <a:gd name="connsiteY49" fmla="*/ 792917 h 1705654"/>
                  <a:gd name="connsiteX50" fmla="*/ 92136 w 1020761"/>
                  <a:gd name="connsiteY50" fmla="*/ 792361 h 1705654"/>
                  <a:gd name="connsiteX51" fmla="*/ 92206 w 1020761"/>
                  <a:gd name="connsiteY51" fmla="*/ 792169 h 1705654"/>
                  <a:gd name="connsiteX52" fmla="*/ 86201 w 1020761"/>
                  <a:gd name="connsiteY52" fmla="*/ 781492 h 1705654"/>
                  <a:gd name="connsiteX53" fmla="*/ 124947 w 1020761"/>
                  <a:gd name="connsiteY53" fmla="*/ 670139 h 1705654"/>
                  <a:gd name="connsiteX54" fmla="*/ 202981 w 1020761"/>
                  <a:gd name="connsiteY54" fmla="*/ 585503 h 1705654"/>
                  <a:gd name="connsiteX55" fmla="*/ 242759 w 1020761"/>
                  <a:gd name="connsiteY55" fmla="*/ 469146 h 1705654"/>
                  <a:gd name="connsiteX56" fmla="*/ 210842 w 1020761"/>
                  <a:gd name="connsiteY56" fmla="*/ 408538 h 1705654"/>
                  <a:gd name="connsiteX57" fmla="*/ 235972 w 1020761"/>
                  <a:gd name="connsiteY57" fmla="*/ 332222 h 1705654"/>
                  <a:gd name="connsiteX58" fmla="*/ 235972 w 1020761"/>
                  <a:gd name="connsiteY58" fmla="*/ 306783 h 1705654"/>
                  <a:gd name="connsiteX59" fmla="*/ 295236 w 1020761"/>
                  <a:gd name="connsiteY59" fmla="*/ 270714 h 1705654"/>
                  <a:gd name="connsiteX60" fmla="*/ 370627 w 1020761"/>
                  <a:gd name="connsiteY60" fmla="*/ 185665 h 1705654"/>
                  <a:gd name="connsiteX61" fmla="*/ 401759 w 1020761"/>
                  <a:gd name="connsiteY61" fmla="*/ 73658 h 1705654"/>
                  <a:gd name="connsiteX62" fmla="*/ 373628 w 1020761"/>
                  <a:gd name="connsiteY62" fmla="*/ 52396 h 1705654"/>
                  <a:gd name="connsiteX63" fmla="*/ 324492 w 1020761"/>
                  <a:gd name="connsiteY63" fmla="*/ 42145 h 1705654"/>
                  <a:gd name="connsiteX64" fmla="*/ 366877 w 1020761"/>
                  <a:gd name="connsiteY64" fmla="*/ 0 h 1705654"/>
                  <a:gd name="connsiteX0" fmla="*/ 366877 w 1020761"/>
                  <a:gd name="connsiteY0" fmla="*/ 0 h 1677104"/>
                  <a:gd name="connsiteX1" fmla="*/ 419013 w 1020761"/>
                  <a:gd name="connsiteY1" fmla="*/ 27337 h 1677104"/>
                  <a:gd name="connsiteX2" fmla="*/ 462148 w 1020761"/>
                  <a:gd name="connsiteY2" fmla="*/ 27337 h 1677104"/>
                  <a:gd name="connsiteX3" fmla="*/ 522911 w 1020761"/>
                  <a:gd name="connsiteY3" fmla="*/ 88466 h 1677104"/>
                  <a:gd name="connsiteX4" fmla="*/ 530038 w 1020761"/>
                  <a:gd name="connsiteY4" fmla="*/ 253248 h 1677104"/>
                  <a:gd name="connsiteX5" fmla="*/ 504907 w 1020761"/>
                  <a:gd name="connsiteY5" fmla="*/ 321591 h 1677104"/>
                  <a:gd name="connsiteX6" fmla="*/ 480152 w 1020761"/>
                  <a:gd name="connsiteY6" fmla="*/ 347409 h 1677104"/>
                  <a:gd name="connsiteX7" fmla="*/ 515410 w 1020761"/>
                  <a:gd name="connsiteY7" fmla="*/ 368292 h 1677104"/>
                  <a:gd name="connsiteX8" fmla="*/ 522911 w 1020761"/>
                  <a:gd name="connsiteY8" fmla="*/ 404362 h 1677104"/>
                  <a:gd name="connsiteX9" fmla="*/ 593802 w 1020761"/>
                  <a:gd name="connsiteY9" fmla="*/ 493967 h 1677104"/>
                  <a:gd name="connsiteX10" fmla="*/ 649690 w 1020761"/>
                  <a:gd name="connsiteY10" fmla="*/ 480298 h 1677104"/>
                  <a:gd name="connsiteX11" fmla="*/ 679697 w 1020761"/>
                  <a:gd name="connsiteY11" fmla="*/ 498523 h 1677104"/>
                  <a:gd name="connsiteX12" fmla="*/ 679697 w 1020761"/>
                  <a:gd name="connsiteY12" fmla="*/ 547502 h 1677104"/>
                  <a:gd name="connsiteX13" fmla="*/ 626060 w 1020761"/>
                  <a:gd name="connsiteY13" fmla="*/ 572941 h 1677104"/>
                  <a:gd name="connsiteX14" fmla="*/ 585926 w 1020761"/>
                  <a:gd name="connsiteY14" fmla="*/ 662546 h 1677104"/>
                  <a:gd name="connsiteX15" fmla="*/ 626060 w 1020761"/>
                  <a:gd name="connsiteY15" fmla="*/ 724054 h 1677104"/>
                  <a:gd name="connsiteX16" fmla="*/ 664318 w 1020761"/>
                  <a:gd name="connsiteY16" fmla="*/ 763162 h 1677104"/>
                  <a:gd name="connsiteX17" fmla="*/ 654191 w 1020761"/>
                  <a:gd name="connsiteY17" fmla="*/ 780627 h 1677104"/>
                  <a:gd name="connsiteX18" fmla="*/ 689824 w 1020761"/>
                  <a:gd name="connsiteY18" fmla="*/ 859980 h 1677104"/>
                  <a:gd name="connsiteX19" fmla="*/ 763715 w 1020761"/>
                  <a:gd name="connsiteY19" fmla="*/ 881243 h 1677104"/>
                  <a:gd name="connsiteX20" fmla="*/ 797473 w 1020761"/>
                  <a:gd name="connsiteY20" fmla="*/ 891494 h 1677104"/>
                  <a:gd name="connsiteX21" fmla="*/ 692449 w 1020761"/>
                  <a:gd name="connsiteY21" fmla="*/ 986035 h 1677104"/>
                  <a:gd name="connsiteX22" fmla="*/ 696951 w 1020761"/>
                  <a:gd name="connsiteY22" fmla="*/ 1003500 h 1677104"/>
                  <a:gd name="connsiteX23" fmla="*/ 661693 w 1020761"/>
                  <a:gd name="connsiteY23" fmla="*/ 1047164 h 1677104"/>
                  <a:gd name="connsiteX24" fmla="*/ 672195 w 1020761"/>
                  <a:gd name="connsiteY24" fmla="*/ 1078298 h 1677104"/>
                  <a:gd name="connsiteX25" fmla="*/ 728082 w 1020761"/>
                  <a:gd name="connsiteY25" fmla="*/ 1114368 h 1677104"/>
                  <a:gd name="connsiteX26" fmla="*/ 724868 w 1020761"/>
                  <a:gd name="connsiteY26" fmla="*/ 1119006 h 1677104"/>
                  <a:gd name="connsiteX27" fmla="*/ 1020761 w 1020761"/>
                  <a:gd name="connsiteY27" fmla="*/ 1119006 h 1677104"/>
                  <a:gd name="connsiteX28" fmla="*/ 1020761 w 1020761"/>
                  <a:gd name="connsiteY28" fmla="*/ 1558384 h 1677104"/>
                  <a:gd name="connsiteX29" fmla="*/ 1006893 w 1020761"/>
                  <a:gd name="connsiteY29" fmla="*/ 1557660 h 1677104"/>
                  <a:gd name="connsiteX30" fmla="*/ 819395 w 1020761"/>
                  <a:gd name="connsiteY30" fmla="*/ 1677104 h 1677104"/>
                  <a:gd name="connsiteX31" fmla="*/ 715505 w 1020761"/>
                  <a:gd name="connsiteY31" fmla="*/ 1306749 h 1677104"/>
                  <a:gd name="connsiteX32" fmla="*/ 598042 w 1020761"/>
                  <a:gd name="connsiteY32" fmla="*/ 1333148 h 1677104"/>
                  <a:gd name="connsiteX33" fmla="*/ 562107 w 1020761"/>
                  <a:gd name="connsiteY33" fmla="*/ 1339722 h 1677104"/>
                  <a:gd name="connsiteX34" fmla="*/ 470439 w 1020761"/>
                  <a:gd name="connsiteY34" fmla="*/ 1361947 h 1677104"/>
                  <a:gd name="connsiteX35" fmla="*/ 482193 w 1020761"/>
                  <a:gd name="connsiteY35" fmla="*/ 1428239 h 1677104"/>
                  <a:gd name="connsiteX36" fmla="*/ 410323 w 1020761"/>
                  <a:gd name="connsiteY36" fmla="*/ 1344849 h 1677104"/>
                  <a:gd name="connsiteX37" fmla="*/ 341152 w 1020761"/>
                  <a:gd name="connsiteY37" fmla="*/ 1378280 h 1677104"/>
                  <a:gd name="connsiteX38" fmla="*/ 314673 w 1020761"/>
                  <a:gd name="connsiteY38" fmla="*/ 1328133 h 1677104"/>
                  <a:gd name="connsiteX39" fmla="*/ 232128 w 1020761"/>
                  <a:gd name="connsiteY39" fmla="*/ 1306702 h 1677104"/>
                  <a:gd name="connsiteX40" fmla="*/ 214837 w 1020761"/>
                  <a:gd name="connsiteY40" fmla="*/ 1383789 h 1677104"/>
                  <a:gd name="connsiteX41" fmla="*/ 79937 w 1020761"/>
                  <a:gd name="connsiteY41" fmla="*/ 1310896 h 1677104"/>
                  <a:gd name="connsiteX42" fmla="*/ 30000 w 1020761"/>
                  <a:gd name="connsiteY42" fmla="*/ 1281339 h 1677104"/>
                  <a:gd name="connsiteX43" fmla="*/ 21743 w 1020761"/>
                  <a:gd name="connsiteY43" fmla="*/ 1276091 h 1677104"/>
                  <a:gd name="connsiteX44" fmla="*/ 0 w 1020761"/>
                  <a:gd name="connsiteY44" fmla="*/ 1202146 h 1677104"/>
                  <a:gd name="connsiteX45" fmla="*/ 6865 w 1020761"/>
                  <a:gd name="connsiteY45" fmla="*/ 1119006 h 1677104"/>
                  <a:gd name="connsiteX46" fmla="*/ 12673 w 1020761"/>
                  <a:gd name="connsiteY46" fmla="*/ 1119006 h 1677104"/>
                  <a:gd name="connsiteX47" fmla="*/ 22343 w 1020761"/>
                  <a:gd name="connsiteY47" fmla="*/ 1001889 h 1677104"/>
                  <a:gd name="connsiteX48" fmla="*/ 97952 w 1020761"/>
                  <a:gd name="connsiteY48" fmla="*/ 792917 h 1677104"/>
                  <a:gd name="connsiteX49" fmla="*/ 92136 w 1020761"/>
                  <a:gd name="connsiteY49" fmla="*/ 792361 h 1677104"/>
                  <a:gd name="connsiteX50" fmla="*/ 92206 w 1020761"/>
                  <a:gd name="connsiteY50" fmla="*/ 792169 h 1677104"/>
                  <a:gd name="connsiteX51" fmla="*/ 86201 w 1020761"/>
                  <a:gd name="connsiteY51" fmla="*/ 781492 h 1677104"/>
                  <a:gd name="connsiteX52" fmla="*/ 124947 w 1020761"/>
                  <a:gd name="connsiteY52" fmla="*/ 670139 h 1677104"/>
                  <a:gd name="connsiteX53" fmla="*/ 202981 w 1020761"/>
                  <a:gd name="connsiteY53" fmla="*/ 585503 h 1677104"/>
                  <a:gd name="connsiteX54" fmla="*/ 242759 w 1020761"/>
                  <a:gd name="connsiteY54" fmla="*/ 469146 h 1677104"/>
                  <a:gd name="connsiteX55" fmla="*/ 210842 w 1020761"/>
                  <a:gd name="connsiteY55" fmla="*/ 408538 h 1677104"/>
                  <a:gd name="connsiteX56" fmla="*/ 235972 w 1020761"/>
                  <a:gd name="connsiteY56" fmla="*/ 332222 h 1677104"/>
                  <a:gd name="connsiteX57" fmla="*/ 235972 w 1020761"/>
                  <a:gd name="connsiteY57" fmla="*/ 306783 h 1677104"/>
                  <a:gd name="connsiteX58" fmla="*/ 295236 w 1020761"/>
                  <a:gd name="connsiteY58" fmla="*/ 270714 h 1677104"/>
                  <a:gd name="connsiteX59" fmla="*/ 370627 w 1020761"/>
                  <a:gd name="connsiteY59" fmla="*/ 185665 h 1677104"/>
                  <a:gd name="connsiteX60" fmla="*/ 401759 w 1020761"/>
                  <a:gd name="connsiteY60" fmla="*/ 73658 h 1677104"/>
                  <a:gd name="connsiteX61" fmla="*/ 373628 w 1020761"/>
                  <a:gd name="connsiteY61" fmla="*/ 52396 h 1677104"/>
                  <a:gd name="connsiteX62" fmla="*/ 324492 w 1020761"/>
                  <a:gd name="connsiteY62" fmla="*/ 42145 h 1677104"/>
                  <a:gd name="connsiteX63" fmla="*/ 366877 w 1020761"/>
                  <a:gd name="connsiteY63" fmla="*/ 0 h 1677104"/>
                  <a:gd name="connsiteX0" fmla="*/ 366877 w 1020761"/>
                  <a:gd name="connsiteY0" fmla="*/ 0 h 1558384"/>
                  <a:gd name="connsiteX1" fmla="*/ 419013 w 1020761"/>
                  <a:gd name="connsiteY1" fmla="*/ 27337 h 1558384"/>
                  <a:gd name="connsiteX2" fmla="*/ 462148 w 1020761"/>
                  <a:gd name="connsiteY2" fmla="*/ 27337 h 1558384"/>
                  <a:gd name="connsiteX3" fmla="*/ 522911 w 1020761"/>
                  <a:gd name="connsiteY3" fmla="*/ 88466 h 1558384"/>
                  <a:gd name="connsiteX4" fmla="*/ 530038 w 1020761"/>
                  <a:gd name="connsiteY4" fmla="*/ 253248 h 1558384"/>
                  <a:gd name="connsiteX5" fmla="*/ 504907 w 1020761"/>
                  <a:gd name="connsiteY5" fmla="*/ 321591 h 1558384"/>
                  <a:gd name="connsiteX6" fmla="*/ 480152 w 1020761"/>
                  <a:gd name="connsiteY6" fmla="*/ 347409 h 1558384"/>
                  <a:gd name="connsiteX7" fmla="*/ 515410 w 1020761"/>
                  <a:gd name="connsiteY7" fmla="*/ 368292 h 1558384"/>
                  <a:gd name="connsiteX8" fmla="*/ 522911 w 1020761"/>
                  <a:gd name="connsiteY8" fmla="*/ 404362 h 1558384"/>
                  <a:gd name="connsiteX9" fmla="*/ 593802 w 1020761"/>
                  <a:gd name="connsiteY9" fmla="*/ 493967 h 1558384"/>
                  <a:gd name="connsiteX10" fmla="*/ 649690 w 1020761"/>
                  <a:gd name="connsiteY10" fmla="*/ 480298 h 1558384"/>
                  <a:gd name="connsiteX11" fmla="*/ 679697 w 1020761"/>
                  <a:gd name="connsiteY11" fmla="*/ 498523 h 1558384"/>
                  <a:gd name="connsiteX12" fmla="*/ 679697 w 1020761"/>
                  <a:gd name="connsiteY12" fmla="*/ 547502 h 1558384"/>
                  <a:gd name="connsiteX13" fmla="*/ 626060 w 1020761"/>
                  <a:gd name="connsiteY13" fmla="*/ 572941 h 1558384"/>
                  <a:gd name="connsiteX14" fmla="*/ 585926 w 1020761"/>
                  <a:gd name="connsiteY14" fmla="*/ 662546 h 1558384"/>
                  <a:gd name="connsiteX15" fmla="*/ 626060 w 1020761"/>
                  <a:gd name="connsiteY15" fmla="*/ 724054 h 1558384"/>
                  <a:gd name="connsiteX16" fmla="*/ 664318 w 1020761"/>
                  <a:gd name="connsiteY16" fmla="*/ 763162 h 1558384"/>
                  <a:gd name="connsiteX17" fmla="*/ 654191 w 1020761"/>
                  <a:gd name="connsiteY17" fmla="*/ 780627 h 1558384"/>
                  <a:gd name="connsiteX18" fmla="*/ 689824 w 1020761"/>
                  <a:gd name="connsiteY18" fmla="*/ 859980 h 1558384"/>
                  <a:gd name="connsiteX19" fmla="*/ 763715 w 1020761"/>
                  <a:gd name="connsiteY19" fmla="*/ 881243 h 1558384"/>
                  <a:gd name="connsiteX20" fmla="*/ 797473 w 1020761"/>
                  <a:gd name="connsiteY20" fmla="*/ 891494 h 1558384"/>
                  <a:gd name="connsiteX21" fmla="*/ 692449 w 1020761"/>
                  <a:gd name="connsiteY21" fmla="*/ 986035 h 1558384"/>
                  <a:gd name="connsiteX22" fmla="*/ 696951 w 1020761"/>
                  <a:gd name="connsiteY22" fmla="*/ 1003500 h 1558384"/>
                  <a:gd name="connsiteX23" fmla="*/ 661693 w 1020761"/>
                  <a:gd name="connsiteY23" fmla="*/ 1047164 h 1558384"/>
                  <a:gd name="connsiteX24" fmla="*/ 672195 w 1020761"/>
                  <a:gd name="connsiteY24" fmla="*/ 1078298 h 1558384"/>
                  <a:gd name="connsiteX25" fmla="*/ 728082 w 1020761"/>
                  <a:gd name="connsiteY25" fmla="*/ 1114368 h 1558384"/>
                  <a:gd name="connsiteX26" fmla="*/ 724868 w 1020761"/>
                  <a:gd name="connsiteY26" fmla="*/ 1119006 h 1558384"/>
                  <a:gd name="connsiteX27" fmla="*/ 1020761 w 1020761"/>
                  <a:gd name="connsiteY27" fmla="*/ 1119006 h 1558384"/>
                  <a:gd name="connsiteX28" fmla="*/ 1020761 w 1020761"/>
                  <a:gd name="connsiteY28" fmla="*/ 1558384 h 1558384"/>
                  <a:gd name="connsiteX29" fmla="*/ 1006893 w 1020761"/>
                  <a:gd name="connsiteY29" fmla="*/ 1557660 h 1558384"/>
                  <a:gd name="connsiteX30" fmla="*/ 715505 w 1020761"/>
                  <a:gd name="connsiteY30" fmla="*/ 1306749 h 1558384"/>
                  <a:gd name="connsiteX31" fmla="*/ 598042 w 1020761"/>
                  <a:gd name="connsiteY31" fmla="*/ 1333148 h 1558384"/>
                  <a:gd name="connsiteX32" fmla="*/ 562107 w 1020761"/>
                  <a:gd name="connsiteY32" fmla="*/ 1339722 h 1558384"/>
                  <a:gd name="connsiteX33" fmla="*/ 470439 w 1020761"/>
                  <a:gd name="connsiteY33" fmla="*/ 1361947 h 1558384"/>
                  <a:gd name="connsiteX34" fmla="*/ 482193 w 1020761"/>
                  <a:gd name="connsiteY34" fmla="*/ 1428239 h 1558384"/>
                  <a:gd name="connsiteX35" fmla="*/ 410323 w 1020761"/>
                  <a:gd name="connsiteY35" fmla="*/ 1344849 h 1558384"/>
                  <a:gd name="connsiteX36" fmla="*/ 341152 w 1020761"/>
                  <a:gd name="connsiteY36" fmla="*/ 1378280 h 1558384"/>
                  <a:gd name="connsiteX37" fmla="*/ 314673 w 1020761"/>
                  <a:gd name="connsiteY37" fmla="*/ 1328133 h 1558384"/>
                  <a:gd name="connsiteX38" fmla="*/ 232128 w 1020761"/>
                  <a:gd name="connsiteY38" fmla="*/ 1306702 h 1558384"/>
                  <a:gd name="connsiteX39" fmla="*/ 214837 w 1020761"/>
                  <a:gd name="connsiteY39" fmla="*/ 1383789 h 1558384"/>
                  <a:gd name="connsiteX40" fmla="*/ 79937 w 1020761"/>
                  <a:gd name="connsiteY40" fmla="*/ 1310896 h 1558384"/>
                  <a:gd name="connsiteX41" fmla="*/ 30000 w 1020761"/>
                  <a:gd name="connsiteY41" fmla="*/ 1281339 h 1558384"/>
                  <a:gd name="connsiteX42" fmla="*/ 21743 w 1020761"/>
                  <a:gd name="connsiteY42" fmla="*/ 1276091 h 1558384"/>
                  <a:gd name="connsiteX43" fmla="*/ 0 w 1020761"/>
                  <a:gd name="connsiteY43" fmla="*/ 1202146 h 1558384"/>
                  <a:gd name="connsiteX44" fmla="*/ 6865 w 1020761"/>
                  <a:gd name="connsiteY44" fmla="*/ 1119006 h 1558384"/>
                  <a:gd name="connsiteX45" fmla="*/ 12673 w 1020761"/>
                  <a:gd name="connsiteY45" fmla="*/ 1119006 h 1558384"/>
                  <a:gd name="connsiteX46" fmla="*/ 22343 w 1020761"/>
                  <a:gd name="connsiteY46" fmla="*/ 1001889 h 1558384"/>
                  <a:gd name="connsiteX47" fmla="*/ 97952 w 1020761"/>
                  <a:gd name="connsiteY47" fmla="*/ 792917 h 1558384"/>
                  <a:gd name="connsiteX48" fmla="*/ 92136 w 1020761"/>
                  <a:gd name="connsiteY48" fmla="*/ 792361 h 1558384"/>
                  <a:gd name="connsiteX49" fmla="*/ 92206 w 1020761"/>
                  <a:gd name="connsiteY49" fmla="*/ 792169 h 1558384"/>
                  <a:gd name="connsiteX50" fmla="*/ 86201 w 1020761"/>
                  <a:gd name="connsiteY50" fmla="*/ 781492 h 1558384"/>
                  <a:gd name="connsiteX51" fmla="*/ 124947 w 1020761"/>
                  <a:gd name="connsiteY51" fmla="*/ 670139 h 1558384"/>
                  <a:gd name="connsiteX52" fmla="*/ 202981 w 1020761"/>
                  <a:gd name="connsiteY52" fmla="*/ 585503 h 1558384"/>
                  <a:gd name="connsiteX53" fmla="*/ 242759 w 1020761"/>
                  <a:gd name="connsiteY53" fmla="*/ 469146 h 1558384"/>
                  <a:gd name="connsiteX54" fmla="*/ 210842 w 1020761"/>
                  <a:gd name="connsiteY54" fmla="*/ 408538 h 1558384"/>
                  <a:gd name="connsiteX55" fmla="*/ 235972 w 1020761"/>
                  <a:gd name="connsiteY55" fmla="*/ 332222 h 1558384"/>
                  <a:gd name="connsiteX56" fmla="*/ 235972 w 1020761"/>
                  <a:gd name="connsiteY56" fmla="*/ 306783 h 1558384"/>
                  <a:gd name="connsiteX57" fmla="*/ 295236 w 1020761"/>
                  <a:gd name="connsiteY57" fmla="*/ 270714 h 1558384"/>
                  <a:gd name="connsiteX58" fmla="*/ 370627 w 1020761"/>
                  <a:gd name="connsiteY58" fmla="*/ 185665 h 1558384"/>
                  <a:gd name="connsiteX59" fmla="*/ 401759 w 1020761"/>
                  <a:gd name="connsiteY59" fmla="*/ 73658 h 1558384"/>
                  <a:gd name="connsiteX60" fmla="*/ 373628 w 1020761"/>
                  <a:gd name="connsiteY60" fmla="*/ 52396 h 1558384"/>
                  <a:gd name="connsiteX61" fmla="*/ 324492 w 1020761"/>
                  <a:gd name="connsiteY61" fmla="*/ 42145 h 1558384"/>
                  <a:gd name="connsiteX62" fmla="*/ 366877 w 1020761"/>
                  <a:gd name="connsiteY62" fmla="*/ 0 h 1558384"/>
                  <a:gd name="connsiteX0" fmla="*/ 366877 w 1020761"/>
                  <a:gd name="connsiteY0" fmla="*/ 0 h 1558384"/>
                  <a:gd name="connsiteX1" fmla="*/ 419013 w 1020761"/>
                  <a:gd name="connsiteY1" fmla="*/ 27337 h 1558384"/>
                  <a:gd name="connsiteX2" fmla="*/ 462148 w 1020761"/>
                  <a:gd name="connsiteY2" fmla="*/ 27337 h 1558384"/>
                  <a:gd name="connsiteX3" fmla="*/ 522911 w 1020761"/>
                  <a:gd name="connsiteY3" fmla="*/ 88466 h 1558384"/>
                  <a:gd name="connsiteX4" fmla="*/ 530038 w 1020761"/>
                  <a:gd name="connsiteY4" fmla="*/ 253248 h 1558384"/>
                  <a:gd name="connsiteX5" fmla="*/ 504907 w 1020761"/>
                  <a:gd name="connsiteY5" fmla="*/ 321591 h 1558384"/>
                  <a:gd name="connsiteX6" fmla="*/ 480152 w 1020761"/>
                  <a:gd name="connsiteY6" fmla="*/ 347409 h 1558384"/>
                  <a:gd name="connsiteX7" fmla="*/ 515410 w 1020761"/>
                  <a:gd name="connsiteY7" fmla="*/ 368292 h 1558384"/>
                  <a:gd name="connsiteX8" fmla="*/ 522911 w 1020761"/>
                  <a:gd name="connsiteY8" fmla="*/ 404362 h 1558384"/>
                  <a:gd name="connsiteX9" fmla="*/ 593802 w 1020761"/>
                  <a:gd name="connsiteY9" fmla="*/ 493967 h 1558384"/>
                  <a:gd name="connsiteX10" fmla="*/ 649690 w 1020761"/>
                  <a:gd name="connsiteY10" fmla="*/ 480298 h 1558384"/>
                  <a:gd name="connsiteX11" fmla="*/ 679697 w 1020761"/>
                  <a:gd name="connsiteY11" fmla="*/ 498523 h 1558384"/>
                  <a:gd name="connsiteX12" fmla="*/ 679697 w 1020761"/>
                  <a:gd name="connsiteY12" fmla="*/ 547502 h 1558384"/>
                  <a:gd name="connsiteX13" fmla="*/ 626060 w 1020761"/>
                  <a:gd name="connsiteY13" fmla="*/ 572941 h 1558384"/>
                  <a:gd name="connsiteX14" fmla="*/ 585926 w 1020761"/>
                  <a:gd name="connsiteY14" fmla="*/ 662546 h 1558384"/>
                  <a:gd name="connsiteX15" fmla="*/ 626060 w 1020761"/>
                  <a:gd name="connsiteY15" fmla="*/ 724054 h 1558384"/>
                  <a:gd name="connsiteX16" fmla="*/ 664318 w 1020761"/>
                  <a:gd name="connsiteY16" fmla="*/ 763162 h 1558384"/>
                  <a:gd name="connsiteX17" fmla="*/ 654191 w 1020761"/>
                  <a:gd name="connsiteY17" fmla="*/ 780627 h 1558384"/>
                  <a:gd name="connsiteX18" fmla="*/ 689824 w 1020761"/>
                  <a:gd name="connsiteY18" fmla="*/ 859980 h 1558384"/>
                  <a:gd name="connsiteX19" fmla="*/ 763715 w 1020761"/>
                  <a:gd name="connsiteY19" fmla="*/ 881243 h 1558384"/>
                  <a:gd name="connsiteX20" fmla="*/ 797473 w 1020761"/>
                  <a:gd name="connsiteY20" fmla="*/ 891494 h 1558384"/>
                  <a:gd name="connsiteX21" fmla="*/ 692449 w 1020761"/>
                  <a:gd name="connsiteY21" fmla="*/ 986035 h 1558384"/>
                  <a:gd name="connsiteX22" fmla="*/ 696951 w 1020761"/>
                  <a:gd name="connsiteY22" fmla="*/ 1003500 h 1558384"/>
                  <a:gd name="connsiteX23" fmla="*/ 661693 w 1020761"/>
                  <a:gd name="connsiteY23" fmla="*/ 1047164 h 1558384"/>
                  <a:gd name="connsiteX24" fmla="*/ 672195 w 1020761"/>
                  <a:gd name="connsiteY24" fmla="*/ 1078298 h 1558384"/>
                  <a:gd name="connsiteX25" fmla="*/ 728082 w 1020761"/>
                  <a:gd name="connsiteY25" fmla="*/ 1114368 h 1558384"/>
                  <a:gd name="connsiteX26" fmla="*/ 724868 w 1020761"/>
                  <a:gd name="connsiteY26" fmla="*/ 1119006 h 1558384"/>
                  <a:gd name="connsiteX27" fmla="*/ 1020761 w 1020761"/>
                  <a:gd name="connsiteY27" fmla="*/ 1119006 h 1558384"/>
                  <a:gd name="connsiteX28" fmla="*/ 1020761 w 1020761"/>
                  <a:gd name="connsiteY28" fmla="*/ 1558384 h 1558384"/>
                  <a:gd name="connsiteX29" fmla="*/ 715505 w 1020761"/>
                  <a:gd name="connsiteY29" fmla="*/ 1306749 h 1558384"/>
                  <a:gd name="connsiteX30" fmla="*/ 598042 w 1020761"/>
                  <a:gd name="connsiteY30" fmla="*/ 1333148 h 1558384"/>
                  <a:gd name="connsiteX31" fmla="*/ 562107 w 1020761"/>
                  <a:gd name="connsiteY31" fmla="*/ 1339722 h 1558384"/>
                  <a:gd name="connsiteX32" fmla="*/ 470439 w 1020761"/>
                  <a:gd name="connsiteY32" fmla="*/ 1361947 h 1558384"/>
                  <a:gd name="connsiteX33" fmla="*/ 482193 w 1020761"/>
                  <a:gd name="connsiteY33" fmla="*/ 1428239 h 1558384"/>
                  <a:gd name="connsiteX34" fmla="*/ 410323 w 1020761"/>
                  <a:gd name="connsiteY34" fmla="*/ 1344849 h 1558384"/>
                  <a:gd name="connsiteX35" fmla="*/ 341152 w 1020761"/>
                  <a:gd name="connsiteY35" fmla="*/ 1378280 h 1558384"/>
                  <a:gd name="connsiteX36" fmla="*/ 314673 w 1020761"/>
                  <a:gd name="connsiteY36" fmla="*/ 1328133 h 1558384"/>
                  <a:gd name="connsiteX37" fmla="*/ 232128 w 1020761"/>
                  <a:gd name="connsiteY37" fmla="*/ 1306702 h 1558384"/>
                  <a:gd name="connsiteX38" fmla="*/ 214837 w 1020761"/>
                  <a:gd name="connsiteY38" fmla="*/ 1383789 h 1558384"/>
                  <a:gd name="connsiteX39" fmla="*/ 79937 w 1020761"/>
                  <a:gd name="connsiteY39" fmla="*/ 1310896 h 1558384"/>
                  <a:gd name="connsiteX40" fmla="*/ 30000 w 1020761"/>
                  <a:gd name="connsiteY40" fmla="*/ 1281339 h 1558384"/>
                  <a:gd name="connsiteX41" fmla="*/ 21743 w 1020761"/>
                  <a:gd name="connsiteY41" fmla="*/ 1276091 h 1558384"/>
                  <a:gd name="connsiteX42" fmla="*/ 0 w 1020761"/>
                  <a:gd name="connsiteY42" fmla="*/ 1202146 h 1558384"/>
                  <a:gd name="connsiteX43" fmla="*/ 6865 w 1020761"/>
                  <a:gd name="connsiteY43" fmla="*/ 1119006 h 1558384"/>
                  <a:gd name="connsiteX44" fmla="*/ 12673 w 1020761"/>
                  <a:gd name="connsiteY44" fmla="*/ 1119006 h 1558384"/>
                  <a:gd name="connsiteX45" fmla="*/ 22343 w 1020761"/>
                  <a:gd name="connsiteY45" fmla="*/ 1001889 h 1558384"/>
                  <a:gd name="connsiteX46" fmla="*/ 97952 w 1020761"/>
                  <a:gd name="connsiteY46" fmla="*/ 792917 h 1558384"/>
                  <a:gd name="connsiteX47" fmla="*/ 92136 w 1020761"/>
                  <a:gd name="connsiteY47" fmla="*/ 792361 h 1558384"/>
                  <a:gd name="connsiteX48" fmla="*/ 92206 w 1020761"/>
                  <a:gd name="connsiteY48" fmla="*/ 792169 h 1558384"/>
                  <a:gd name="connsiteX49" fmla="*/ 86201 w 1020761"/>
                  <a:gd name="connsiteY49" fmla="*/ 781492 h 1558384"/>
                  <a:gd name="connsiteX50" fmla="*/ 124947 w 1020761"/>
                  <a:gd name="connsiteY50" fmla="*/ 670139 h 1558384"/>
                  <a:gd name="connsiteX51" fmla="*/ 202981 w 1020761"/>
                  <a:gd name="connsiteY51" fmla="*/ 585503 h 1558384"/>
                  <a:gd name="connsiteX52" fmla="*/ 242759 w 1020761"/>
                  <a:gd name="connsiteY52" fmla="*/ 469146 h 1558384"/>
                  <a:gd name="connsiteX53" fmla="*/ 210842 w 1020761"/>
                  <a:gd name="connsiteY53" fmla="*/ 408538 h 1558384"/>
                  <a:gd name="connsiteX54" fmla="*/ 235972 w 1020761"/>
                  <a:gd name="connsiteY54" fmla="*/ 332222 h 1558384"/>
                  <a:gd name="connsiteX55" fmla="*/ 235972 w 1020761"/>
                  <a:gd name="connsiteY55" fmla="*/ 306783 h 1558384"/>
                  <a:gd name="connsiteX56" fmla="*/ 295236 w 1020761"/>
                  <a:gd name="connsiteY56" fmla="*/ 270714 h 1558384"/>
                  <a:gd name="connsiteX57" fmla="*/ 370627 w 1020761"/>
                  <a:gd name="connsiteY57" fmla="*/ 185665 h 1558384"/>
                  <a:gd name="connsiteX58" fmla="*/ 401759 w 1020761"/>
                  <a:gd name="connsiteY58" fmla="*/ 73658 h 1558384"/>
                  <a:gd name="connsiteX59" fmla="*/ 373628 w 1020761"/>
                  <a:gd name="connsiteY59" fmla="*/ 52396 h 1558384"/>
                  <a:gd name="connsiteX60" fmla="*/ 324492 w 1020761"/>
                  <a:gd name="connsiteY60" fmla="*/ 42145 h 1558384"/>
                  <a:gd name="connsiteX61" fmla="*/ 366877 w 1020761"/>
                  <a:gd name="connsiteY61" fmla="*/ 0 h 1558384"/>
                  <a:gd name="connsiteX0" fmla="*/ 366877 w 1020761"/>
                  <a:gd name="connsiteY0" fmla="*/ 0 h 1428239"/>
                  <a:gd name="connsiteX1" fmla="*/ 419013 w 1020761"/>
                  <a:gd name="connsiteY1" fmla="*/ 27337 h 1428239"/>
                  <a:gd name="connsiteX2" fmla="*/ 462148 w 1020761"/>
                  <a:gd name="connsiteY2" fmla="*/ 27337 h 1428239"/>
                  <a:gd name="connsiteX3" fmla="*/ 522911 w 1020761"/>
                  <a:gd name="connsiteY3" fmla="*/ 88466 h 1428239"/>
                  <a:gd name="connsiteX4" fmla="*/ 530038 w 1020761"/>
                  <a:gd name="connsiteY4" fmla="*/ 253248 h 1428239"/>
                  <a:gd name="connsiteX5" fmla="*/ 504907 w 1020761"/>
                  <a:gd name="connsiteY5" fmla="*/ 321591 h 1428239"/>
                  <a:gd name="connsiteX6" fmla="*/ 480152 w 1020761"/>
                  <a:gd name="connsiteY6" fmla="*/ 347409 h 1428239"/>
                  <a:gd name="connsiteX7" fmla="*/ 515410 w 1020761"/>
                  <a:gd name="connsiteY7" fmla="*/ 368292 h 1428239"/>
                  <a:gd name="connsiteX8" fmla="*/ 522911 w 1020761"/>
                  <a:gd name="connsiteY8" fmla="*/ 404362 h 1428239"/>
                  <a:gd name="connsiteX9" fmla="*/ 593802 w 1020761"/>
                  <a:gd name="connsiteY9" fmla="*/ 493967 h 1428239"/>
                  <a:gd name="connsiteX10" fmla="*/ 649690 w 1020761"/>
                  <a:gd name="connsiteY10" fmla="*/ 480298 h 1428239"/>
                  <a:gd name="connsiteX11" fmla="*/ 679697 w 1020761"/>
                  <a:gd name="connsiteY11" fmla="*/ 498523 h 1428239"/>
                  <a:gd name="connsiteX12" fmla="*/ 679697 w 1020761"/>
                  <a:gd name="connsiteY12" fmla="*/ 547502 h 1428239"/>
                  <a:gd name="connsiteX13" fmla="*/ 626060 w 1020761"/>
                  <a:gd name="connsiteY13" fmla="*/ 572941 h 1428239"/>
                  <a:gd name="connsiteX14" fmla="*/ 585926 w 1020761"/>
                  <a:gd name="connsiteY14" fmla="*/ 662546 h 1428239"/>
                  <a:gd name="connsiteX15" fmla="*/ 626060 w 1020761"/>
                  <a:gd name="connsiteY15" fmla="*/ 724054 h 1428239"/>
                  <a:gd name="connsiteX16" fmla="*/ 664318 w 1020761"/>
                  <a:gd name="connsiteY16" fmla="*/ 763162 h 1428239"/>
                  <a:gd name="connsiteX17" fmla="*/ 654191 w 1020761"/>
                  <a:gd name="connsiteY17" fmla="*/ 780627 h 1428239"/>
                  <a:gd name="connsiteX18" fmla="*/ 689824 w 1020761"/>
                  <a:gd name="connsiteY18" fmla="*/ 859980 h 1428239"/>
                  <a:gd name="connsiteX19" fmla="*/ 763715 w 1020761"/>
                  <a:gd name="connsiteY19" fmla="*/ 881243 h 1428239"/>
                  <a:gd name="connsiteX20" fmla="*/ 797473 w 1020761"/>
                  <a:gd name="connsiteY20" fmla="*/ 891494 h 1428239"/>
                  <a:gd name="connsiteX21" fmla="*/ 692449 w 1020761"/>
                  <a:gd name="connsiteY21" fmla="*/ 986035 h 1428239"/>
                  <a:gd name="connsiteX22" fmla="*/ 696951 w 1020761"/>
                  <a:gd name="connsiteY22" fmla="*/ 1003500 h 1428239"/>
                  <a:gd name="connsiteX23" fmla="*/ 661693 w 1020761"/>
                  <a:gd name="connsiteY23" fmla="*/ 1047164 h 1428239"/>
                  <a:gd name="connsiteX24" fmla="*/ 672195 w 1020761"/>
                  <a:gd name="connsiteY24" fmla="*/ 1078298 h 1428239"/>
                  <a:gd name="connsiteX25" fmla="*/ 728082 w 1020761"/>
                  <a:gd name="connsiteY25" fmla="*/ 1114368 h 1428239"/>
                  <a:gd name="connsiteX26" fmla="*/ 724868 w 1020761"/>
                  <a:gd name="connsiteY26" fmla="*/ 1119006 h 1428239"/>
                  <a:gd name="connsiteX27" fmla="*/ 1020761 w 1020761"/>
                  <a:gd name="connsiteY27" fmla="*/ 1119006 h 1428239"/>
                  <a:gd name="connsiteX28" fmla="*/ 720723 w 1020761"/>
                  <a:gd name="connsiteY28" fmla="*/ 1246440 h 1428239"/>
                  <a:gd name="connsiteX29" fmla="*/ 715505 w 1020761"/>
                  <a:gd name="connsiteY29" fmla="*/ 1306749 h 1428239"/>
                  <a:gd name="connsiteX30" fmla="*/ 598042 w 1020761"/>
                  <a:gd name="connsiteY30" fmla="*/ 1333148 h 1428239"/>
                  <a:gd name="connsiteX31" fmla="*/ 562107 w 1020761"/>
                  <a:gd name="connsiteY31" fmla="*/ 1339722 h 1428239"/>
                  <a:gd name="connsiteX32" fmla="*/ 470439 w 1020761"/>
                  <a:gd name="connsiteY32" fmla="*/ 1361947 h 1428239"/>
                  <a:gd name="connsiteX33" fmla="*/ 482193 w 1020761"/>
                  <a:gd name="connsiteY33" fmla="*/ 1428239 h 1428239"/>
                  <a:gd name="connsiteX34" fmla="*/ 410323 w 1020761"/>
                  <a:gd name="connsiteY34" fmla="*/ 1344849 h 1428239"/>
                  <a:gd name="connsiteX35" fmla="*/ 341152 w 1020761"/>
                  <a:gd name="connsiteY35" fmla="*/ 1378280 h 1428239"/>
                  <a:gd name="connsiteX36" fmla="*/ 314673 w 1020761"/>
                  <a:gd name="connsiteY36" fmla="*/ 1328133 h 1428239"/>
                  <a:gd name="connsiteX37" fmla="*/ 232128 w 1020761"/>
                  <a:gd name="connsiteY37" fmla="*/ 1306702 h 1428239"/>
                  <a:gd name="connsiteX38" fmla="*/ 214837 w 1020761"/>
                  <a:gd name="connsiteY38" fmla="*/ 1383789 h 1428239"/>
                  <a:gd name="connsiteX39" fmla="*/ 79937 w 1020761"/>
                  <a:gd name="connsiteY39" fmla="*/ 1310896 h 1428239"/>
                  <a:gd name="connsiteX40" fmla="*/ 30000 w 1020761"/>
                  <a:gd name="connsiteY40" fmla="*/ 1281339 h 1428239"/>
                  <a:gd name="connsiteX41" fmla="*/ 21743 w 1020761"/>
                  <a:gd name="connsiteY41" fmla="*/ 1276091 h 1428239"/>
                  <a:gd name="connsiteX42" fmla="*/ 0 w 1020761"/>
                  <a:gd name="connsiteY42" fmla="*/ 1202146 h 1428239"/>
                  <a:gd name="connsiteX43" fmla="*/ 6865 w 1020761"/>
                  <a:gd name="connsiteY43" fmla="*/ 1119006 h 1428239"/>
                  <a:gd name="connsiteX44" fmla="*/ 12673 w 1020761"/>
                  <a:gd name="connsiteY44" fmla="*/ 1119006 h 1428239"/>
                  <a:gd name="connsiteX45" fmla="*/ 22343 w 1020761"/>
                  <a:gd name="connsiteY45" fmla="*/ 1001889 h 1428239"/>
                  <a:gd name="connsiteX46" fmla="*/ 97952 w 1020761"/>
                  <a:gd name="connsiteY46" fmla="*/ 792917 h 1428239"/>
                  <a:gd name="connsiteX47" fmla="*/ 92136 w 1020761"/>
                  <a:gd name="connsiteY47" fmla="*/ 792361 h 1428239"/>
                  <a:gd name="connsiteX48" fmla="*/ 92206 w 1020761"/>
                  <a:gd name="connsiteY48" fmla="*/ 792169 h 1428239"/>
                  <a:gd name="connsiteX49" fmla="*/ 86201 w 1020761"/>
                  <a:gd name="connsiteY49" fmla="*/ 781492 h 1428239"/>
                  <a:gd name="connsiteX50" fmla="*/ 124947 w 1020761"/>
                  <a:gd name="connsiteY50" fmla="*/ 670139 h 1428239"/>
                  <a:gd name="connsiteX51" fmla="*/ 202981 w 1020761"/>
                  <a:gd name="connsiteY51" fmla="*/ 585503 h 1428239"/>
                  <a:gd name="connsiteX52" fmla="*/ 242759 w 1020761"/>
                  <a:gd name="connsiteY52" fmla="*/ 469146 h 1428239"/>
                  <a:gd name="connsiteX53" fmla="*/ 210842 w 1020761"/>
                  <a:gd name="connsiteY53" fmla="*/ 408538 h 1428239"/>
                  <a:gd name="connsiteX54" fmla="*/ 235972 w 1020761"/>
                  <a:gd name="connsiteY54" fmla="*/ 332222 h 1428239"/>
                  <a:gd name="connsiteX55" fmla="*/ 235972 w 1020761"/>
                  <a:gd name="connsiteY55" fmla="*/ 306783 h 1428239"/>
                  <a:gd name="connsiteX56" fmla="*/ 295236 w 1020761"/>
                  <a:gd name="connsiteY56" fmla="*/ 270714 h 1428239"/>
                  <a:gd name="connsiteX57" fmla="*/ 370627 w 1020761"/>
                  <a:gd name="connsiteY57" fmla="*/ 185665 h 1428239"/>
                  <a:gd name="connsiteX58" fmla="*/ 401759 w 1020761"/>
                  <a:gd name="connsiteY58" fmla="*/ 73658 h 1428239"/>
                  <a:gd name="connsiteX59" fmla="*/ 373628 w 1020761"/>
                  <a:gd name="connsiteY59" fmla="*/ 52396 h 1428239"/>
                  <a:gd name="connsiteX60" fmla="*/ 324492 w 1020761"/>
                  <a:gd name="connsiteY60" fmla="*/ 42145 h 1428239"/>
                  <a:gd name="connsiteX61" fmla="*/ 366877 w 1020761"/>
                  <a:gd name="connsiteY61" fmla="*/ 0 h 1428239"/>
                  <a:gd name="connsiteX0" fmla="*/ 366877 w 797473"/>
                  <a:gd name="connsiteY0" fmla="*/ 0 h 1428239"/>
                  <a:gd name="connsiteX1" fmla="*/ 419013 w 797473"/>
                  <a:gd name="connsiteY1" fmla="*/ 27337 h 1428239"/>
                  <a:gd name="connsiteX2" fmla="*/ 462148 w 797473"/>
                  <a:gd name="connsiteY2" fmla="*/ 27337 h 1428239"/>
                  <a:gd name="connsiteX3" fmla="*/ 522911 w 797473"/>
                  <a:gd name="connsiteY3" fmla="*/ 88466 h 1428239"/>
                  <a:gd name="connsiteX4" fmla="*/ 530038 w 797473"/>
                  <a:gd name="connsiteY4" fmla="*/ 253248 h 1428239"/>
                  <a:gd name="connsiteX5" fmla="*/ 504907 w 797473"/>
                  <a:gd name="connsiteY5" fmla="*/ 321591 h 1428239"/>
                  <a:gd name="connsiteX6" fmla="*/ 480152 w 797473"/>
                  <a:gd name="connsiteY6" fmla="*/ 347409 h 1428239"/>
                  <a:gd name="connsiteX7" fmla="*/ 515410 w 797473"/>
                  <a:gd name="connsiteY7" fmla="*/ 368292 h 1428239"/>
                  <a:gd name="connsiteX8" fmla="*/ 522911 w 797473"/>
                  <a:gd name="connsiteY8" fmla="*/ 404362 h 1428239"/>
                  <a:gd name="connsiteX9" fmla="*/ 593802 w 797473"/>
                  <a:gd name="connsiteY9" fmla="*/ 493967 h 1428239"/>
                  <a:gd name="connsiteX10" fmla="*/ 649690 w 797473"/>
                  <a:gd name="connsiteY10" fmla="*/ 480298 h 1428239"/>
                  <a:gd name="connsiteX11" fmla="*/ 679697 w 797473"/>
                  <a:gd name="connsiteY11" fmla="*/ 498523 h 1428239"/>
                  <a:gd name="connsiteX12" fmla="*/ 679697 w 797473"/>
                  <a:gd name="connsiteY12" fmla="*/ 547502 h 1428239"/>
                  <a:gd name="connsiteX13" fmla="*/ 626060 w 797473"/>
                  <a:gd name="connsiteY13" fmla="*/ 572941 h 1428239"/>
                  <a:gd name="connsiteX14" fmla="*/ 585926 w 797473"/>
                  <a:gd name="connsiteY14" fmla="*/ 662546 h 1428239"/>
                  <a:gd name="connsiteX15" fmla="*/ 626060 w 797473"/>
                  <a:gd name="connsiteY15" fmla="*/ 724054 h 1428239"/>
                  <a:gd name="connsiteX16" fmla="*/ 664318 w 797473"/>
                  <a:gd name="connsiteY16" fmla="*/ 763162 h 1428239"/>
                  <a:gd name="connsiteX17" fmla="*/ 654191 w 797473"/>
                  <a:gd name="connsiteY17" fmla="*/ 780627 h 1428239"/>
                  <a:gd name="connsiteX18" fmla="*/ 689824 w 797473"/>
                  <a:gd name="connsiteY18" fmla="*/ 859980 h 1428239"/>
                  <a:gd name="connsiteX19" fmla="*/ 763715 w 797473"/>
                  <a:gd name="connsiteY19" fmla="*/ 881243 h 1428239"/>
                  <a:gd name="connsiteX20" fmla="*/ 797473 w 797473"/>
                  <a:gd name="connsiteY20" fmla="*/ 891494 h 1428239"/>
                  <a:gd name="connsiteX21" fmla="*/ 692449 w 797473"/>
                  <a:gd name="connsiteY21" fmla="*/ 986035 h 1428239"/>
                  <a:gd name="connsiteX22" fmla="*/ 696951 w 797473"/>
                  <a:gd name="connsiteY22" fmla="*/ 1003500 h 1428239"/>
                  <a:gd name="connsiteX23" fmla="*/ 661693 w 797473"/>
                  <a:gd name="connsiteY23" fmla="*/ 1047164 h 1428239"/>
                  <a:gd name="connsiteX24" fmla="*/ 672195 w 797473"/>
                  <a:gd name="connsiteY24" fmla="*/ 1078298 h 1428239"/>
                  <a:gd name="connsiteX25" fmla="*/ 728082 w 797473"/>
                  <a:gd name="connsiteY25" fmla="*/ 1114368 h 1428239"/>
                  <a:gd name="connsiteX26" fmla="*/ 724868 w 797473"/>
                  <a:gd name="connsiteY26" fmla="*/ 1119006 h 1428239"/>
                  <a:gd name="connsiteX27" fmla="*/ 692149 w 797473"/>
                  <a:gd name="connsiteY27" fmla="*/ 1207112 h 1428239"/>
                  <a:gd name="connsiteX28" fmla="*/ 720723 w 797473"/>
                  <a:gd name="connsiteY28" fmla="*/ 1246440 h 1428239"/>
                  <a:gd name="connsiteX29" fmla="*/ 715505 w 797473"/>
                  <a:gd name="connsiteY29" fmla="*/ 1306749 h 1428239"/>
                  <a:gd name="connsiteX30" fmla="*/ 598042 w 797473"/>
                  <a:gd name="connsiteY30" fmla="*/ 1333148 h 1428239"/>
                  <a:gd name="connsiteX31" fmla="*/ 562107 w 797473"/>
                  <a:gd name="connsiteY31" fmla="*/ 1339722 h 1428239"/>
                  <a:gd name="connsiteX32" fmla="*/ 470439 w 797473"/>
                  <a:gd name="connsiteY32" fmla="*/ 1361947 h 1428239"/>
                  <a:gd name="connsiteX33" fmla="*/ 482193 w 797473"/>
                  <a:gd name="connsiteY33" fmla="*/ 1428239 h 1428239"/>
                  <a:gd name="connsiteX34" fmla="*/ 410323 w 797473"/>
                  <a:gd name="connsiteY34" fmla="*/ 1344849 h 1428239"/>
                  <a:gd name="connsiteX35" fmla="*/ 341152 w 797473"/>
                  <a:gd name="connsiteY35" fmla="*/ 1378280 h 1428239"/>
                  <a:gd name="connsiteX36" fmla="*/ 314673 w 797473"/>
                  <a:gd name="connsiteY36" fmla="*/ 1328133 h 1428239"/>
                  <a:gd name="connsiteX37" fmla="*/ 232128 w 797473"/>
                  <a:gd name="connsiteY37" fmla="*/ 1306702 h 1428239"/>
                  <a:gd name="connsiteX38" fmla="*/ 214837 w 797473"/>
                  <a:gd name="connsiteY38" fmla="*/ 1383789 h 1428239"/>
                  <a:gd name="connsiteX39" fmla="*/ 79937 w 797473"/>
                  <a:gd name="connsiteY39" fmla="*/ 1310896 h 1428239"/>
                  <a:gd name="connsiteX40" fmla="*/ 30000 w 797473"/>
                  <a:gd name="connsiteY40" fmla="*/ 1281339 h 1428239"/>
                  <a:gd name="connsiteX41" fmla="*/ 21743 w 797473"/>
                  <a:gd name="connsiteY41" fmla="*/ 1276091 h 1428239"/>
                  <a:gd name="connsiteX42" fmla="*/ 0 w 797473"/>
                  <a:gd name="connsiteY42" fmla="*/ 1202146 h 1428239"/>
                  <a:gd name="connsiteX43" fmla="*/ 6865 w 797473"/>
                  <a:gd name="connsiteY43" fmla="*/ 1119006 h 1428239"/>
                  <a:gd name="connsiteX44" fmla="*/ 12673 w 797473"/>
                  <a:gd name="connsiteY44" fmla="*/ 1119006 h 1428239"/>
                  <a:gd name="connsiteX45" fmla="*/ 22343 w 797473"/>
                  <a:gd name="connsiteY45" fmla="*/ 1001889 h 1428239"/>
                  <a:gd name="connsiteX46" fmla="*/ 97952 w 797473"/>
                  <a:gd name="connsiteY46" fmla="*/ 792917 h 1428239"/>
                  <a:gd name="connsiteX47" fmla="*/ 92136 w 797473"/>
                  <a:gd name="connsiteY47" fmla="*/ 792361 h 1428239"/>
                  <a:gd name="connsiteX48" fmla="*/ 92206 w 797473"/>
                  <a:gd name="connsiteY48" fmla="*/ 792169 h 1428239"/>
                  <a:gd name="connsiteX49" fmla="*/ 86201 w 797473"/>
                  <a:gd name="connsiteY49" fmla="*/ 781492 h 1428239"/>
                  <a:gd name="connsiteX50" fmla="*/ 124947 w 797473"/>
                  <a:gd name="connsiteY50" fmla="*/ 670139 h 1428239"/>
                  <a:gd name="connsiteX51" fmla="*/ 202981 w 797473"/>
                  <a:gd name="connsiteY51" fmla="*/ 585503 h 1428239"/>
                  <a:gd name="connsiteX52" fmla="*/ 242759 w 797473"/>
                  <a:gd name="connsiteY52" fmla="*/ 469146 h 1428239"/>
                  <a:gd name="connsiteX53" fmla="*/ 210842 w 797473"/>
                  <a:gd name="connsiteY53" fmla="*/ 408538 h 1428239"/>
                  <a:gd name="connsiteX54" fmla="*/ 235972 w 797473"/>
                  <a:gd name="connsiteY54" fmla="*/ 332222 h 1428239"/>
                  <a:gd name="connsiteX55" fmla="*/ 235972 w 797473"/>
                  <a:gd name="connsiteY55" fmla="*/ 306783 h 1428239"/>
                  <a:gd name="connsiteX56" fmla="*/ 295236 w 797473"/>
                  <a:gd name="connsiteY56" fmla="*/ 270714 h 1428239"/>
                  <a:gd name="connsiteX57" fmla="*/ 370627 w 797473"/>
                  <a:gd name="connsiteY57" fmla="*/ 185665 h 1428239"/>
                  <a:gd name="connsiteX58" fmla="*/ 401759 w 797473"/>
                  <a:gd name="connsiteY58" fmla="*/ 73658 h 1428239"/>
                  <a:gd name="connsiteX59" fmla="*/ 373628 w 797473"/>
                  <a:gd name="connsiteY59" fmla="*/ 52396 h 1428239"/>
                  <a:gd name="connsiteX60" fmla="*/ 324492 w 797473"/>
                  <a:gd name="connsiteY60" fmla="*/ 42145 h 1428239"/>
                  <a:gd name="connsiteX61" fmla="*/ 366877 w 797473"/>
                  <a:gd name="connsiteY61" fmla="*/ 0 h 1428239"/>
                  <a:gd name="connsiteX0" fmla="*/ 366877 w 797473"/>
                  <a:gd name="connsiteY0" fmla="*/ 0 h 1428239"/>
                  <a:gd name="connsiteX1" fmla="*/ 419013 w 797473"/>
                  <a:gd name="connsiteY1" fmla="*/ 27337 h 1428239"/>
                  <a:gd name="connsiteX2" fmla="*/ 462148 w 797473"/>
                  <a:gd name="connsiteY2" fmla="*/ 27337 h 1428239"/>
                  <a:gd name="connsiteX3" fmla="*/ 522911 w 797473"/>
                  <a:gd name="connsiteY3" fmla="*/ 88466 h 1428239"/>
                  <a:gd name="connsiteX4" fmla="*/ 530038 w 797473"/>
                  <a:gd name="connsiteY4" fmla="*/ 253248 h 1428239"/>
                  <a:gd name="connsiteX5" fmla="*/ 504907 w 797473"/>
                  <a:gd name="connsiteY5" fmla="*/ 321591 h 1428239"/>
                  <a:gd name="connsiteX6" fmla="*/ 480152 w 797473"/>
                  <a:gd name="connsiteY6" fmla="*/ 347409 h 1428239"/>
                  <a:gd name="connsiteX7" fmla="*/ 515410 w 797473"/>
                  <a:gd name="connsiteY7" fmla="*/ 368292 h 1428239"/>
                  <a:gd name="connsiteX8" fmla="*/ 522911 w 797473"/>
                  <a:gd name="connsiteY8" fmla="*/ 404362 h 1428239"/>
                  <a:gd name="connsiteX9" fmla="*/ 593802 w 797473"/>
                  <a:gd name="connsiteY9" fmla="*/ 493967 h 1428239"/>
                  <a:gd name="connsiteX10" fmla="*/ 649690 w 797473"/>
                  <a:gd name="connsiteY10" fmla="*/ 480298 h 1428239"/>
                  <a:gd name="connsiteX11" fmla="*/ 679697 w 797473"/>
                  <a:gd name="connsiteY11" fmla="*/ 498523 h 1428239"/>
                  <a:gd name="connsiteX12" fmla="*/ 679697 w 797473"/>
                  <a:gd name="connsiteY12" fmla="*/ 547502 h 1428239"/>
                  <a:gd name="connsiteX13" fmla="*/ 626060 w 797473"/>
                  <a:gd name="connsiteY13" fmla="*/ 572941 h 1428239"/>
                  <a:gd name="connsiteX14" fmla="*/ 585926 w 797473"/>
                  <a:gd name="connsiteY14" fmla="*/ 662546 h 1428239"/>
                  <a:gd name="connsiteX15" fmla="*/ 626060 w 797473"/>
                  <a:gd name="connsiteY15" fmla="*/ 724054 h 1428239"/>
                  <a:gd name="connsiteX16" fmla="*/ 664318 w 797473"/>
                  <a:gd name="connsiteY16" fmla="*/ 763162 h 1428239"/>
                  <a:gd name="connsiteX17" fmla="*/ 654191 w 797473"/>
                  <a:gd name="connsiteY17" fmla="*/ 780627 h 1428239"/>
                  <a:gd name="connsiteX18" fmla="*/ 689824 w 797473"/>
                  <a:gd name="connsiteY18" fmla="*/ 859980 h 1428239"/>
                  <a:gd name="connsiteX19" fmla="*/ 763715 w 797473"/>
                  <a:gd name="connsiteY19" fmla="*/ 881243 h 1428239"/>
                  <a:gd name="connsiteX20" fmla="*/ 797473 w 797473"/>
                  <a:gd name="connsiteY20" fmla="*/ 891494 h 1428239"/>
                  <a:gd name="connsiteX21" fmla="*/ 692449 w 797473"/>
                  <a:gd name="connsiteY21" fmla="*/ 986035 h 1428239"/>
                  <a:gd name="connsiteX22" fmla="*/ 696951 w 797473"/>
                  <a:gd name="connsiteY22" fmla="*/ 1003500 h 1428239"/>
                  <a:gd name="connsiteX23" fmla="*/ 661693 w 797473"/>
                  <a:gd name="connsiteY23" fmla="*/ 1047164 h 1428239"/>
                  <a:gd name="connsiteX24" fmla="*/ 672195 w 797473"/>
                  <a:gd name="connsiteY24" fmla="*/ 1078298 h 1428239"/>
                  <a:gd name="connsiteX25" fmla="*/ 728082 w 797473"/>
                  <a:gd name="connsiteY25" fmla="*/ 1114368 h 1428239"/>
                  <a:gd name="connsiteX26" fmla="*/ 724868 w 797473"/>
                  <a:gd name="connsiteY26" fmla="*/ 1119006 h 1428239"/>
                  <a:gd name="connsiteX27" fmla="*/ 692149 w 797473"/>
                  <a:gd name="connsiteY27" fmla="*/ 1207112 h 1428239"/>
                  <a:gd name="connsiteX28" fmla="*/ 720723 w 797473"/>
                  <a:gd name="connsiteY28" fmla="*/ 1246440 h 1428239"/>
                  <a:gd name="connsiteX29" fmla="*/ 715505 w 797473"/>
                  <a:gd name="connsiteY29" fmla="*/ 1306749 h 1428239"/>
                  <a:gd name="connsiteX30" fmla="*/ 598042 w 797473"/>
                  <a:gd name="connsiteY30" fmla="*/ 1333148 h 1428239"/>
                  <a:gd name="connsiteX31" fmla="*/ 562107 w 797473"/>
                  <a:gd name="connsiteY31" fmla="*/ 1339722 h 1428239"/>
                  <a:gd name="connsiteX32" fmla="*/ 470439 w 797473"/>
                  <a:gd name="connsiteY32" fmla="*/ 1361947 h 1428239"/>
                  <a:gd name="connsiteX33" fmla="*/ 482193 w 797473"/>
                  <a:gd name="connsiteY33" fmla="*/ 1428239 h 1428239"/>
                  <a:gd name="connsiteX34" fmla="*/ 410323 w 797473"/>
                  <a:gd name="connsiteY34" fmla="*/ 1344849 h 1428239"/>
                  <a:gd name="connsiteX35" fmla="*/ 341152 w 797473"/>
                  <a:gd name="connsiteY35" fmla="*/ 1378280 h 1428239"/>
                  <a:gd name="connsiteX36" fmla="*/ 314673 w 797473"/>
                  <a:gd name="connsiteY36" fmla="*/ 1328133 h 1428239"/>
                  <a:gd name="connsiteX37" fmla="*/ 232128 w 797473"/>
                  <a:gd name="connsiteY37" fmla="*/ 1306702 h 1428239"/>
                  <a:gd name="connsiteX38" fmla="*/ 214837 w 797473"/>
                  <a:gd name="connsiteY38" fmla="*/ 1383789 h 1428239"/>
                  <a:gd name="connsiteX39" fmla="*/ 79937 w 797473"/>
                  <a:gd name="connsiteY39" fmla="*/ 1310896 h 1428239"/>
                  <a:gd name="connsiteX40" fmla="*/ 30000 w 797473"/>
                  <a:gd name="connsiteY40" fmla="*/ 1281339 h 1428239"/>
                  <a:gd name="connsiteX41" fmla="*/ 21743 w 797473"/>
                  <a:gd name="connsiteY41" fmla="*/ 1276091 h 1428239"/>
                  <a:gd name="connsiteX42" fmla="*/ 0 w 797473"/>
                  <a:gd name="connsiteY42" fmla="*/ 1202146 h 1428239"/>
                  <a:gd name="connsiteX43" fmla="*/ 6865 w 797473"/>
                  <a:gd name="connsiteY43" fmla="*/ 1119006 h 1428239"/>
                  <a:gd name="connsiteX44" fmla="*/ 12673 w 797473"/>
                  <a:gd name="connsiteY44" fmla="*/ 1119006 h 1428239"/>
                  <a:gd name="connsiteX45" fmla="*/ 22343 w 797473"/>
                  <a:gd name="connsiteY45" fmla="*/ 1001889 h 1428239"/>
                  <a:gd name="connsiteX46" fmla="*/ 97952 w 797473"/>
                  <a:gd name="connsiteY46" fmla="*/ 792917 h 1428239"/>
                  <a:gd name="connsiteX47" fmla="*/ 92136 w 797473"/>
                  <a:gd name="connsiteY47" fmla="*/ 792361 h 1428239"/>
                  <a:gd name="connsiteX48" fmla="*/ 92206 w 797473"/>
                  <a:gd name="connsiteY48" fmla="*/ 792169 h 1428239"/>
                  <a:gd name="connsiteX49" fmla="*/ 86201 w 797473"/>
                  <a:gd name="connsiteY49" fmla="*/ 781492 h 1428239"/>
                  <a:gd name="connsiteX50" fmla="*/ 124947 w 797473"/>
                  <a:gd name="connsiteY50" fmla="*/ 670139 h 1428239"/>
                  <a:gd name="connsiteX51" fmla="*/ 202981 w 797473"/>
                  <a:gd name="connsiteY51" fmla="*/ 585503 h 1428239"/>
                  <a:gd name="connsiteX52" fmla="*/ 242759 w 797473"/>
                  <a:gd name="connsiteY52" fmla="*/ 469146 h 1428239"/>
                  <a:gd name="connsiteX53" fmla="*/ 210842 w 797473"/>
                  <a:gd name="connsiteY53" fmla="*/ 408538 h 1428239"/>
                  <a:gd name="connsiteX54" fmla="*/ 235972 w 797473"/>
                  <a:gd name="connsiteY54" fmla="*/ 332222 h 1428239"/>
                  <a:gd name="connsiteX55" fmla="*/ 235972 w 797473"/>
                  <a:gd name="connsiteY55" fmla="*/ 306783 h 1428239"/>
                  <a:gd name="connsiteX56" fmla="*/ 295236 w 797473"/>
                  <a:gd name="connsiteY56" fmla="*/ 270714 h 1428239"/>
                  <a:gd name="connsiteX57" fmla="*/ 370627 w 797473"/>
                  <a:gd name="connsiteY57" fmla="*/ 185665 h 1428239"/>
                  <a:gd name="connsiteX58" fmla="*/ 401759 w 797473"/>
                  <a:gd name="connsiteY58" fmla="*/ 73658 h 1428239"/>
                  <a:gd name="connsiteX59" fmla="*/ 373628 w 797473"/>
                  <a:gd name="connsiteY59" fmla="*/ 52396 h 1428239"/>
                  <a:gd name="connsiteX60" fmla="*/ 324492 w 797473"/>
                  <a:gd name="connsiteY60" fmla="*/ 42145 h 1428239"/>
                  <a:gd name="connsiteX61" fmla="*/ 366877 w 797473"/>
                  <a:gd name="connsiteY61" fmla="*/ 0 h 1428239"/>
                  <a:gd name="connsiteX0" fmla="*/ 366877 w 797473"/>
                  <a:gd name="connsiteY0" fmla="*/ 0 h 1428239"/>
                  <a:gd name="connsiteX1" fmla="*/ 419013 w 797473"/>
                  <a:gd name="connsiteY1" fmla="*/ 27337 h 1428239"/>
                  <a:gd name="connsiteX2" fmla="*/ 462148 w 797473"/>
                  <a:gd name="connsiteY2" fmla="*/ 27337 h 1428239"/>
                  <a:gd name="connsiteX3" fmla="*/ 522911 w 797473"/>
                  <a:gd name="connsiteY3" fmla="*/ 88466 h 1428239"/>
                  <a:gd name="connsiteX4" fmla="*/ 530038 w 797473"/>
                  <a:gd name="connsiteY4" fmla="*/ 253248 h 1428239"/>
                  <a:gd name="connsiteX5" fmla="*/ 504907 w 797473"/>
                  <a:gd name="connsiteY5" fmla="*/ 321591 h 1428239"/>
                  <a:gd name="connsiteX6" fmla="*/ 480152 w 797473"/>
                  <a:gd name="connsiteY6" fmla="*/ 347409 h 1428239"/>
                  <a:gd name="connsiteX7" fmla="*/ 515410 w 797473"/>
                  <a:gd name="connsiteY7" fmla="*/ 368292 h 1428239"/>
                  <a:gd name="connsiteX8" fmla="*/ 522911 w 797473"/>
                  <a:gd name="connsiteY8" fmla="*/ 404362 h 1428239"/>
                  <a:gd name="connsiteX9" fmla="*/ 593802 w 797473"/>
                  <a:gd name="connsiteY9" fmla="*/ 493967 h 1428239"/>
                  <a:gd name="connsiteX10" fmla="*/ 649690 w 797473"/>
                  <a:gd name="connsiteY10" fmla="*/ 480298 h 1428239"/>
                  <a:gd name="connsiteX11" fmla="*/ 679697 w 797473"/>
                  <a:gd name="connsiteY11" fmla="*/ 498523 h 1428239"/>
                  <a:gd name="connsiteX12" fmla="*/ 679697 w 797473"/>
                  <a:gd name="connsiteY12" fmla="*/ 547502 h 1428239"/>
                  <a:gd name="connsiteX13" fmla="*/ 626060 w 797473"/>
                  <a:gd name="connsiteY13" fmla="*/ 572941 h 1428239"/>
                  <a:gd name="connsiteX14" fmla="*/ 585926 w 797473"/>
                  <a:gd name="connsiteY14" fmla="*/ 662546 h 1428239"/>
                  <a:gd name="connsiteX15" fmla="*/ 626060 w 797473"/>
                  <a:gd name="connsiteY15" fmla="*/ 724054 h 1428239"/>
                  <a:gd name="connsiteX16" fmla="*/ 664318 w 797473"/>
                  <a:gd name="connsiteY16" fmla="*/ 763162 h 1428239"/>
                  <a:gd name="connsiteX17" fmla="*/ 654191 w 797473"/>
                  <a:gd name="connsiteY17" fmla="*/ 780627 h 1428239"/>
                  <a:gd name="connsiteX18" fmla="*/ 689824 w 797473"/>
                  <a:gd name="connsiteY18" fmla="*/ 859980 h 1428239"/>
                  <a:gd name="connsiteX19" fmla="*/ 763715 w 797473"/>
                  <a:gd name="connsiteY19" fmla="*/ 881243 h 1428239"/>
                  <a:gd name="connsiteX20" fmla="*/ 797473 w 797473"/>
                  <a:gd name="connsiteY20" fmla="*/ 891494 h 1428239"/>
                  <a:gd name="connsiteX21" fmla="*/ 692449 w 797473"/>
                  <a:gd name="connsiteY21" fmla="*/ 986035 h 1428239"/>
                  <a:gd name="connsiteX22" fmla="*/ 696951 w 797473"/>
                  <a:gd name="connsiteY22" fmla="*/ 1003500 h 1428239"/>
                  <a:gd name="connsiteX23" fmla="*/ 661693 w 797473"/>
                  <a:gd name="connsiteY23" fmla="*/ 1047164 h 1428239"/>
                  <a:gd name="connsiteX24" fmla="*/ 672195 w 797473"/>
                  <a:gd name="connsiteY24" fmla="*/ 1078298 h 1428239"/>
                  <a:gd name="connsiteX25" fmla="*/ 728082 w 797473"/>
                  <a:gd name="connsiteY25" fmla="*/ 1114368 h 1428239"/>
                  <a:gd name="connsiteX26" fmla="*/ 739155 w 797473"/>
                  <a:gd name="connsiteY26" fmla="*/ 1099956 h 1428239"/>
                  <a:gd name="connsiteX27" fmla="*/ 692149 w 797473"/>
                  <a:gd name="connsiteY27" fmla="*/ 1207112 h 1428239"/>
                  <a:gd name="connsiteX28" fmla="*/ 720723 w 797473"/>
                  <a:gd name="connsiteY28" fmla="*/ 1246440 h 1428239"/>
                  <a:gd name="connsiteX29" fmla="*/ 715505 w 797473"/>
                  <a:gd name="connsiteY29" fmla="*/ 1306749 h 1428239"/>
                  <a:gd name="connsiteX30" fmla="*/ 598042 w 797473"/>
                  <a:gd name="connsiteY30" fmla="*/ 1333148 h 1428239"/>
                  <a:gd name="connsiteX31" fmla="*/ 562107 w 797473"/>
                  <a:gd name="connsiteY31" fmla="*/ 1339722 h 1428239"/>
                  <a:gd name="connsiteX32" fmla="*/ 470439 w 797473"/>
                  <a:gd name="connsiteY32" fmla="*/ 1361947 h 1428239"/>
                  <a:gd name="connsiteX33" fmla="*/ 482193 w 797473"/>
                  <a:gd name="connsiteY33" fmla="*/ 1428239 h 1428239"/>
                  <a:gd name="connsiteX34" fmla="*/ 410323 w 797473"/>
                  <a:gd name="connsiteY34" fmla="*/ 1344849 h 1428239"/>
                  <a:gd name="connsiteX35" fmla="*/ 341152 w 797473"/>
                  <a:gd name="connsiteY35" fmla="*/ 1378280 h 1428239"/>
                  <a:gd name="connsiteX36" fmla="*/ 314673 w 797473"/>
                  <a:gd name="connsiteY36" fmla="*/ 1328133 h 1428239"/>
                  <a:gd name="connsiteX37" fmla="*/ 232128 w 797473"/>
                  <a:gd name="connsiteY37" fmla="*/ 1306702 h 1428239"/>
                  <a:gd name="connsiteX38" fmla="*/ 214837 w 797473"/>
                  <a:gd name="connsiteY38" fmla="*/ 1383789 h 1428239"/>
                  <a:gd name="connsiteX39" fmla="*/ 79937 w 797473"/>
                  <a:gd name="connsiteY39" fmla="*/ 1310896 h 1428239"/>
                  <a:gd name="connsiteX40" fmla="*/ 30000 w 797473"/>
                  <a:gd name="connsiteY40" fmla="*/ 1281339 h 1428239"/>
                  <a:gd name="connsiteX41" fmla="*/ 21743 w 797473"/>
                  <a:gd name="connsiteY41" fmla="*/ 1276091 h 1428239"/>
                  <a:gd name="connsiteX42" fmla="*/ 0 w 797473"/>
                  <a:gd name="connsiteY42" fmla="*/ 1202146 h 1428239"/>
                  <a:gd name="connsiteX43" fmla="*/ 6865 w 797473"/>
                  <a:gd name="connsiteY43" fmla="*/ 1119006 h 1428239"/>
                  <a:gd name="connsiteX44" fmla="*/ 12673 w 797473"/>
                  <a:gd name="connsiteY44" fmla="*/ 1119006 h 1428239"/>
                  <a:gd name="connsiteX45" fmla="*/ 22343 w 797473"/>
                  <a:gd name="connsiteY45" fmla="*/ 1001889 h 1428239"/>
                  <a:gd name="connsiteX46" fmla="*/ 97952 w 797473"/>
                  <a:gd name="connsiteY46" fmla="*/ 792917 h 1428239"/>
                  <a:gd name="connsiteX47" fmla="*/ 92136 w 797473"/>
                  <a:gd name="connsiteY47" fmla="*/ 792361 h 1428239"/>
                  <a:gd name="connsiteX48" fmla="*/ 92206 w 797473"/>
                  <a:gd name="connsiteY48" fmla="*/ 792169 h 1428239"/>
                  <a:gd name="connsiteX49" fmla="*/ 86201 w 797473"/>
                  <a:gd name="connsiteY49" fmla="*/ 781492 h 1428239"/>
                  <a:gd name="connsiteX50" fmla="*/ 124947 w 797473"/>
                  <a:gd name="connsiteY50" fmla="*/ 670139 h 1428239"/>
                  <a:gd name="connsiteX51" fmla="*/ 202981 w 797473"/>
                  <a:gd name="connsiteY51" fmla="*/ 585503 h 1428239"/>
                  <a:gd name="connsiteX52" fmla="*/ 242759 w 797473"/>
                  <a:gd name="connsiteY52" fmla="*/ 469146 h 1428239"/>
                  <a:gd name="connsiteX53" fmla="*/ 210842 w 797473"/>
                  <a:gd name="connsiteY53" fmla="*/ 408538 h 1428239"/>
                  <a:gd name="connsiteX54" fmla="*/ 235972 w 797473"/>
                  <a:gd name="connsiteY54" fmla="*/ 332222 h 1428239"/>
                  <a:gd name="connsiteX55" fmla="*/ 235972 w 797473"/>
                  <a:gd name="connsiteY55" fmla="*/ 306783 h 1428239"/>
                  <a:gd name="connsiteX56" fmla="*/ 295236 w 797473"/>
                  <a:gd name="connsiteY56" fmla="*/ 270714 h 1428239"/>
                  <a:gd name="connsiteX57" fmla="*/ 370627 w 797473"/>
                  <a:gd name="connsiteY57" fmla="*/ 185665 h 1428239"/>
                  <a:gd name="connsiteX58" fmla="*/ 401759 w 797473"/>
                  <a:gd name="connsiteY58" fmla="*/ 73658 h 1428239"/>
                  <a:gd name="connsiteX59" fmla="*/ 373628 w 797473"/>
                  <a:gd name="connsiteY59" fmla="*/ 52396 h 1428239"/>
                  <a:gd name="connsiteX60" fmla="*/ 324492 w 797473"/>
                  <a:gd name="connsiteY60" fmla="*/ 42145 h 1428239"/>
                  <a:gd name="connsiteX61" fmla="*/ 366877 w 797473"/>
                  <a:gd name="connsiteY61" fmla="*/ 0 h 1428239"/>
                  <a:gd name="connsiteX0" fmla="*/ 366877 w 797473"/>
                  <a:gd name="connsiteY0" fmla="*/ 0 h 1428239"/>
                  <a:gd name="connsiteX1" fmla="*/ 419013 w 797473"/>
                  <a:gd name="connsiteY1" fmla="*/ 27337 h 1428239"/>
                  <a:gd name="connsiteX2" fmla="*/ 462148 w 797473"/>
                  <a:gd name="connsiteY2" fmla="*/ 27337 h 1428239"/>
                  <a:gd name="connsiteX3" fmla="*/ 522911 w 797473"/>
                  <a:gd name="connsiteY3" fmla="*/ 88466 h 1428239"/>
                  <a:gd name="connsiteX4" fmla="*/ 530038 w 797473"/>
                  <a:gd name="connsiteY4" fmla="*/ 253248 h 1428239"/>
                  <a:gd name="connsiteX5" fmla="*/ 504907 w 797473"/>
                  <a:gd name="connsiteY5" fmla="*/ 321591 h 1428239"/>
                  <a:gd name="connsiteX6" fmla="*/ 480152 w 797473"/>
                  <a:gd name="connsiteY6" fmla="*/ 347409 h 1428239"/>
                  <a:gd name="connsiteX7" fmla="*/ 515410 w 797473"/>
                  <a:gd name="connsiteY7" fmla="*/ 368292 h 1428239"/>
                  <a:gd name="connsiteX8" fmla="*/ 522911 w 797473"/>
                  <a:gd name="connsiteY8" fmla="*/ 404362 h 1428239"/>
                  <a:gd name="connsiteX9" fmla="*/ 593802 w 797473"/>
                  <a:gd name="connsiteY9" fmla="*/ 493967 h 1428239"/>
                  <a:gd name="connsiteX10" fmla="*/ 649690 w 797473"/>
                  <a:gd name="connsiteY10" fmla="*/ 480298 h 1428239"/>
                  <a:gd name="connsiteX11" fmla="*/ 679697 w 797473"/>
                  <a:gd name="connsiteY11" fmla="*/ 498523 h 1428239"/>
                  <a:gd name="connsiteX12" fmla="*/ 679697 w 797473"/>
                  <a:gd name="connsiteY12" fmla="*/ 547502 h 1428239"/>
                  <a:gd name="connsiteX13" fmla="*/ 626060 w 797473"/>
                  <a:gd name="connsiteY13" fmla="*/ 572941 h 1428239"/>
                  <a:gd name="connsiteX14" fmla="*/ 585926 w 797473"/>
                  <a:gd name="connsiteY14" fmla="*/ 662546 h 1428239"/>
                  <a:gd name="connsiteX15" fmla="*/ 626060 w 797473"/>
                  <a:gd name="connsiteY15" fmla="*/ 724054 h 1428239"/>
                  <a:gd name="connsiteX16" fmla="*/ 664318 w 797473"/>
                  <a:gd name="connsiteY16" fmla="*/ 763162 h 1428239"/>
                  <a:gd name="connsiteX17" fmla="*/ 654191 w 797473"/>
                  <a:gd name="connsiteY17" fmla="*/ 780627 h 1428239"/>
                  <a:gd name="connsiteX18" fmla="*/ 689824 w 797473"/>
                  <a:gd name="connsiteY18" fmla="*/ 859980 h 1428239"/>
                  <a:gd name="connsiteX19" fmla="*/ 763715 w 797473"/>
                  <a:gd name="connsiteY19" fmla="*/ 881243 h 1428239"/>
                  <a:gd name="connsiteX20" fmla="*/ 797473 w 797473"/>
                  <a:gd name="connsiteY20" fmla="*/ 891494 h 1428239"/>
                  <a:gd name="connsiteX21" fmla="*/ 692449 w 797473"/>
                  <a:gd name="connsiteY21" fmla="*/ 986035 h 1428239"/>
                  <a:gd name="connsiteX22" fmla="*/ 696951 w 797473"/>
                  <a:gd name="connsiteY22" fmla="*/ 1003500 h 1428239"/>
                  <a:gd name="connsiteX23" fmla="*/ 661693 w 797473"/>
                  <a:gd name="connsiteY23" fmla="*/ 1047164 h 1428239"/>
                  <a:gd name="connsiteX24" fmla="*/ 681720 w 797473"/>
                  <a:gd name="connsiteY24" fmla="*/ 1085442 h 1428239"/>
                  <a:gd name="connsiteX25" fmla="*/ 728082 w 797473"/>
                  <a:gd name="connsiteY25" fmla="*/ 1114368 h 1428239"/>
                  <a:gd name="connsiteX26" fmla="*/ 739155 w 797473"/>
                  <a:gd name="connsiteY26" fmla="*/ 1099956 h 1428239"/>
                  <a:gd name="connsiteX27" fmla="*/ 692149 w 797473"/>
                  <a:gd name="connsiteY27" fmla="*/ 1207112 h 1428239"/>
                  <a:gd name="connsiteX28" fmla="*/ 720723 w 797473"/>
                  <a:gd name="connsiteY28" fmla="*/ 1246440 h 1428239"/>
                  <a:gd name="connsiteX29" fmla="*/ 715505 w 797473"/>
                  <a:gd name="connsiteY29" fmla="*/ 1306749 h 1428239"/>
                  <a:gd name="connsiteX30" fmla="*/ 598042 w 797473"/>
                  <a:gd name="connsiteY30" fmla="*/ 1333148 h 1428239"/>
                  <a:gd name="connsiteX31" fmla="*/ 562107 w 797473"/>
                  <a:gd name="connsiteY31" fmla="*/ 1339722 h 1428239"/>
                  <a:gd name="connsiteX32" fmla="*/ 470439 w 797473"/>
                  <a:gd name="connsiteY32" fmla="*/ 1361947 h 1428239"/>
                  <a:gd name="connsiteX33" fmla="*/ 482193 w 797473"/>
                  <a:gd name="connsiteY33" fmla="*/ 1428239 h 1428239"/>
                  <a:gd name="connsiteX34" fmla="*/ 410323 w 797473"/>
                  <a:gd name="connsiteY34" fmla="*/ 1344849 h 1428239"/>
                  <a:gd name="connsiteX35" fmla="*/ 341152 w 797473"/>
                  <a:gd name="connsiteY35" fmla="*/ 1378280 h 1428239"/>
                  <a:gd name="connsiteX36" fmla="*/ 314673 w 797473"/>
                  <a:gd name="connsiteY36" fmla="*/ 1328133 h 1428239"/>
                  <a:gd name="connsiteX37" fmla="*/ 232128 w 797473"/>
                  <a:gd name="connsiteY37" fmla="*/ 1306702 h 1428239"/>
                  <a:gd name="connsiteX38" fmla="*/ 214837 w 797473"/>
                  <a:gd name="connsiteY38" fmla="*/ 1383789 h 1428239"/>
                  <a:gd name="connsiteX39" fmla="*/ 79937 w 797473"/>
                  <a:gd name="connsiteY39" fmla="*/ 1310896 h 1428239"/>
                  <a:gd name="connsiteX40" fmla="*/ 30000 w 797473"/>
                  <a:gd name="connsiteY40" fmla="*/ 1281339 h 1428239"/>
                  <a:gd name="connsiteX41" fmla="*/ 21743 w 797473"/>
                  <a:gd name="connsiteY41" fmla="*/ 1276091 h 1428239"/>
                  <a:gd name="connsiteX42" fmla="*/ 0 w 797473"/>
                  <a:gd name="connsiteY42" fmla="*/ 1202146 h 1428239"/>
                  <a:gd name="connsiteX43" fmla="*/ 6865 w 797473"/>
                  <a:gd name="connsiteY43" fmla="*/ 1119006 h 1428239"/>
                  <a:gd name="connsiteX44" fmla="*/ 12673 w 797473"/>
                  <a:gd name="connsiteY44" fmla="*/ 1119006 h 1428239"/>
                  <a:gd name="connsiteX45" fmla="*/ 22343 w 797473"/>
                  <a:gd name="connsiteY45" fmla="*/ 1001889 h 1428239"/>
                  <a:gd name="connsiteX46" fmla="*/ 97952 w 797473"/>
                  <a:gd name="connsiteY46" fmla="*/ 792917 h 1428239"/>
                  <a:gd name="connsiteX47" fmla="*/ 92136 w 797473"/>
                  <a:gd name="connsiteY47" fmla="*/ 792361 h 1428239"/>
                  <a:gd name="connsiteX48" fmla="*/ 92206 w 797473"/>
                  <a:gd name="connsiteY48" fmla="*/ 792169 h 1428239"/>
                  <a:gd name="connsiteX49" fmla="*/ 86201 w 797473"/>
                  <a:gd name="connsiteY49" fmla="*/ 781492 h 1428239"/>
                  <a:gd name="connsiteX50" fmla="*/ 124947 w 797473"/>
                  <a:gd name="connsiteY50" fmla="*/ 670139 h 1428239"/>
                  <a:gd name="connsiteX51" fmla="*/ 202981 w 797473"/>
                  <a:gd name="connsiteY51" fmla="*/ 585503 h 1428239"/>
                  <a:gd name="connsiteX52" fmla="*/ 242759 w 797473"/>
                  <a:gd name="connsiteY52" fmla="*/ 469146 h 1428239"/>
                  <a:gd name="connsiteX53" fmla="*/ 210842 w 797473"/>
                  <a:gd name="connsiteY53" fmla="*/ 408538 h 1428239"/>
                  <a:gd name="connsiteX54" fmla="*/ 235972 w 797473"/>
                  <a:gd name="connsiteY54" fmla="*/ 332222 h 1428239"/>
                  <a:gd name="connsiteX55" fmla="*/ 235972 w 797473"/>
                  <a:gd name="connsiteY55" fmla="*/ 306783 h 1428239"/>
                  <a:gd name="connsiteX56" fmla="*/ 295236 w 797473"/>
                  <a:gd name="connsiteY56" fmla="*/ 270714 h 1428239"/>
                  <a:gd name="connsiteX57" fmla="*/ 370627 w 797473"/>
                  <a:gd name="connsiteY57" fmla="*/ 185665 h 1428239"/>
                  <a:gd name="connsiteX58" fmla="*/ 401759 w 797473"/>
                  <a:gd name="connsiteY58" fmla="*/ 73658 h 1428239"/>
                  <a:gd name="connsiteX59" fmla="*/ 373628 w 797473"/>
                  <a:gd name="connsiteY59" fmla="*/ 52396 h 1428239"/>
                  <a:gd name="connsiteX60" fmla="*/ 324492 w 797473"/>
                  <a:gd name="connsiteY60" fmla="*/ 42145 h 1428239"/>
                  <a:gd name="connsiteX61" fmla="*/ 366877 w 797473"/>
                  <a:gd name="connsiteY61" fmla="*/ 0 h 1428239"/>
                  <a:gd name="connsiteX0" fmla="*/ 366877 w 797473"/>
                  <a:gd name="connsiteY0" fmla="*/ 0 h 1428239"/>
                  <a:gd name="connsiteX1" fmla="*/ 419013 w 797473"/>
                  <a:gd name="connsiteY1" fmla="*/ 27337 h 1428239"/>
                  <a:gd name="connsiteX2" fmla="*/ 462148 w 797473"/>
                  <a:gd name="connsiteY2" fmla="*/ 27337 h 1428239"/>
                  <a:gd name="connsiteX3" fmla="*/ 522911 w 797473"/>
                  <a:gd name="connsiteY3" fmla="*/ 88466 h 1428239"/>
                  <a:gd name="connsiteX4" fmla="*/ 530038 w 797473"/>
                  <a:gd name="connsiteY4" fmla="*/ 253248 h 1428239"/>
                  <a:gd name="connsiteX5" fmla="*/ 504907 w 797473"/>
                  <a:gd name="connsiteY5" fmla="*/ 321591 h 1428239"/>
                  <a:gd name="connsiteX6" fmla="*/ 480152 w 797473"/>
                  <a:gd name="connsiteY6" fmla="*/ 347409 h 1428239"/>
                  <a:gd name="connsiteX7" fmla="*/ 515410 w 797473"/>
                  <a:gd name="connsiteY7" fmla="*/ 368292 h 1428239"/>
                  <a:gd name="connsiteX8" fmla="*/ 522911 w 797473"/>
                  <a:gd name="connsiteY8" fmla="*/ 404362 h 1428239"/>
                  <a:gd name="connsiteX9" fmla="*/ 593802 w 797473"/>
                  <a:gd name="connsiteY9" fmla="*/ 493967 h 1428239"/>
                  <a:gd name="connsiteX10" fmla="*/ 649690 w 797473"/>
                  <a:gd name="connsiteY10" fmla="*/ 480298 h 1428239"/>
                  <a:gd name="connsiteX11" fmla="*/ 679697 w 797473"/>
                  <a:gd name="connsiteY11" fmla="*/ 498523 h 1428239"/>
                  <a:gd name="connsiteX12" fmla="*/ 679697 w 797473"/>
                  <a:gd name="connsiteY12" fmla="*/ 547502 h 1428239"/>
                  <a:gd name="connsiteX13" fmla="*/ 626060 w 797473"/>
                  <a:gd name="connsiteY13" fmla="*/ 572941 h 1428239"/>
                  <a:gd name="connsiteX14" fmla="*/ 585926 w 797473"/>
                  <a:gd name="connsiteY14" fmla="*/ 662546 h 1428239"/>
                  <a:gd name="connsiteX15" fmla="*/ 626060 w 797473"/>
                  <a:gd name="connsiteY15" fmla="*/ 724054 h 1428239"/>
                  <a:gd name="connsiteX16" fmla="*/ 664318 w 797473"/>
                  <a:gd name="connsiteY16" fmla="*/ 763162 h 1428239"/>
                  <a:gd name="connsiteX17" fmla="*/ 654191 w 797473"/>
                  <a:gd name="connsiteY17" fmla="*/ 780627 h 1428239"/>
                  <a:gd name="connsiteX18" fmla="*/ 689824 w 797473"/>
                  <a:gd name="connsiteY18" fmla="*/ 859980 h 1428239"/>
                  <a:gd name="connsiteX19" fmla="*/ 763715 w 797473"/>
                  <a:gd name="connsiteY19" fmla="*/ 881243 h 1428239"/>
                  <a:gd name="connsiteX20" fmla="*/ 797473 w 797473"/>
                  <a:gd name="connsiteY20" fmla="*/ 891494 h 1428239"/>
                  <a:gd name="connsiteX21" fmla="*/ 692449 w 797473"/>
                  <a:gd name="connsiteY21" fmla="*/ 986035 h 1428239"/>
                  <a:gd name="connsiteX22" fmla="*/ 696951 w 797473"/>
                  <a:gd name="connsiteY22" fmla="*/ 1003500 h 1428239"/>
                  <a:gd name="connsiteX23" fmla="*/ 661693 w 797473"/>
                  <a:gd name="connsiteY23" fmla="*/ 1047164 h 1428239"/>
                  <a:gd name="connsiteX24" fmla="*/ 681720 w 797473"/>
                  <a:gd name="connsiteY24" fmla="*/ 1085442 h 1428239"/>
                  <a:gd name="connsiteX25" fmla="*/ 720938 w 797473"/>
                  <a:gd name="connsiteY25" fmla="*/ 1092937 h 1428239"/>
                  <a:gd name="connsiteX26" fmla="*/ 739155 w 797473"/>
                  <a:gd name="connsiteY26" fmla="*/ 1099956 h 1428239"/>
                  <a:gd name="connsiteX27" fmla="*/ 692149 w 797473"/>
                  <a:gd name="connsiteY27" fmla="*/ 1207112 h 1428239"/>
                  <a:gd name="connsiteX28" fmla="*/ 720723 w 797473"/>
                  <a:gd name="connsiteY28" fmla="*/ 1246440 h 1428239"/>
                  <a:gd name="connsiteX29" fmla="*/ 715505 w 797473"/>
                  <a:gd name="connsiteY29" fmla="*/ 1306749 h 1428239"/>
                  <a:gd name="connsiteX30" fmla="*/ 598042 w 797473"/>
                  <a:gd name="connsiteY30" fmla="*/ 1333148 h 1428239"/>
                  <a:gd name="connsiteX31" fmla="*/ 562107 w 797473"/>
                  <a:gd name="connsiteY31" fmla="*/ 1339722 h 1428239"/>
                  <a:gd name="connsiteX32" fmla="*/ 470439 w 797473"/>
                  <a:gd name="connsiteY32" fmla="*/ 1361947 h 1428239"/>
                  <a:gd name="connsiteX33" fmla="*/ 482193 w 797473"/>
                  <a:gd name="connsiteY33" fmla="*/ 1428239 h 1428239"/>
                  <a:gd name="connsiteX34" fmla="*/ 410323 w 797473"/>
                  <a:gd name="connsiteY34" fmla="*/ 1344849 h 1428239"/>
                  <a:gd name="connsiteX35" fmla="*/ 341152 w 797473"/>
                  <a:gd name="connsiteY35" fmla="*/ 1378280 h 1428239"/>
                  <a:gd name="connsiteX36" fmla="*/ 314673 w 797473"/>
                  <a:gd name="connsiteY36" fmla="*/ 1328133 h 1428239"/>
                  <a:gd name="connsiteX37" fmla="*/ 232128 w 797473"/>
                  <a:gd name="connsiteY37" fmla="*/ 1306702 h 1428239"/>
                  <a:gd name="connsiteX38" fmla="*/ 214837 w 797473"/>
                  <a:gd name="connsiteY38" fmla="*/ 1383789 h 1428239"/>
                  <a:gd name="connsiteX39" fmla="*/ 79937 w 797473"/>
                  <a:gd name="connsiteY39" fmla="*/ 1310896 h 1428239"/>
                  <a:gd name="connsiteX40" fmla="*/ 30000 w 797473"/>
                  <a:gd name="connsiteY40" fmla="*/ 1281339 h 1428239"/>
                  <a:gd name="connsiteX41" fmla="*/ 21743 w 797473"/>
                  <a:gd name="connsiteY41" fmla="*/ 1276091 h 1428239"/>
                  <a:gd name="connsiteX42" fmla="*/ 0 w 797473"/>
                  <a:gd name="connsiteY42" fmla="*/ 1202146 h 1428239"/>
                  <a:gd name="connsiteX43" fmla="*/ 6865 w 797473"/>
                  <a:gd name="connsiteY43" fmla="*/ 1119006 h 1428239"/>
                  <a:gd name="connsiteX44" fmla="*/ 12673 w 797473"/>
                  <a:gd name="connsiteY44" fmla="*/ 1119006 h 1428239"/>
                  <a:gd name="connsiteX45" fmla="*/ 22343 w 797473"/>
                  <a:gd name="connsiteY45" fmla="*/ 1001889 h 1428239"/>
                  <a:gd name="connsiteX46" fmla="*/ 97952 w 797473"/>
                  <a:gd name="connsiteY46" fmla="*/ 792917 h 1428239"/>
                  <a:gd name="connsiteX47" fmla="*/ 92136 w 797473"/>
                  <a:gd name="connsiteY47" fmla="*/ 792361 h 1428239"/>
                  <a:gd name="connsiteX48" fmla="*/ 92206 w 797473"/>
                  <a:gd name="connsiteY48" fmla="*/ 792169 h 1428239"/>
                  <a:gd name="connsiteX49" fmla="*/ 86201 w 797473"/>
                  <a:gd name="connsiteY49" fmla="*/ 781492 h 1428239"/>
                  <a:gd name="connsiteX50" fmla="*/ 124947 w 797473"/>
                  <a:gd name="connsiteY50" fmla="*/ 670139 h 1428239"/>
                  <a:gd name="connsiteX51" fmla="*/ 202981 w 797473"/>
                  <a:gd name="connsiteY51" fmla="*/ 585503 h 1428239"/>
                  <a:gd name="connsiteX52" fmla="*/ 242759 w 797473"/>
                  <a:gd name="connsiteY52" fmla="*/ 469146 h 1428239"/>
                  <a:gd name="connsiteX53" fmla="*/ 210842 w 797473"/>
                  <a:gd name="connsiteY53" fmla="*/ 408538 h 1428239"/>
                  <a:gd name="connsiteX54" fmla="*/ 235972 w 797473"/>
                  <a:gd name="connsiteY54" fmla="*/ 332222 h 1428239"/>
                  <a:gd name="connsiteX55" fmla="*/ 235972 w 797473"/>
                  <a:gd name="connsiteY55" fmla="*/ 306783 h 1428239"/>
                  <a:gd name="connsiteX56" fmla="*/ 295236 w 797473"/>
                  <a:gd name="connsiteY56" fmla="*/ 270714 h 1428239"/>
                  <a:gd name="connsiteX57" fmla="*/ 370627 w 797473"/>
                  <a:gd name="connsiteY57" fmla="*/ 185665 h 1428239"/>
                  <a:gd name="connsiteX58" fmla="*/ 401759 w 797473"/>
                  <a:gd name="connsiteY58" fmla="*/ 73658 h 1428239"/>
                  <a:gd name="connsiteX59" fmla="*/ 373628 w 797473"/>
                  <a:gd name="connsiteY59" fmla="*/ 52396 h 1428239"/>
                  <a:gd name="connsiteX60" fmla="*/ 324492 w 797473"/>
                  <a:gd name="connsiteY60" fmla="*/ 42145 h 1428239"/>
                  <a:gd name="connsiteX61" fmla="*/ 366877 w 797473"/>
                  <a:gd name="connsiteY61" fmla="*/ 0 h 1428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797473" h="1428239">
                    <a:moveTo>
                      <a:pt x="366877" y="0"/>
                    </a:moveTo>
                    <a:lnTo>
                      <a:pt x="419013" y="27337"/>
                    </a:lnTo>
                    <a:lnTo>
                      <a:pt x="462148" y="27337"/>
                    </a:lnTo>
                    <a:lnTo>
                      <a:pt x="522911" y="88466"/>
                    </a:lnTo>
                    <a:lnTo>
                      <a:pt x="530038" y="253248"/>
                    </a:lnTo>
                    <a:lnTo>
                      <a:pt x="504907" y="321591"/>
                    </a:lnTo>
                    <a:lnTo>
                      <a:pt x="480152" y="347409"/>
                    </a:lnTo>
                    <a:lnTo>
                      <a:pt x="515410" y="368292"/>
                    </a:lnTo>
                    <a:lnTo>
                      <a:pt x="522911" y="404362"/>
                    </a:lnTo>
                    <a:lnTo>
                      <a:pt x="593802" y="493967"/>
                    </a:lnTo>
                    <a:lnTo>
                      <a:pt x="649690" y="480298"/>
                    </a:lnTo>
                    <a:lnTo>
                      <a:pt x="679697" y="498523"/>
                    </a:lnTo>
                    <a:lnTo>
                      <a:pt x="679697" y="547502"/>
                    </a:lnTo>
                    <a:lnTo>
                      <a:pt x="626060" y="572941"/>
                    </a:lnTo>
                    <a:lnTo>
                      <a:pt x="585926" y="662546"/>
                    </a:lnTo>
                    <a:lnTo>
                      <a:pt x="626060" y="724054"/>
                    </a:lnTo>
                    <a:lnTo>
                      <a:pt x="664318" y="763162"/>
                    </a:lnTo>
                    <a:lnTo>
                      <a:pt x="654191" y="780627"/>
                    </a:lnTo>
                    <a:lnTo>
                      <a:pt x="689824" y="859980"/>
                    </a:lnTo>
                    <a:lnTo>
                      <a:pt x="763715" y="881243"/>
                    </a:lnTo>
                    <a:lnTo>
                      <a:pt x="797473" y="891494"/>
                    </a:lnTo>
                    <a:lnTo>
                      <a:pt x="692449" y="986035"/>
                    </a:lnTo>
                    <a:lnTo>
                      <a:pt x="696951" y="1003500"/>
                    </a:lnTo>
                    <a:lnTo>
                      <a:pt x="661693" y="1047164"/>
                    </a:lnTo>
                    <a:lnTo>
                      <a:pt x="681720" y="1085442"/>
                    </a:lnTo>
                    <a:lnTo>
                      <a:pt x="720938" y="1092937"/>
                    </a:lnTo>
                    <a:lnTo>
                      <a:pt x="739155" y="1099956"/>
                    </a:lnTo>
                    <a:cubicBezTo>
                      <a:pt x="728249" y="1129325"/>
                      <a:pt x="729249" y="1151549"/>
                      <a:pt x="692149" y="1207112"/>
                    </a:cubicBezTo>
                    <a:lnTo>
                      <a:pt x="720723" y="1246440"/>
                    </a:lnTo>
                    <a:lnTo>
                      <a:pt x="715505" y="1306749"/>
                    </a:lnTo>
                    <a:lnTo>
                      <a:pt x="598042" y="1333148"/>
                    </a:lnTo>
                    <a:lnTo>
                      <a:pt x="562107" y="1339722"/>
                    </a:lnTo>
                    <a:lnTo>
                      <a:pt x="470439" y="1361947"/>
                    </a:lnTo>
                    <a:lnTo>
                      <a:pt x="482193" y="1428239"/>
                    </a:lnTo>
                    <a:lnTo>
                      <a:pt x="410323" y="1344849"/>
                    </a:lnTo>
                    <a:lnTo>
                      <a:pt x="341152" y="1378280"/>
                    </a:lnTo>
                    <a:lnTo>
                      <a:pt x="314673" y="1328133"/>
                    </a:lnTo>
                    <a:lnTo>
                      <a:pt x="232128" y="1306702"/>
                    </a:lnTo>
                    <a:lnTo>
                      <a:pt x="214837" y="1383789"/>
                    </a:lnTo>
                    <a:lnTo>
                      <a:pt x="79937" y="1310896"/>
                    </a:lnTo>
                    <a:cubicBezTo>
                      <a:pt x="69166" y="1240374"/>
                      <a:pt x="51102" y="1286533"/>
                      <a:pt x="30000" y="1281339"/>
                    </a:cubicBezTo>
                    <a:lnTo>
                      <a:pt x="21743" y="1276091"/>
                    </a:lnTo>
                    <a:lnTo>
                      <a:pt x="0" y="1202146"/>
                    </a:lnTo>
                    <a:lnTo>
                      <a:pt x="6865" y="1119006"/>
                    </a:lnTo>
                    <a:lnTo>
                      <a:pt x="12673" y="1119006"/>
                    </a:lnTo>
                    <a:lnTo>
                      <a:pt x="22343" y="1001889"/>
                    </a:lnTo>
                    <a:lnTo>
                      <a:pt x="97952" y="792917"/>
                    </a:lnTo>
                    <a:lnTo>
                      <a:pt x="92136" y="792361"/>
                    </a:lnTo>
                    <a:cubicBezTo>
                      <a:pt x="92159" y="792297"/>
                      <a:pt x="92183" y="792233"/>
                      <a:pt x="92206" y="792169"/>
                    </a:cubicBezTo>
                    <a:lnTo>
                      <a:pt x="86201" y="781492"/>
                    </a:lnTo>
                    <a:cubicBezTo>
                      <a:pt x="94354" y="718181"/>
                      <a:pt x="112032" y="707257"/>
                      <a:pt x="124947" y="670139"/>
                    </a:cubicBezTo>
                    <a:lnTo>
                      <a:pt x="202981" y="585503"/>
                    </a:lnTo>
                    <a:lnTo>
                      <a:pt x="242759" y="469146"/>
                    </a:lnTo>
                    <a:lnTo>
                      <a:pt x="210842" y="408538"/>
                    </a:lnTo>
                    <a:lnTo>
                      <a:pt x="235972" y="332222"/>
                    </a:lnTo>
                    <a:lnTo>
                      <a:pt x="235972" y="306783"/>
                    </a:lnTo>
                    <a:lnTo>
                      <a:pt x="295236" y="270714"/>
                    </a:lnTo>
                    <a:lnTo>
                      <a:pt x="370627" y="185665"/>
                    </a:lnTo>
                    <a:lnTo>
                      <a:pt x="401759" y="73658"/>
                    </a:lnTo>
                    <a:lnTo>
                      <a:pt x="373628" y="52396"/>
                    </a:lnTo>
                    <a:lnTo>
                      <a:pt x="324492" y="42145"/>
                    </a:lnTo>
                    <a:lnTo>
                      <a:pt x="366877" y="0"/>
                    </a:lnTo>
                    <a:close/>
                  </a:path>
                </a:pathLst>
              </a:custGeom>
              <a:solidFill>
                <a:srgbClr val="ED7D31"/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: BA">
                <a:hlinkClick r:id="" action="ppaction://noaction"/>
                <a:extLst>
                  <a:ext uri="{FF2B5EF4-FFF2-40B4-BE49-F238E27FC236}">
                    <a16:creationId xmlns:a16="http://schemas.microsoft.com/office/drawing/2014/main" id="{41E36050-BFEB-5B61-97E6-F760A7B8F8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18496" y="2441634"/>
                <a:ext cx="1466111" cy="1614745"/>
              </a:xfrm>
              <a:custGeom>
                <a:avLst/>
                <a:gdLst>
                  <a:gd name="connsiteX0" fmla="*/ 1170891 w 1463406"/>
                  <a:gd name="connsiteY0" fmla="*/ 0 h 1678708"/>
                  <a:gd name="connsiteX1" fmla="*/ 1213829 w 1463406"/>
                  <a:gd name="connsiteY1" fmla="*/ 37407 h 1678708"/>
                  <a:gd name="connsiteX2" fmla="*/ 1275254 w 1463406"/>
                  <a:gd name="connsiteY2" fmla="*/ 56284 h 1678708"/>
                  <a:gd name="connsiteX3" fmla="*/ 1295978 w 1463406"/>
                  <a:gd name="connsiteY3" fmla="*/ 85898 h 1678708"/>
                  <a:gd name="connsiteX4" fmla="*/ 1320727 w 1463406"/>
                  <a:gd name="connsiteY4" fmla="*/ 74468 h 1678708"/>
                  <a:gd name="connsiteX5" fmla="*/ 1366647 w 1463406"/>
                  <a:gd name="connsiteY5" fmla="*/ 141489 h 1678708"/>
                  <a:gd name="connsiteX6" fmla="*/ 1392290 w 1463406"/>
                  <a:gd name="connsiteY6" fmla="*/ 186343 h 1678708"/>
                  <a:gd name="connsiteX7" fmla="*/ 1389308 w 1463406"/>
                  <a:gd name="connsiteY7" fmla="*/ 215957 h 1678708"/>
                  <a:gd name="connsiteX8" fmla="*/ 1406901 w 1463406"/>
                  <a:gd name="connsiteY8" fmla="*/ 275012 h 1678708"/>
                  <a:gd name="connsiteX9" fmla="*/ 1424941 w 1463406"/>
                  <a:gd name="connsiteY9" fmla="*/ 306185 h 1678708"/>
                  <a:gd name="connsiteX10" fmla="*/ 1402428 w 1463406"/>
                  <a:gd name="connsiteY10" fmla="*/ 405417 h 1678708"/>
                  <a:gd name="connsiteX11" fmla="*/ 1346370 w 1463406"/>
                  <a:gd name="connsiteY11" fmla="*/ 412864 h 1678708"/>
                  <a:gd name="connsiteX12" fmla="*/ 1389308 w 1463406"/>
                  <a:gd name="connsiteY12" fmla="*/ 524739 h 1678708"/>
                  <a:gd name="connsiteX13" fmla="*/ 1420468 w 1463406"/>
                  <a:gd name="connsiteY13" fmla="*/ 551063 h 1678708"/>
                  <a:gd name="connsiteX14" fmla="*/ 1463406 w 1463406"/>
                  <a:gd name="connsiteY14" fmla="*/ 543270 h 1678708"/>
                  <a:gd name="connsiteX15" fmla="*/ 1420468 w 1463406"/>
                  <a:gd name="connsiteY15" fmla="*/ 647178 h 1678708"/>
                  <a:gd name="connsiteX16" fmla="*/ 1307905 w 1463406"/>
                  <a:gd name="connsiteY16" fmla="*/ 789880 h 1678708"/>
                  <a:gd name="connsiteX17" fmla="*/ 1282411 w 1463406"/>
                  <a:gd name="connsiteY17" fmla="*/ 792997 h 1678708"/>
                  <a:gd name="connsiteX18" fmla="*/ 1264669 w 1463406"/>
                  <a:gd name="connsiteY18" fmla="*/ 745026 h 1678708"/>
                  <a:gd name="connsiteX19" fmla="*/ 1254083 w 1463406"/>
                  <a:gd name="connsiteY19" fmla="*/ 740177 h 1678708"/>
                  <a:gd name="connsiteX20" fmla="*/ 1231869 w 1463406"/>
                  <a:gd name="connsiteY20" fmla="*/ 789880 h 1678708"/>
                  <a:gd name="connsiteX21" fmla="*/ 1210251 w 1463406"/>
                  <a:gd name="connsiteY21" fmla="*/ 817762 h 1678708"/>
                  <a:gd name="connsiteX22" fmla="*/ 1185949 w 1463406"/>
                  <a:gd name="connsiteY22" fmla="*/ 883224 h 1678708"/>
                  <a:gd name="connsiteX23" fmla="*/ 1215618 w 1463406"/>
                  <a:gd name="connsiteY23" fmla="*/ 942799 h 1678708"/>
                  <a:gd name="connsiteX24" fmla="*/ 1178495 w 1463406"/>
                  <a:gd name="connsiteY24" fmla="*/ 971547 h 1678708"/>
                  <a:gd name="connsiteX25" fmla="*/ 1189080 w 1463406"/>
                  <a:gd name="connsiteY25" fmla="*/ 1019518 h 1678708"/>
                  <a:gd name="connsiteX26" fmla="*/ 1193702 w 1463406"/>
                  <a:gd name="connsiteY26" fmla="*/ 1095544 h 1678708"/>
                  <a:gd name="connsiteX27" fmla="*/ 1212189 w 1463406"/>
                  <a:gd name="connsiteY27" fmla="*/ 1202397 h 1678708"/>
                  <a:gd name="connsiteX28" fmla="*/ 1224265 w 1463406"/>
                  <a:gd name="connsiteY28" fmla="*/ 1272882 h 1678708"/>
                  <a:gd name="connsiteX29" fmla="*/ 1162244 w 1463406"/>
                  <a:gd name="connsiteY29" fmla="*/ 1501308 h 1678708"/>
                  <a:gd name="connsiteX30" fmla="*/ 1168804 w 1463406"/>
                  <a:gd name="connsiteY30" fmla="*/ 1589630 h 1678708"/>
                  <a:gd name="connsiteX31" fmla="*/ 1081283 w 1463406"/>
                  <a:gd name="connsiteY31" fmla="*/ 1678708 h 1678708"/>
                  <a:gd name="connsiteX32" fmla="*/ 981170 w 1463406"/>
                  <a:gd name="connsiteY32" fmla="*/ 1621720 h 1678708"/>
                  <a:gd name="connsiteX33" fmla="*/ 982902 w 1463406"/>
                  <a:gd name="connsiteY33" fmla="*/ 1621645 h 1678708"/>
                  <a:gd name="connsiteX34" fmla="*/ 984062 w 1463406"/>
                  <a:gd name="connsiteY34" fmla="*/ 1622305 h 1678708"/>
                  <a:gd name="connsiteX35" fmla="*/ 991875 w 1463406"/>
                  <a:gd name="connsiteY35" fmla="*/ 1612159 h 1678708"/>
                  <a:gd name="connsiteX36" fmla="*/ 1006964 w 1463406"/>
                  <a:gd name="connsiteY36" fmla="*/ 1588343 h 1678708"/>
                  <a:gd name="connsiteX37" fmla="*/ 961965 w 1463406"/>
                  <a:gd name="connsiteY37" fmla="*/ 1546392 h 1678708"/>
                  <a:gd name="connsiteX38" fmla="*/ 957143 w 1463406"/>
                  <a:gd name="connsiteY38" fmla="*/ 1513181 h 1678708"/>
                  <a:gd name="connsiteX39" fmla="*/ 948215 w 1463406"/>
                  <a:gd name="connsiteY39" fmla="*/ 1474726 h 1678708"/>
                  <a:gd name="connsiteX40" fmla="*/ 949633 w 1463406"/>
                  <a:gd name="connsiteY40" fmla="*/ 1467940 h 1678708"/>
                  <a:gd name="connsiteX41" fmla="*/ 951579 w 1463406"/>
                  <a:gd name="connsiteY41" fmla="*/ 1466672 h 1678708"/>
                  <a:gd name="connsiteX42" fmla="*/ 967122 w 1463406"/>
                  <a:gd name="connsiteY42" fmla="*/ 1434405 h 1678708"/>
                  <a:gd name="connsiteX43" fmla="*/ 1009286 w 1463406"/>
                  <a:gd name="connsiteY43" fmla="*/ 1407139 h 1678708"/>
                  <a:gd name="connsiteX44" fmla="*/ 1042500 w 1463406"/>
                  <a:gd name="connsiteY44" fmla="*/ 1354991 h 1678708"/>
                  <a:gd name="connsiteX45" fmla="*/ 1053571 w 1463406"/>
                  <a:gd name="connsiteY45" fmla="*/ 1318867 h 1678708"/>
                  <a:gd name="connsiteX46" fmla="*/ 1044285 w 1463406"/>
                  <a:gd name="connsiteY46" fmla="*/ 1296144 h 1678708"/>
                  <a:gd name="connsiteX47" fmla="*/ 955001 w 1463406"/>
                  <a:gd name="connsiteY47" fmla="*/ 1225643 h 1678708"/>
                  <a:gd name="connsiteX48" fmla="*/ 857323 w 1463406"/>
                  <a:gd name="connsiteY48" fmla="*/ 1256232 h 1678708"/>
                  <a:gd name="connsiteX49" fmla="*/ 839287 w 1463406"/>
                  <a:gd name="connsiteY49" fmla="*/ 1241374 h 1678708"/>
                  <a:gd name="connsiteX50" fmla="*/ 824823 w 1463406"/>
                  <a:gd name="connsiteY50" fmla="*/ 1205833 h 1678708"/>
                  <a:gd name="connsiteX51" fmla="*/ 771788 w 1463406"/>
                  <a:gd name="connsiteY51" fmla="*/ 1151937 h 1678708"/>
                  <a:gd name="connsiteX52" fmla="*/ 693396 w 1463406"/>
                  <a:gd name="connsiteY52" fmla="*/ 1144654 h 1678708"/>
                  <a:gd name="connsiteX53" fmla="*/ 591611 w 1463406"/>
                  <a:gd name="connsiteY53" fmla="*/ 1069929 h 1678708"/>
                  <a:gd name="connsiteX54" fmla="*/ 534112 w 1463406"/>
                  <a:gd name="connsiteY54" fmla="*/ 1051721 h 1678708"/>
                  <a:gd name="connsiteX55" fmla="*/ 510362 w 1463406"/>
                  <a:gd name="connsiteY55" fmla="*/ 1066579 h 1678708"/>
                  <a:gd name="connsiteX56" fmla="*/ 467684 w 1463406"/>
                  <a:gd name="connsiteY56" fmla="*/ 1066579 h 1678708"/>
                  <a:gd name="connsiteX57" fmla="*/ 428041 w 1463406"/>
                  <a:gd name="connsiteY57" fmla="*/ 1033950 h 1678708"/>
                  <a:gd name="connsiteX58" fmla="*/ 440005 w 1463406"/>
                  <a:gd name="connsiteY58" fmla="*/ 1000885 h 1678708"/>
                  <a:gd name="connsiteX59" fmla="*/ 424827 w 1463406"/>
                  <a:gd name="connsiteY59" fmla="*/ 987338 h 1678708"/>
                  <a:gd name="connsiteX60" fmla="*/ 343935 w 1463406"/>
                  <a:gd name="connsiteY60" fmla="*/ 983114 h 1678708"/>
                  <a:gd name="connsiteX61" fmla="*/ 156437 w 1463406"/>
                  <a:gd name="connsiteY61" fmla="*/ 1102558 h 1678708"/>
                  <a:gd name="connsiteX62" fmla="*/ 73759 w 1463406"/>
                  <a:gd name="connsiteY62" fmla="*/ 1131108 h 1678708"/>
                  <a:gd name="connsiteX63" fmla="*/ 75373 w 1463406"/>
                  <a:gd name="connsiteY63" fmla="*/ 1114361 h 1678708"/>
                  <a:gd name="connsiteX64" fmla="*/ 104826 w 1463406"/>
                  <a:gd name="connsiteY64" fmla="*/ 1007810 h 1678708"/>
                  <a:gd name="connsiteX65" fmla="*/ 53896 w 1463406"/>
                  <a:gd name="connsiteY65" fmla="*/ 938206 h 1678708"/>
                  <a:gd name="connsiteX66" fmla="*/ 55786 w 1463406"/>
                  <a:gd name="connsiteY66" fmla="*/ 820701 h 1678708"/>
                  <a:gd name="connsiteX67" fmla="*/ 52547 w 1463406"/>
                  <a:gd name="connsiteY67" fmla="*/ 732203 h 1678708"/>
                  <a:gd name="connsiteX68" fmla="*/ 35305 w 1463406"/>
                  <a:gd name="connsiteY68" fmla="*/ 736078 h 1678708"/>
                  <a:gd name="connsiteX69" fmla="*/ 34665 w 1463406"/>
                  <a:gd name="connsiteY69" fmla="*/ 735092 h 1678708"/>
                  <a:gd name="connsiteX70" fmla="*/ 53812 w 1463406"/>
                  <a:gd name="connsiteY70" fmla="*/ 730789 h 1678708"/>
                  <a:gd name="connsiteX71" fmla="*/ 59030 w 1463406"/>
                  <a:gd name="connsiteY71" fmla="*/ 670480 h 1678708"/>
                  <a:gd name="connsiteX72" fmla="*/ 30456 w 1463406"/>
                  <a:gd name="connsiteY72" fmla="*/ 631152 h 1678708"/>
                  <a:gd name="connsiteX73" fmla="*/ 77462 w 1463406"/>
                  <a:gd name="connsiteY73" fmla="*/ 523996 h 1678708"/>
                  <a:gd name="connsiteX74" fmla="*/ 59245 w 1463406"/>
                  <a:gd name="connsiteY74" fmla="*/ 516977 h 1678708"/>
                  <a:gd name="connsiteX75" fmla="*/ 30358 w 1463406"/>
                  <a:gd name="connsiteY75" fmla="*/ 511457 h 1678708"/>
                  <a:gd name="connsiteX76" fmla="*/ 39147 w 1463406"/>
                  <a:gd name="connsiteY76" fmla="*/ 498416 h 1678708"/>
                  <a:gd name="connsiteX77" fmla="*/ 875 w 1463406"/>
                  <a:gd name="connsiteY77" fmla="*/ 472877 h 1678708"/>
                  <a:gd name="connsiteX78" fmla="*/ 0 w 1463406"/>
                  <a:gd name="connsiteY78" fmla="*/ 471204 h 1678708"/>
                  <a:gd name="connsiteX79" fmla="*/ 35258 w 1463406"/>
                  <a:gd name="connsiteY79" fmla="*/ 427540 h 1678708"/>
                  <a:gd name="connsiteX80" fmla="*/ 30756 w 1463406"/>
                  <a:gd name="connsiteY80" fmla="*/ 410075 h 1678708"/>
                  <a:gd name="connsiteX81" fmla="*/ 135780 w 1463406"/>
                  <a:gd name="connsiteY81" fmla="*/ 315534 h 1678708"/>
                  <a:gd name="connsiteX82" fmla="*/ 102022 w 1463406"/>
                  <a:gd name="connsiteY82" fmla="*/ 305283 h 1678708"/>
                  <a:gd name="connsiteX83" fmla="*/ 75820 w 1463406"/>
                  <a:gd name="connsiteY83" fmla="*/ 297743 h 1678708"/>
                  <a:gd name="connsiteX84" fmla="*/ 108772 w 1463406"/>
                  <a:gd name="connsiteY84" fmla="*/ 267046 h 1678708"/>
                  <a:gd name="connsiteX85" fmla="*/ 132478 w 1463406"/>
                  <a:gd name="connsiteY85" fmla="*/ 275012 h 1678708"/>
                  <a:gd name="connsiteX86" fmla="*/ 214477 w 1463406"/>
                  <a:gd name="connsiteY86" fmla="*/ 372686 h 1678708"/>
                  <a:gd name="connsiteX87" fmla="*/ 263081 w 1463406"/>
                  <a:gd name="connsiteY87" fmla="*/ 368010 h 1678708"/>
                  <a:gd name="connsiteX88" fmla="*/ 310491 w 1463406"/>
                  <a:gd name="connsiteY88" fmla="*/ 335625 h 1678708"/>
                  <a:gd name="connsiteX89" fmla="*/ 377433 w 1463406"/>
                  <a:gd name="connsiteY89" fmla="*/ 324195 h 1678708"/>
                  <a:gd name="connsiteX90" fmla="*/ 441095 w 1463406"/>
                  <a:gd name="connsiteY90" fmla="*/ 234487 h 1678708"/>
                  <a:gd name="connsiteX91" fmla="*/ 441095 w 1463406"/>
                  <a:gd name="connsiteY91" fmla="*/ 130752 h 1678708"/>
                  <a:gd name="connsiteX92" fmla="*/ 476876 w 1463406"/>
                  <a:gd name="connsiteY92" fmla="*/ 111875 h 1678708"/>
                  <a:gd name="connsiteX93" fmla="*/ 524287 w 1463406"/>
                  <a:gd name="connsiteY93" fmla="*/ 126076 h 1678708"/>
                  <a:gd name="connsiteX94" fmla="*/ 560069 w 1463406"/>
                  <a:gd name="connsiteY94" fmla="*/ 126076 h 1678708"/>
                  <a:gd name="connsiteX95" fmla="*/ 601516 w 1463406"/>
                  <a:gd name="connsiteY95" fmla="*/ 156729 h 1678708"/>
                  <a:gd name="connsiteX96" fmla="*/ 644304 w 1463406"/>
                  <a:gd name="connsiteY96" fmla="*/ 149282 h 1678708"/>
                  <a:gd name="connsiteX97" fmla="*/ 687242 w 1463406"/>
                  <a:gd name="connsiteY97" fmla="*/ 114992 h 1678708"/>
                  <a:gd name="connsiteX98" fmla="*/ 755824 w 1463406"/>
                  <a:gd name="connsiteY98" fmla="*/ 107199 h 1678708"/>
                  <a:gd name="connsiteX99" fmla="*/ 794140 w 1463406"/>
                  <a:gd name="connsiteY99" fmla="*/ 51608 h 1678708"/>
                  <a:gd name="connsiteX100" fmla="*/ 832904 w 1463406"/>
                  <a:gd name="connsiteY100" fmla="*/ 37407 h 1678708"/>
                  <a:gd name="connsiteX101" fmla="*/ 860783 w 1463406"/>
                  <a:gd name="connsiteY101" fmla="*/ 12296 h 1678708"/>
                  <a:gd name="connsiteX102" fmla="*/ 898503 w 1463406"/>
                  <a:gd name="connsiteY102" fmla="*/ 32731 h 1678708"/>
                  <a:gd name="connsiteX103" fmla="*/ 908641 w 1463406"/>
                  <a:gd name="connsiteY103" fmla="*/ 63904 h 1678708"/>
                  <a:gd name="connsiteX104" fmla="*/ 911176 w 1463406"/>
                  <a:gd name="connsiteY104" fmla="*/ 85898 h 1678708"/>
                  <a:gd name="connsiteX105" fmla="*/ 939801 w 1463406"/>
                  <a:gd name="connsiteY105" fmla="*/ 119842 h 1678708"/>
                  <a:gd name="connsiteX106" fmla="*/ 943976 w 1463406"/>
                  <a:gd name="connsiteY106" fmla="*/ 149282 h 1678708"/>
                  <a:gd name="connsiteX107" fmla="*/ 969619 w 1463406"/>
                  <a:gd name="connsiteY107" fmla="*/ 152053 h 1678708"/>
                  <a:gd name="connsiteX108" fmla="*/ 997499 w 1463406"/>
                  <a:gd name="connsiteY108" fmla="*/ 144606 h 1678708"/>
                  <a:gd name="connsiteX109" fmla="*/ 1007935 w 1463406"/>
                  <a:gd name="connsiteY109" fmla="*/ 122959 h 1678708"/>
                  <a:gd name="connsiteX110" fmla="*/ 1033132 w 1463406"/>
                  <a:gd name="connsiteY110" fmla="*/ 93345 h 1678708"/>
                  <a:gd name="connsiteX111" fmla="*/ 1046401 w 1463406"/>
                  <a:gd name="connsiteY111" fmla="*/ 96462 h 1678708"/>
                  <a:gd name="connsiteX112" fmla="*/ 1076070 w 1463406"/>
                  <a:gd name="connsiteY112" fmla="*/ 77932 h 1678708"/>
                  <a:gd name="connsiteX113" fmla="*/ 1170891 w 1463406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66647 w 1465787"/>
                  <a:gd name="connsiteY5" fmla="*/ 141489 h 1678708"/>
                  <a:gd name="connsiteX6" fmla="*/ 1392290 w 1465787"/>
                  <a:gd name="connsiteY6" fmla="*/ 186343 h 1678708"/>
                  <a:gd name="connsiteX7" fmla="*/ 1389308 w 1465787"/>
                  <a:gd name="connsiteY7" fmla="*/ 215957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20468 w 1465787"/>
                  <a:gd name="connsiteY13" fmla="*/ 551063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55824 w 1465787"/>
                  <a:gd name="connsiteY98" fmla="*/ 107199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66647 w 1465787"/>
                  <a:gd name="connsiteY5" fmla="*/ 141489 h 1678708"/>
                  <a:gd name="connsiteX6" fmla="*/ 1392290 w 1465787"/>
                  <a:gd name="connsiteY6" fmla="*/ 186343 h 1678708"/>
                  <a:gd name="connsiteX7" fmla="*/ 1389308 w 1465787"/>
                  <a:gd name="connsiteY7" fmla="*/ 215957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55824 w 1465787"/>
                  <a:gd name="connsiteY98" fmla="*/ 107199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92290 w 1465787"/>
                  <a:gd name="connsiteY6" fmla="*/ 186343 h 1678708"/>
                  <a:gd name="connsiteX7" fmla="*/ 1389308 w 1465787"/>
                  <a:gd name="connsiteY7" fmla="*/ 215957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55824 w 1465787"/>
                  <a:gd name="connsiteY98" fmla="*/ 107199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89308 w 1465787"/>
                  <a:gd name="connsiteY7" fmla="*/ 215957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55824 w 1465787"/>
                  <a:gd name="connsiteY98" fmla="*/ 107199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55824 w 1465787"/>
                  <a:gd name="connsiteY98" fmla="*/ 107199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67731 w 1465787"/>
                  <a:gd name="connsiteY98" fmla="*/ 119106 h 1678708"/>
                  <a:gd name="connsiteX99" fmla="*/ 794140 w 1465787"/>
                  <a:gd name="connsiteY99" fmla="*/ 51608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87242 w 1465787"/>
                  <a:gd name="connsiteY97" fmla="*/ 114992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44304 w 1465787"/>
                  <a:gd name="connsiteY96" fmla="*/ 149282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601516 w 1465787"/>
                  <a:gd name="connsiteY95" fmla="*/ 156729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60069 w 1465787"/>
                  <a:gd name="connsiteY94" fmla="*/ 126076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24287 w 1465787"/>
                  <a:gd name="connsiteY93" fmla="*/ 126076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76876 w 1465787"/>
                  <a:gd name="connsiteY92" fmla="*/ 111875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41095 w 1465787"/>
                  <a:gd name="connsiteY91" fmla="*/ 13075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41095 w 1465787"/>
                  <a:gd name="connsiteY90" fmla="*/ 234487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77433 w 1465787"/>
                  <a:gd name="connsiteY89" fmla="*/ 324195 h 1678708"/>
                  <a:gd name="connsiteX90" fmla="*/ 457763 w 1465787"/>
                  <a:gd name="connsiteY90" fmla="*/ 248774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10491 w 1465787"/>
                  <a:gd name="connsiteY88" fmla="*/ 335625 h 1678708"/>
                  <a:gd name="connsiteX89" fmla="*/ 394102 w 1465787"/>
                  <a:gd name="connsiteY89" fmla="*/ 352770 h 1678708"/>
                  <a:gd name="connsiteX90" fmla="*/ 457763 w 1465787"/>
                  <a:gd name="connsiteY90" fmla="*/ 248774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63081 w 1465787"/>
                  <a:gd name="connsiteY87" fmla="*/ 368010 h 1678708"/>
                  <a:gd name="connsiteX88" fmla="*/ 334304 w 1465787"/>
                  <a:gd name="connsiteY88" fmla="*/ 352293 h 1678708"/>
                  <a:gd name="connsiteX89" fmla="*/ 394102 w 1465787"/>
                  <a:gd name="connsiteY89" fmla="*/ 352770 h 1678708"/>
                  <a:gd name="connsiteX90" fmla="*/ 457763 w 1465787"/>
                  <a:gd name="connsiteY90" fmla="*/ 248774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214477 w 1465787"/>
                  <a:gd name="connsiteY86" fmla="*/ 372686 h 1678708"/>
                  <a:gd name="connsiteX87" fmla="*/ 272606 w 1465787"/>
                  <a:gd name="connsiteY87" fmla="*/ 420398 h 1678708"/>
                  <a:gd name="connsiteX88" fmla="*/ 334304 w 1465787"/>
                  <a:gd name="connsiteY88" fmla="*/ 352293 h 1678708"/>
                  <a:gd name="connsiteX89" fmla="*/ 394102 w 1465787"/>
                  <a:gd name="connsiteY89" fmla="*/ 352770 h 1678708"/>
                  <a:gd name="connsiteX90" fmla="*/ 457763 w 1465787"/>
                  <a:gd name="connsiteY90" fmla="*/ 248774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  <a:gd name="connsiteX0" fmla="*/ 1170891 w 1465787"/>
                  <a:gd name="connsiteY0" fmla="*/ 0 h 1678708"/>
                  <a:gd name="connsiteX1" fmla="*/ 1213829 w 1465787"/>
                  <a:gd name="connsiteY1" fmla="*/ 37407 h 1678708"/>
                  <a:gd name="connsiteX2" fmla="*/ 1275254 w 1465787"/>
                  <a:gd name="connsiteY2" fmla="*/ 56284 h 1678708"/>
                  <a:gd name="connsiteX3" fmla="*/ 1295978 w 1465787"/>
                  <a:gd name="connsiteY3" fmla="*/ 85898 h 1678708"/>
                  <a:gd name="connsiteX4" fmla="*/ 1320727 w 1465787"/>
                  <a:gd name="connsiteY4" fmla="*/ 74468 h 1678708"/>
                  <a:gd name="connsiteX5" fmla="*/ 1340453 w 1465787"/>
                  <a:gd name="connsiteY5" fmla="*/ 148633 h 1678708"/>
                  <a:gd name="connsiteX6" fmla="*/ 1368477 w 1465787"/>
                  <a:gd name="connsiteY6" fmla="*/ 181580 h 1678708"/>
                  <a:gd name="connsiteX7" fmla="*/ 1363115 w 1465787"/>
                  <a:gd name="connsiteY7" fmla="*/ 230245 h 1678708"/>
                  <a:gd name="connsiteX8" fmla="*/ 1406901 w 1465787"/>
                  <a:gd name="connsiteY8" fmla="*/ 275012 h 1678708"/>
                  <a:gd name="connsiteX9" fmla="*/ 1424941 w 1465787"/>
                  <a:gd name="connsiteY9" fmla="*/ 306185 h 1678708"/>
                  <a:gd name="connsiteX10" fmla="*/ 1402428 w 1465787"/>
                  <a:gd name="connsiteY10" fmla="*/ 405417 h 1678708"/>
                  <a:gd name="connsiteX11" fmla="*/ 1346370 w 1465787"/>
                  <a:gd name="connsiteY11" fmla="*/ 412864 h 1678708"/>
                  <a:gd name="connsiteX12" fmla="*/ 1389308 w 1465787"/>
                  <a:gd name="connsiteY12" fmla="*/ 524739 h 1678708"/>
                  <a:gd name="connsiteX13" fmla="*/ 1415706 w 1465787"/>
                  <a:gd name="connsiteY13" fmla="*/ 534394 h 1678708"/>
                  <a:gd name="connsiteX14" fmla="*/ 1465787 w 1465787"/>
                  <a:gd name="connsiteY14" fmla="*/ 521839 h 1678708"/>
                  <a:gd name="connsiteX15" fmla="*/ 1420468 w 1465787"/>
                  <a:gd name="connsiteY15" fmla="*/ 647178 h 1678708"/>
                  <a:gd name="connsiteX16" fmla="*/ 1307905 w 1465787"/>
                  <a:gd name="connsiteY16" fmla="*/ 789880 h 1678708"/>
                  <a:gd name="connsiteX17" fmla="*/ 1282411 w 1465787"/>
                  <a:gd name="connsiteY17" fmla="*/ 792997 h 1678708"/>
                  <a:gd name="connsiteX18" fmla="*/ 1264669 w 1465787"/>
                  <a:gd name="connsiteY18" fmla="*/ 745026 h 1678708"/>
                  <a:gd name="connsiteX19" fmla="*/ 1254083 w 1465787"/>
                  <a:gd name="connsiteY19" fmla="*/ 740177 h 1678708"/>
                  <a:gd name="connsiteX20" fmla="*/ 1231869 w 1465787"/>
                  <a:gd name="connsiteY20" fmla="*/ 789880 h 1678708"/>
                  <a:gd name="connsiteX21" fmla="*/ 1210251 w 1465787"/>
                  <a:gd name="connsiteY21" fmla="*/ 817762 h 1678708"/>
                  <a:gd name="connsiteX22" fmla="*/ 1185949 w 1465787"/>
                  <a:gd name="connsiteY22" fmla="*/ 883224 h 1678708"/>
                  <a:gd name="connsiteX23" fmla="*/ 1215618 w 1465787"/>
                  <a:gd name="connsiteY23" fmla="*/ 942799 h 1678708"/>
                  <a:gd name="connsiteX24" fmla="*/ 1178495 w 1465787"/>
                  <a:gd name="connsiteY24" fmla="*/ 971547 h 1678708"/>
                  <a:gd name="connsiteX25" fmla="*/ 1189080 w 1465787"/>
                  <a:gd name="connsiteY25" fmla="*/ 1019518 h 1678708"/>
                  <a:gd name="connsiteX26" fmla="*/ 1193702 w 1465787"/>
                  <a:gd name="connsiteY26" fmla="*/ 1095544 h 1678708"/>
                  <a:gd name="connsiteX27" fmla="*/ 1212189 w 1465787"/>
                  <a:gd name="connsiteY27" fmla="*/ 1202397 h 1678708"/>
                  <a:gd name="connsiteX28" fmla="*/ 1224265 w 1465787"/>
                  <a:gd name="connsiteY28" fmla="*/ 1272882 h 1678708"/>
                  <a:gd name="connsiteX29" fmla="*/ 1162244 w 1465787"/>
                  <a:gd name="connsiteY29" fmla="*/ 1501308 h 1678708"/>
                  <a:gd name="connsiteX30" fmla="*/ 1168804 w 1465787"/>
                  <a:gd name="connsiteY30" fmla="*/ 1589630 h 1678708"/>
                  <a:gd name="connsiteX31" fmla="*/ 1081283 w 1465787"/>
                  <a:gd name="connsiteY31" fmla="*/ 1678708 h 1678708"/>
                  <a:gd name="connsiteX32" fmla="*/ 981170 w 1465787"/>
                  <a:gd name="connsiteY32" fmla="*/ 1621720 h 1678708"/>
                  <a:gd name="connsiteX33" fmla="*/ 982902 w 1465787"/>
                  <a:gd name="connsiteY33" fmla="*/ 1621645 h 1678708"/>
                  <a:gd name="connsiteX34" fmla="*/ 984062 w 1465787"/>
                  <a:gd name="connsiteY34" fmla="*/ 1622305 h 1678708"/>
                  <a:gd name="connsiteX35" fmla="*/ 991875 w 1465787"/>
                  <a:gd name="connsiteY35" fmla="*/ 1612159 h 1678708"/>
                  <a:gd name="connsiteX36" fmla="*/ 1006964 w 1465787"/>
                  <a:gd name="connsiteY36" fmla="*/ 1588343 h 1678708"/>
                  <a:gd name="connsiteX37" fmla="*/ 961965 w 1465787"/>
                  <a:gd name="connsiteY37" fmla="*/ 1546392 h 1678708"/>
                  <a:gd name="connsiteX38" fmla="*/ 957143 w 1465787"/>
                  <a:gd name="connsiteY38" fmla="*/ 1513181 h 1678708"/>
                  <a:gd name="connsiteX39" fmla="*/ 948215 w 1465787"/>
                  <a:gd name="connsiteY39" fmla="*/ 1474726 h 1678708"/>
                  <a:gd name="connsiteX40" fmla="*/ 949633 w 1465787"/>
                  <a:gd name="connsiteY40" fmla="*/ 1467940 h 1678708"/>
                  <a:gd name="connsiteX41" fmla="*/ 951579 w 1465787"/>
                  <a:gd name="connsiteY41" fmla="*/ 1466672 h 1678708"/>
                  <a:gd name="connsiteX42" fmla="*/ 967122 w 1465787"/>
                  <a:gd name="connsiteY42" fmla="*/ 1434405 h 1678708"/>
                  <a:gd name="connsiteX43" fmla="*/ 1009286 w 1465787"/>
                  <a:gd name="connsiteY43" fmla="*/ 1407139 h 1678708"/>
                  <a:gd name="connsiteX44" fmla="*/ 1042500 w 1465787"/>
                  <a:gd name="connsiteY44" fmla="*/ 1354991 h 1678708"/>
                  <a:gd name="connsiteX45" fmla="*/ 1053571 w 1465787"/>
                  <a:gd name="connsiteY45" fmla="*/ 1318867 h 1678708"/>
                  <a:gd name="connsiteX46" fmla="*/ 1044285 w 1465787"/>
                  <a:gd name="connsiteY46" fmla="*/ 1296144 h 1678708"/>
                  <a:gd name="connsiteX47" fmla="*/ 955001 w 1465787"/>
                  <a:gd name="connsiteY47" fmla="*/ 1225643 h 1678708"/>
                  <a:gd name="connsiteX48" fmla="*/ 857323 w 1465787"/>
                  <a:gd name="connsiteY48" fmla="*/ 1256232 h 1678708"/>
                  <a:gd name="connsiteX49" fmla="*/ 839287 w 1465787"/>
                  <a:gd name="connsiteY49" fmla="*/ 1241374 h 1678708"/>
                  <a:gd name="connsiteX50" fmla="*/ 824823 w 1465787"/>
                  <a:gd name="connsiteY50" fmla="*/ 1205833 h 1678708"/>
                  <a:gd name="connsiteX51" fmla="*/ 771788 w 1465787"/>
                  <a:gd name="connsiteY51" fmla="*/ 1151937 h 1678708"/>
                  <a:gd name="connsiteX52" fmla="*/ 693396 w 1465787"/>
                  <a:gd name="connsiteY52" fmla="*/ 1144654 h 1678708"/>
                  <a:gd name="connsiteX53" fmla="*/ 591611 w 1465787"/>
                  <a:gd name="connsiteY53" fmla="*/ 1069929 h 1678708"/>
                  <a:gd name="connsiteX54" fmla="*/ 534112 w 1465787"/>
                  <a:gd name="connsiteY54" fmla="*/ 1051721 h 1678708"/>
                  <a:gd name="connsiteX55" fmla="*/ 510362 w 1465787"/>
                  <a:gd name="connsiteY55" fmla="*/ 1066579 h 1678708"/>
                  <a:gd name="connsiteX56" fmla="*/ 467684 w 1465787"/>
                  <a:gd name="connsiteY56" fmla="*/ 1066579 h 1678708"/>
                  <a:gd name="connsiteX57" fmla="*/ 428041 w 1465787"/>
                  <a:gd name="connsiteY57" fmla="*/ 1033950 h 1678708"/>
                  <a:gd name="connsiteX58" fmla="*/ 440005 w 1465787"/>
                  <a:gd name="connsiteY58" fmla="*/ 1000885 h 1678708"/>
                  <a:gd name="connsiteX59" fmla="*/ 424827 w 1465787"/>
                  <a:gd name="connsiteY59" fmla="*/ 987338 h 1678708"/>
                  <a:gd name="connsiteX60" fmla="*/ 343935 w 1465787"/>
                  <a:gd name="connsiteY60" fmla="*/ 983114 h 1678708"/>
                  <a:gd name="connsiteX61" fmla="*/ 156437 w 1465787"/>
                  <a:gd name="connsiteY61" fmla="*/ 1102558 h 1678708"/>
                  <a:gd name="connsiteX62" fmla="*/ 73759 w 1465787"/>
                  <a:gd name="connsiteY62" fmla="*/ 1131108 h 1678708"/>
                  <a:gd name="connsiteX63" fmla="*/ 75373 w 1465787"/>
                  <a:gd name="connsiteY63" fmla="*/ 1114361 h 1678708"/>
                  <a:gd name="connsiteX64" fmla="*/ 104826 w 1465787"/>
                  <a:gd name="connsiteY64" fmla="*/ 1007810 h 1678708"/>
                  <a:gd name="connsiteX65" fmla="*/ 53896 w 1465787"/>
                  <a:gd name="connsiteY65" fmla="*/ 938206 h 1678708"/>
                  <a:gd name="connsiteX66" fmla="*/ 55786 w 1465787"/>
                  <a:gd name="connsiteY66" fmla="*/ 820701 h 1678708"/>
                  <a:gd name="connsiteX67" fmla="*/ 52547 w 1465787"/>
                  <a:gd name="connsiteY67" fmla="*/ 732203 h 1678708"/>
                  <a:gd name="connsiteX68" fmla="*/ 35305 w 1465787"/>
                  <a:gd name="connsiteY68" fmla="*/ 736078 h 1678708"/>
                  <a:gd name="connsiteX69" fmla="*/ 34665 w 1465787"/>
                  <a:gd name="connsiteY69" fmla="*/ 735092 h 1678708"/>
                  <a:gd name="connsiteX70" fmla="*/ 53812 w 1465787"/>
                  <a:gd name="connsiteY70" fmla="*/ 730789 h 1678708"/>
                  <a:gd name="connsiteX71" fmla="*/ 59030 w 1465787"/>
                  <a:gd name="connsiteY71" fmla="*/ 670480 h 1678708"/>
                  <a:gd name="connsiteX72" fmla="*/ 30456 w 1465787"/>
                  <a:gd name="connsiteY72" fmla="*/ 631152 h 1678708"/>
                  <a:gd name="connsiteX73" fmla="*/ 77462 w 1465787"/>
                  <a:gd name="connsiteY73" fmla="*/ 523996 h 1678708"/>
                  <a:gd name="connsiteX74" fmla="*/ 59245 w 1465787"/>
                  <a:gd name="connsiteY74" fmla="*/ 516977 h 1678708"/>
                  <a:gd name="connsiteX75" fmla="*/ 30358 w 1465787"/>
                  <a:gd name="connsiteY75" fmla="*/ 511457 h 1678708"/>
                  <a:gd name="connsiteX76" fmla="*/ 39147 w 1465787"/>
                  <a:gd name="connsiteY76" fmla="*/ 498416 h 1678708"/>
                  <a:gd name="connsiteX77" fmla="*/ 875 w 1465787"/>
                  <a:gd name="connsiteY77" fmla="*/ 472877 h 1678708"/>
                  <a:gd name="connsiteX78" fmla="*/ 0 w 1465787"/>
                  <a:gd name="connsiteY78" fmla="*/ 471204 h 1678708"/>
                  <a:gd name="connsiteX79" fmla="*/ 35258 w 1465787"/>
                  <a:gd name="connsiteY79" fmla="*/ 427540 h 1678708"/>
                  <a:gd name="connsiteX80" fmla="*/ 30756 w 1465787"/>
                  <a:gd name="connsiteY80" fmla="*/ 410075 h 1678708"/>
                  <a:gd name="connsiteX81" fmla="*/ 135780 w 1465787"/>
                  <a:gd name="connsiteY81" fmla="*/ 315534 h 1678708"/>
                  <a:gd name="connsiteX82" fmla="*/ 102022 w 1465787"/>
                  <a:gd name="connsiteY82" fmla="*/ 305283 h 1678708"/>
                  <a:gd name="connsiteX83" fmla="*/ 75820 w 1465787"/>
                  <a:gd name="connsiteY83" fmla="*/ 297743 h 1678708"/>
                  <a:gd name="connsiteX84" fmla="*/ 108772 w 1465787"/>
                  <a:gd name="connsiteY84" fmla="*/ 267046 h 1678708"/>
                  <a:gd name="connsiteX85" fmla="*/ 132478 w 1465787"/>
                  <a:gd name="connsiteY85" fmla="*/ 275012 h 1678708"/>
                  <a:gd name="connsiteX86" fmla="*/ 195427 w 1465787"/>
                  <a:gd name="connsiteY86" fmla="*/ 375067 h 1678708"/>
                  <a:gd name="connsiteX87" fmla="*/ 272606 w 1465787"/>
                  <a:gd name="connsiteY87" fmla="*/ 420398 h 1678708"/>
                  <a:gd name="connsiteX88" fmla="*/ 334304 w 1465787"/>
                  <a:gd name="connsiteY88" fmla="*/ 352293 h 1678708"/>
                  <a:gd name="connsiteX89" fmla="*/ 394102 w 1465787"/>
                  <a:gd name="connsiteY89" fmla="*/ 352770 h 1678708"/>
                  <a:gd name="connsiteX90" fmla="*/ 457763 w 1465787"/>
                  <a:gd name="connsiteY90" fmla="*/ 248774 h 1678708"/>
                  <a:gd name="connsiteX91" fmla="*/ 455383 w 1465787"/>
                  <a:gd name="connsiteY91" fmla="*/ 149802 h 1678708"/>
                  <a:gd name="connsiteX92" fmla="*/ 488782 w 1465787"/>
                  <a:gd name="connsiteY92" fmla="*/ 133306 h 1678708"/>
                  <a:gd name="connsiteX93" fmla="*/ 517144 w 1465787"/>
                  <a:gd name="connsiteY93" fmla="*/ 152270 h 1678708"/>
                  <a:gd name="connsiteX94" fmla="*/ 548163 w 1465787"/>
                  <a:gd name="connsiteY94" fmla="*/ 161794 h 1678708"/>
                  <a:gd name="connsiteX95" fmla="*/ 587229 w 1465787"/>
                  <a:gd name="connsiteY95" fmla="*/ 178161 h 1678708"/>
                  <a:gd name="connsiteX96" fmla="*/ 634779 w 1465787"/>
                  <a:gd name="connsiteY96" fmla="*/ 170713 h 1678708"/>
                  <a:gd name="connsiteX97" fmla="*/ 696767 w 1465787"/>
                  <a:gd name="connsiteY97" fmla="*/ 150710 h 1678708"/>
                  <a:gd name="connsiteX98" fmla="*/ 767731 w 1465787"/>
                  <a:gd name="connsiteY98" fmla="*/ 119106 h 1678708"/>
                  <a:gd name="connsiteX99" fmla="*/ 810809 w 1465787"/>
                  <a:gd name="connsiteY99" fmla="*/ 63514 h 1678708"/>
                  <a:gd name="connsiteX100" fmla="*/ 832904 w 1465787"/>
                  <a:gd name="connsiteY100" fmla="*/ 37407 h 1678708"/>
                  <a:gd name="connsiteX101" fmla="*/ 860783 w 1465787"/>
                  <a:gd name="connsiteY101" fmla="*/ 12296 h 1678708"/>
                  <a:gd name="connsiteX102" fmla="*/ 898503 w 1465787"/>
                  <a:gd name="connsiteY102" fmla="*/ 32731 h 1678708"/>
                  <a:gd name="connsiteX103" fmla="*/ 908641 w 1465787"/>
                  <a:gd name="connsiteY103" fmla="*/ 63904 h 1678708"/>
                  <a:gd name="connsiteX104" fmla="*/ 911176 w 1465787"/>
                  <a:gd name="connsiteY104" fmla="*/ 85898 h 1678708"/>
                  <a:gd name="connsiteX105" fmla="*/ 939801 w 1465787"/>
                  <a:gd name="connsiteY105" fmla="*/ 119842 h 1678708"/>
                  <a:gd name="connsiteX106" fmla="*/ 943976 w 1465787"/>
                  <a:gd name="connsiteY106" fmla="*/ 149282 h 1678708"/>
                  <a:gd name="connsiteX107" fmla="*/ 969619 w 1465787"/>
                  <a:gd name="connsiteY107" fmla="*/ 152053 h 1678708"/>
                  <a:gd name="connsiteX108" fmla="*/ 997499 w 1465787"/>
                  <a:gd name="connsiteY108" fmla="*/ 144606 h 1678708"/>
                  <a:gd name="connsiteX109" fmla="*/ 1007935 w 1465787"/>
                  <a:gd name="connsiteY109" fmla="*/ 122959 h 1678708"/>
                  <a:gd name="connsiteX110" fmla="*/ 1033132 w 1465787"/>
                  <a:gd name="connsiteY110" fmla="*/ 93345 h 1678708"/>
                  <a:gd name="connsiteX111" fmla="*/ 1046401 w 1465787"/>
                  <a:gd name="connsiteY111" fmla="*/ 96462 h 1678708"/>
                  <a:gd name="connsiteX112" fmla="*/ 1076070 w 1465787"/>
                  <a:gd name="connsiteY112" fmla="*/ 77932 h 1678708"/>
                  <a:gd name="connsiteX113" fmla="*/ 1170891 w 1465787"/>
                  <a:gd name="connsiteY113" fmla="*/ 0 h 1678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1465787" h="1678708">
                    <a:moveTo>
                      <a:pt x="1170891" y="0"/>
                    </a:moveTo>
                    <a:lnTo>
                      <a:pt x="1213829" y="37407"/>
                    </a:lnTo>
                    <a:lnTo>
                      <a:pt x="1275254" y="56284"/>
                    </a:lnTo>
                    <a:lnTo>
                      <a:pt x="1295978" y="85898"/>
                    </a:lnTo>
                    <a:lnTo>
                      <a:pt x="1320727" y="74468"/>
                    </a:lnTo>
                    <a:lnTo>
                      <a:pt x="1340453" y="148633"/>
                    </a:lnTo>
                    <a:lnTo>
                      <a:pt x="1368477" y="181580"/>
                    </a:lnTo>
                    <a:cubicBezTo>
                      <a:pt x="1367433" y="191451"/>
                      <a:pt x="1364159" y="220374"/>
                      <a:pt x="1363115" y="230245"/>
                    </a:cubicBezTo>
                    <a:cubicBezTo>
                      <a:pt x="1368930" y="249988"/>
                      <a:pt x="1401086" y="255269"/>
                      <a:pt x="1406901" y="275012"/>
                    </a:cubicBezTo>
                    <a:cubicBezTo>
                      <a:pt x="1412864" y="285403"/>
                      <a:pt x="1418977" y="295794"/>
                      <a:pt x="1424941" y="306185"/>
                    </a:cubicBezTo>
                    <a:cubicBezTo>
                      <a:pt x="1417486" y="339262"/>
                      <a:pt x="1409883" y="372340"/>
                      <a:pt x="1402428" y="405417"/>
                    </a:cubicBezTo>
                    <a:lnTo>
                      <a:pt x="1346370" y="412864"/>
                    </a:lnTo>
                    <a:lnTo>
                      <a:pt x="1389308" y="524739"/>
                    </a:lnTo>
                    <a:lnTo>
                      <a:pt x="1415706" y="534394"/>
                    </a:lnTo>
                    <a:lnTo>
                      <a:pt x="1465787" y="521839"/>
                    </a:lnTo>
                    <a:lnTo>
                      <a:pt x="1420468" y="647178"/>
                    </a:lnTo>
                    <a:lnTo>
                      <a:pt x="1307905" y="789880"/>
                    </a:lnTo>
                    <a:lnTo>
                      <a:pt x="1282411" y="792997"/>
                    </a:lnTo>
                    <a:cubicBezTo>
                      <a:pt x="1276447" y="777064"/>
                      <a:pt x="1270632" y="760958"/>
                      <a:pt x="1264669" y="745026"/>
                    </a:cubicBezTo>
                    <a:cubicBezTo>
                      <a:pt x="1261091" y="743467"/>
                      <a:pt x="1257661" y="741735"/>
                      <a:pt x="1254083" y="740177"/>
                    </a:cubicBezTo>
                    <a:lnTo>
                      <a:pt x="1231869" y="789880"/>
                    </a:lnTo>
                    <a:cubicBezTo>
                      <a:pt x="1230974" y="802349"/>
                      <a:pt x="1211145" y="805293"/>
                      <a:pt x="1210251" y="817762"/>
                    </a:cubicBezTo>
                    <a:cubicBezTo>
                      <a:pt x="1202200" y="839583"/>
                      <a:pt x="1194000" y="861403"/>
                      <a:pt x="1185949" y="883224"/>
                    </a:cubicBezTo>
                    <a:cubicBezTo>
                      <a:pt x="1189527" y="895693"/>
                      <a:pt x="1212040" y="930330"/>
                      <a:pt x="1215618" y="942799"/>
                    </a:cubicBezTo>
                    <a:cubicBezTo>
                      <a:pt x="1209655" y="959770"/>
                      <a:pt x="1184458" y="954575"/>
                      <a:pt x="1178495" y="971547"/>
                    </a:cubicBezTo>
                    <a:cubicBezTo>
                      <a:pt x="1182073" y="987479"/>
                      <a:pt x="1185502" y="1003585"/>
                      <a:pt x="1189080" y="1019518"/>
                    </a:cubicBezTo>
                    <a:cubicBezTo>
                      <a:pt x="1182222" y="1045841"/>
                      <a:pt x="1200560" y="1069221"/>
                      <a:pt x="1193702" y="1095544"/>
                    </a:cubicBezTo>
                    <a:cubicBezTo>
                      <a:pt x="1194596" y="1157717"/>
                      <a:pt x="1211295" y="1140225"/>
                      <a:pt x="1212189" y="1202397"/>
                    </a:cubicBezTo>
                    <a:cubicBezTo>
                      <a:pt x="1216215" y="1218503"/>
                      <a:pt x="1220240" y="1256776"/>
                      <a:pt x="1224265" y="1272882"/>
                    </a:cubicBezTo>
                    <a:cubicBezTo>
                      <a:pt x="1217407" y="1328993"/>
                      <a:pt x="1169102" y="1445197"/>
                      <a:pt x="1162244" y="1501308"/>
                    </a:cubicBezTo>
                    <a:cubicBezTo>
                      <a:pt x="1163437" y="1534905"/>
                      <a:pt x="1167611" y="1556033"/>
                      <a:pt x="1168804" y="1589630"/>
                    </a:cubicBezTo>
                    <a:lnTo>
                      <a:pt x="1081283" y="1678708"/>
                    </a:lnTo>
                    <a:lnTo>
                      <a:pt x="981170" y="1621720"/>
                    </a:lnTo>
                    <a:lnTo>
                      <a:pt x="982902" y="1621645"/>
                    </a:lnTo>
                    <a:lnTo>
                      <a:pt x="984062" y="1622305"/>
                    </a:lnTo>
                    <a:lnTo>
                      <a:pt x="991875" y="1612159"/>
                    </a:lnTo>
                    <a:cubicBezTo>
                      <a:pt x="999107" y="1603238"/>
                      <a:pt x="1006339" y="1594316"/>
                      <a:pt x="1006964" y="1588343"/>
                    </a:cubicBezTo>
                    <a:lnTo>
                      <a:pt x="961965" y="1546392"/>
                    </a:lnTo>
                    <a:lnTo>
                      <a:pt x="957143" y="1513181"/>
                    </a:lnTo>
                    <a:cubicBezTo>
                      <a:pt x="961251" y="1498761"/>
                      <a:pt x="944108" y="1489147"/>
                      <a:pt x="948215" y="1474726"/>
                    </a:cubicBezTo>
                    <a:lnTo>
                      <a:pt x="949633" y="1467940"/>
                    </a:lnTo>
                    <a:lnTo>
                      <a:pt x="951579" y="1466672"/>
                    </a:lnTo>
                    <a:lnTo>
                      <a:pt x="967122" y="1434405"/>
                    </a:lnTo>
                    <a:lnTo>
                      <a:pt x="1009286" y="1407139"/>
                    </a:lnTo>
                    <a:lnTo>
                      <a:pt x="1042500" y="1354991"/>
                    </a:lnTo>
                    <a:cubicBezTo>
                      <a:pt x="1046964" y="1342901"/>
                      <a:pt x="1049107" y="1330957"/>
                      <a:pt x="1053571" y="1318867"/>
                    </a:cubicBezTo>
                    <a:cubicBezTo>
                      <a:pt x="1045714" y="1310564"/>
                      <a:pt x="1052143" y="1304446"/>
                      <a:pt x="1044285" y="1296144"/>
                    </a:cubicBezTo>
                    <a:lnTo>
                      <a:pt x="955001" y="1225643"/>
                    </a:lnTo>
                    <a:lnTo>
                      <a:pt x="857323" y="1256232"/>
                    </a:lnTo>
                    <a:cubicBezTo>
                      <a:pt x="851430" y="1251279"/>
                      <a:pt x="845180" y="1246327"/>
                      <a:pt x="839287" y="1241374"/>
                    </a:cubicBezTo>
                    <a:lnTo>
                      <a:pt x="824823" y="1205833"/>
                    </a:lnTo>
                    <a:lnTo>
                      <a:pt x="771788" y="1151937"/>
                    </a:lnTo>
                    <a:lnTo>
                      <a:pt x="693396" y="1144654"/>
                    </a:lnTo>
                    <a:lnTo>
                      <a:pt x="591611" y="1069929"/>
                    </a:lnTo>
                    <a:lnTo>
                      <a:pt x="534112" y="1051721"/>
                    </a:lnTo>
                    <a:lnTo>
                      <a:pt x="510362" y="1066579"/>
                    </a:lnTo>
                    <a:lnTo>
                      <a:pt x="467684" y="1066579"/>
                    </a:lnTo>
                    <a:lnTo>
                      <a:pt x="428041" y="1033950"/>
                    </a:lnTo>
                    <a:cubicBezTo>
                      <a:pt x="431970" y="1022880"/>
                      <a:pt x="436077" y="1011955"/>
                      <a:pt x="440005" y="1000885"/>
                    </a:cubicBezTo>
                    <a:cubicBezTo>
                      <a:pt x="435005" y="996369"/>
                      <a:pt x="429827" y="991854"/>
                      <a:pt x="424827" y="987338"/>
                    </a:cubicBezTo>
                    <a:lnTo>
                      <a:pt x="343935" y="983114"/>
                    </a:lnTo>
                    <a:lnTo>
                      <a:pt x="156437" y="1102558"/>
                    </a:lnTo>
                    <a:lnTo>
                      <a:pt x="73759" y="1131108"/>
                    </a:lnTo>
                    <a:lnTo>
                      <a:pt x="75373" y="1114361"/>
                    </a:lnTo>
                    <a:lnTo>
                      <a:pt x="104826" y="1007810"/>
                    </a:lnTo>
                    <a:lnTo>
                      <a:pt x="53896" y="938206"/>
                    </a:lnTo>
                    <a:lnTo>
                      <a:pt x="55786" y="820701"/>
                    </a:lnTo>
                    <a:lnTo>
                      <a:pt x="52547" y="732203"/>
                    </a:lnTo>
                    <a:lnTo>
                      <a:pt x="35305" y="736078"/>
                    </a:lnTo>
                    <a:lnTo>
                      <a:pt x="34665" y="735092"/>
                    </a:lnTo>
                    <a:lnTo>
                      <a:pt x="53812" y="730789"/>
                    </a:lnTo>
                    <a:lnTo>
                      <a:pt x="59030" y="670480"/>
                    </a:lnTo>
                    <a:lnTo>
                      <a:pt x="30456" y="631152"/>
                    </a:lnTo>
                    <a:cubicBezTo>
                      <a:pt x="67556" y="575589"/>
                      <a:pt x="66556" y="553365"/>
                      <a:pt x="77462" y="523996"/>
                    </a:cubicBezTo>
                    <a:lnTo>
                      <a:pt x="59245" y="516977"/>
                    </a:lnTo>
                    <a:lnTo>
                      <a:pt x="30358" y="511457"/>
                    </a:lnTo>
                    <a:lnTo>
                      <a:pt x="39147" y="498416"/>
                    </a:lnTo>
                    <a:lnTo>
                      <a:pt x="875" y="472877"/>
                    </a:lnTo>
                    <a:lnTo>
                      <a:pt x="0" y="471204"/>
                    </a:lnTo>
                    <a:lnTo>
                      <a:pt x="35258" y="427540"/>
                    </a:lnTo>
                    <a:lnTo>
                      <a:pt x="30756" y="410075"/>
                    </a:lnTo>
                    <a:lnTo>
                      <a:pt x="135780" y="315534"/>
                    </a:lnTo>
                    <a:lnTo>
                      <a:pt x="102022" y="305283"/>
                    </a:lnTo>
                    <a:lnTo>
                      <a:pt x="75820" y="297743"/>
                    </a:lnTo>
                    <a:lnTo>
                      <a:pt x="108772" y="267046"/>
                    </a:lnTo>
                    <a:lnTo>
                      <a:pt x="132478" y="275012"/>
                    </a:lnTo>
                    <a:lnTo>
                      <a:pt x="195427" y="375067"/>
                    </a:lnTo>
                    <a:lnTo>
                      <a:pt x="272606" y="420398"/>
                    </a:lnTo>
                    <a:lnTo>
                      <a:pt x="334304" y="352293"/>
                    </a:lnTo>
                    <a:lnTo>
                      <a:pt x="394102" y="352770"/>
                    </a:lnTo>
                    <a:lnTo>
                      <a:pt x="457763" y="248774"/>
                    </a:lnTo>
                    <a:cubicBezTo>
                      <a:pt x="456970" y="215783"/>
                      <a:pt x="456176" y="182793"/>
                      <a:pt x="455383" y="149802"/>
                    </a:cubicBezTo>
                    <a:lnTo>
                      <a:pt x="488782" y="133306"/>
                    </a:lnTo>
                    <a:lnTo>
                      <a:pt x="517144" y="152270"/>
                    </a:lnTo>
                    <a:lnTo>
                      <a:pt x="548163" y="161794"/>
                    </a:lnTo>
                    <a:lnTo>
                      <a:pt x="587229" y="178161"/>
                    </a:lnTo>
                    <a:lnTo>
                      <a:pt x="634779" y="170713"/>
                    </a:lnTo>
                    <a:lnTo>
                      <a:pt x="696767" y="150710"/>
                    </a:lnTo>
                    <a:lnTo>
                      <a:pt x="767731" y="119106"/>
                    </a:lnTo>
                    <a:lnTo>
                      <a:pt x="810809" y="63514"/>
                    </a:lnTo>
                    <a:lnTo>
                      <a:pt x="832904" y="37407"/>
                    </a:lnTo>
                    <a:lnTo>
                      <a:pt x="860783" y="12296"/>
                    </a:lnTo>
                    <a:lnTo>
                      <a:pt x="898503" y="32731"/>
                    </a:lnTo>
                    <a:cubicBezTo>
                      <a:pt x="901932" y="43122"/>
                      <a:pt x="905212" y="53513"/>
                      <a:pt x="908641" y="63904"/>
                    </a:cubicBezTo>
                    <a:cubicBezTo>
                      <a:pt x="909536" y="71178"/>
                      <a:pt x="910281" y="78624"/>
                      <a:pt x="911176" y="85898"/>
                    </a:cubicBezTo>
                    <a:lnTo>
                      <a:pt x="939801" y="119842"/>
                    </a:lnTo>
                    <a:cubicBezTo>
                      <a:pt x="941143" y="129713"/>
                      <a:pt x="942634" y="139411"/>
                      <a:pt x="943976" y="149282"/>
                    </a:cubicBezTo>
                    <a:lnTo>
                      <a:pt x="969619" y="152053"/>
                    </a:lnTo>
                    <a:lnTo>
                      <a:pt x="997499" y="144606"/>
                    </a:lnTo>
                    <a:cubicBezTo>
                      <a:pt x="1000928" y="137333"/>
                      <a:pt x="1004506" y="130232"/>
                      <a:pt x="1007935" y="122959"/>
                    </a:cubicBezTo>
                    <a:lnTo>
                      <a:pt x="1033132" y="93345"/>
                    </a:lnTo>
                    <a:lnTo>
                      <a:pt x="1046401" y="96462"/>
                    </a:lnTo>
                    <a:lnTo>
                      <a:pt x="1076070" y="77932"/>
                    </a:lnTo>
                    <a:lnTo>
                      <a:pt x="1170891" y="0"/>
                    </a:lnTo>
                    <a:close/>
                  </a:path>
                </a:pathLst>
              </a:custGeom>
              <a:solidFill>
                <a:srgbClr val="ED7D31"/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: PI">
                <a:extLst>
                  <a:ext uri="{FF2B5EF4-FFF2-40B4-BE49-F238E27FC236}">
                    <a16:creationId xmlns:a16="http://schemas.microsoft.com/office/drawing/2014/main" id="{FF6F7186-BAB3-CC23-034E-F08FABCBA0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74347" y="1497069"/>
                <a:ext cx="929794" cy="1352759"/>
              </a:xfrm>
              <a:custGeom>
                <a:avLst/>
                <a:gdLst>
                  <a:gd name="connsiteX0" fmla="*/ 693701 w 929588"/>
                  <a:gd name="connsiteY0" fmla="*/ 0 h 1406344"/>
                  <a:gd name="connsiteX1" fmla="*/ 758428 w 929588"/>
                  <a:gd name="connsiteY1" fmla="*/ 34320 h 1406344"/>
                  <a:gd name="connsiteX2" fmla="*/ 808545 w 929588"/>
                  <a:gd name="connsiteY2" fmla="*/ 59280 h 1406344"/>
                  <a:gd name="connsiteX3" fmla="*/ 792164 w 929588"/>
                  <a:gd name="connsiteY3" fmla="*/ 94278 h 1406344"/>
                  <a:gd name="connsiteX4" fmla="*/ 777554 w 929588"/>
                  <a:gd name="connsiteY4" fmla="*/ 138500 h 1406344"/>
                  <a:gd name="connsiteX5" fmla="*/ 787471 w 929588"/>
                  <a:gd name="connsiteY5" fmla="*/ 156542 h 1406344"/>
                  <a:gd name="connsiteX6" fmla="*/ 837766 w 929588"/>
                  <a:gd name="connsiteY6" fmla="*/ 270218 h 1406344"/>
                  <a:gd name="connsiteX7" fmla="*/ 835109 w 929588"/>
                  <a:gd name="connsiteY7" fmla="*/ 341028 h 1406344"/>
                  <a:gd name="connsiteX8" fmla="*/ 825635 w 929588"/>
                  <a:gd name="connsiteY8" fmla="*/ 365174 h 1406344"/>
                  <a:gd name="connsiteX9" fmla="*/ 844938 w 929588"/>
                  <a:gd name="connsiteY9" fmla="*/ 443309 h 1406344"/>
                  <a:gd name="connsiteX10" fmla="*/ 876018 w 929588"/>
                  <a:gd name="connsiteY10" fmla="*/ 651941 h 1406344"/>
                  <a:gd name="connsiteX11" fmla="*/ 929588 w 929588"/>
                  <a:gd name="connsiteY11" fmla="*/ 732382 h 1406344"/>
                  <a:gd name="connsiteX12" fmla="*/ 899571 w 929588"/>
                  <a:gd name="connsiteY12" fmla="*/ 819742 h 1406344"/>
                  <a:gd name="connsiteX13" fmla="*/ 888857 w 929588"/>
                  <a:gd name="connsiteY13" fmla="*/ 852027 h 1406344"/>
                  <a:gd name="connsiteX14" fmla="*/ 905680 w 929588"/>
                  <a:gd name="connsiteY14" fmla="*/ 903574 h 1406344"/>
                  <a:gd name="connsiteX15" fmla="*/ 857511 w 929588"/>
                  <a:gd name="connsiteY15" fmla="*/ 955393 h 1406344"/>
                  <a:gd name="connsiteX16" fmla="*/ 823510 w 929588"/>
                  <a:gd name="connsiteY16" fmla="*/ 966517 h 1406344"/>
                  <a:gd name="connsiteX17" fmla="*/ 808105 w 929588"/>
                  <a:gd name="connsiteY17" fmla="*/ 1001388 h 1406344"/>
                  <a:gd name="connsiteX18" fmla="*/ 802297 w 929588"/>
                  <a:gd name="connsiteY18" fmla="*/ 998242 h 1406344"/>
                  <a:gd name="connsiteX19" fmla="*/ 774418 w 929588"/>
                  <a:gd name="connsiteY19" fmla="*/ 1023353 h 1406344"/>
                  <a:gd name="connsiteX20" fmla="*/ 752323 w 929588"/>
                  <a:gd name="connsiteY20" fmla="*/ 1049460 h 1406344"/>
                  <a:gd name="connsiteX21" fmla="*/ 709245 w 929588"/>
                  <a:gd name="connsiteY21" fmla="*/ 1105052 h 1406344"/>
                  <a:gd name="connsiteX22" fmla="*/ 638281 w 929588"/>
                  <a:gd name="connsiteY22" fmla="*/ 1136656 h 1406344"/>
                  <a:gd name="connsiteX23" fmla="*/ 576293 w 929588"/>
                  <a:gd name="connsiteY23" fmla="*/ 1156659 h 1406344"/>
                  <a:gd name="connsiteX24" fmla="*/ 528743 w 929588"/>
                  <a:gd name="connsiteY24" fmla="*/ 1164107 h 1406344"/>
                  <a:gd name="connsiteX25" fmla="*/ 489677 w 929588"/>
                  <a:gd name="connsiteY25" fmla="*/ 1147740 h 1406344"/>
                  <a:gd name="connsiteX26" fmla="*/ 458658 w 929588"/>
                  <a:gd name="connsiteY26" fmla="*/ 1138216 h 1406344"/>
                  <a:gd name="connsiteX27" fmla="*/ 430296 w 929588"/>
                  <a:gd name="connsiteY27" fmla="*/ 1119252 h 1406344"/>
                  <a:gd name="connsiteX28" fmla="*/ 396897 w 929588"/>
                  <a:gd name="connsiteY28" fmla="*/ 1135748 h 1406344"/>
                  <a:gd name="connsiteX29" fmla="*/ 399277 w 929588"/>
                  <a:gd name="connsiteY29" fmla="*/ 1234720 h 1406344"/>
                  <a:gd name="connsiteX30" fmla="*/ 335616 w 929588"/>
                  <a:gd name="connsiteY30" fmla="*/ 1338716 h 1406344"/>
                  <a:gd name="connsiteX31" fmla="*/ 275818 w 929588"/>
                  <a:gd name="connsiteY31" fmla="*/ 1338239 h 1406344"/>
                  <a:gd name="connsiteX32" fmla="*/ 214120 w 929588"/>
                  <a:gd name="connsiteY32" fmla="*/ 1406344 h 1406344"/>
                  <a:gd name="connsiteX33" fmla="*/ 136941 w 929588"/>
                  <a:gd name="connsiteY33" fmla="*/ 1361013 h 1406344"/>
                  <a:gd name="connsiteX34" fmla="*/ 73992 w 929588"/>
                  <a:gd name="connsiteY34" fmla="*/ 1260958 h 1406344"/>
                  <a:gd name="connsiteX35" fmla="*/ 50286 w 929588"/>
                  <a:gd name="connsiteY35" fmla="*/ 1252992 h 1406344"/>
                  <a:gd name="connsiteX36" fmla="*/ 17550 w 929588"/>
                  <a:gd name="connsiteY36" fmla="*/ 1283488 h 1406344"/>
                  <a:gd name="connsiteX37" fmla="*/ 0 w 929588"/>
                  <a:gd name="connsiteY37" fmla="*/ 1278437 h 1406344"/>
                  <a:gd name="connsiteX38" fmla="*/ 15614 w 929588"/>
                  <a:gd name="connsiteY38" fmla="*/ 1245891 h 1406344"/>
                  <a:gd name="connsiteX39" fmla="*/ 56168 w 929588"/>
                  <a:gd name="connsiteY39" fmla="*/ 1146390 h 1406344"/>
                  <a:gd name="connsiteX40" fmla="*/ 34120 w 929588"/>
                  <a:gd name="connsiteY40" fmla="*/ 1068119 h 1406344"/>
                  <a:gd name="connsiteX41" fmla="*/ 87691 w 929588"/>
                  <a:gd name="connsiteY41" fmla="*/ 915783 h 1406344"/>
                  <a:gd name="connsiteX42" fmla="*/ 142678 w 929588"/>
                  <a:gd name="connsiteY42" fmla="*/ 826253 h 1406344"/>
                  <a:gd name="connsiteX43" fmla="*/ 267705 w 929588"/>
                  <a:gd name="connsiteY43" fmla="*/ 776198 h 1406344"/>
                  <a:gd name="connsiteX44" fmla="*/ 352710 w 929588"/>
                  <a:gd name="connsiteY44" fmla="*/ 698876 h 1406344"/>
                  <a:gd name="connsiteX45" fmla="*/ 412744 w 929588"/>
                  <a:gd name="connsiteY45" fmla="*/ 677715 h 1406344"/>
                  <a:gd name="connsiteX46" fmla="*/ 478091 w 929588"/>
                  <a:gd name="connsiteY46" fmla="*/ 692229 h 1406344"/>
                  <a:gd name="connsiteX47" fmla="*/ 528916 w 929588"/>
                  <a:gd name="connsiteY47" fmla="*/ 675544 h 1406344"/>
                  <a:gd name="connsiteX48" fmla="*/ 541047 w 929588"/>
                  <a:gd name="connsiteY48" fmla="*/ 593746 h 1406344"/>
                  <a:gd name="connsiteX49" fmla="*/ 502264 w 929588"/>
                  <a:gd name="connsiteY49" fmla="*/ 571228 h 1406344"/>
                  <a:gd name="connsiteX50" fmla="*/ 495623 w 929588"/>
                  <a:gd name="connsiteY50" fmla="*/ 499197 h 1406344"/>
                  <a:gd name="connsiteX51" fmla="*/ 517583 w 929588"/>
                  <a:gd name="connsiteY51" fmla="*/ 474916 h 1406344"/>
                  <a:gd name="connsiteX52" fmla="*/ 533964 w 929588"/>
                  <a:gd name="connsiteY52" fmla="*/ 434627 h 1406344"/>
                  <a:gd name="connsiteX53" fmla="*/ 524312 w 929588"/>
                  <a:gd name="connsiteY53" fmla="*/ 384165 h 1406344"/>
                  <a:gd name="connsiteX54" fmla="*/ 520505 w 929588"/>
                  <a:gd name="connsiteY54" fmla="*/ 339671 h 1406344"/>
                  <a:gd name="connsiteX55" fmla="*/ 524578 w 929588"/>
                  <a:gd name="connsiteY55" fmla="*/ 265606 h 1406344"/>
                  <a:gd name="connsiteX56" fmla="*/ 547688 w 929588"/>
                  <a:gd name="connsiteY56" fmla="*/ 216364 h 1406344"/>
                  <a:gd name="connsiteX57" fmla="*/ 605952 w 929588"/>
                  <a:gd name="connsiteY57" fmla="*/ 134702 h 1406344"/>
                  <a:gd name="connsiteX58" fmla="*/ 635615 w 929588"/>
                  <a:gd name="connsiteY58" fmla="*/ 131989 h 1406344"/>
                  <a:gd name="connsiteX59" fmla="*/ 695649 w 929588"/>
                  <a:gd name="connsiteY59" fmla="*/ 88173 h 1406344"/>
                  <a:gd name="connsiteX60" fmla="*/ 693701 w 929588"/>
                  <a:gd name="connsiteY60" fmla="*/ 0 h 1406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929588" h="1406344">
                    <a:moveTo>
                      <a:pt x="693701" y="0"/>
                    </a:moveTo>
                    <a:lnTo>
                      <a:pt x="758428" y="34320"/>
                    </a:lnTo>
                    <a:lnTo>
                      <a:pt x="808545" y="59280"/>
                    </a:lnTo>
                    <a:cubicBezTo>
                      <a:pt x="803852" y="74880"/>
                      <a:pt x="796857" y="78678"/>
                      <a:pt x="792164" y="94278"/>
                    </a:cubicBezTo>
                    <a:lnTo>
                      <a:pt x="777554" y="138500"/>
                    </a:lnTo>
                    <a:lnTo>
                      <a:pt x="787471" y="156542"/>
                    </a:lnTo>
                    <a:lnTo>
                      <a:pt x="837766" y="270218"/>
                    </a:lnTo>
                    <a:lnTo>
                      <a:pt x="835109" y="341028"/>
                    </a:lnTo>
                    <a:cubicBezTo>
                      <a:pt x="837500" y="353101"/>
                      <a:pt x="823244" y="353101"/>
                      <a:pt x="825635" y="365174"/>
                    </a:cubicBezTo>
                    <a:cubicBezTo>
                      <a:pt x="829708" y="399222"/>
                      <a:pt x="840865" y="409260"/>
                      <a:pt x="844938" y="443309"/>
                    </a:cubicBezTo>
                    <a:lnTo>
                      <a:pt x="876018" y="651941"/>
                    </a:lnTo>
                    <a:lnTo>
                      <a:pt x="929588" y="732382"/>
                    </a:lnTo>
                    <a:lnTo>
                      <a:pt x="899571" y="819742"/>
                    </a:lnTo>
                    <a:lnTo>
                      <a:pt x="888857" y="852027"/>
                    </a:lnTo>
                    <a:cubicBezTo>
                      <a:pt x="894435" y="869254"/>
                      <a:pt x="900102" y="886347"/>
                      <a:pt x="905680" y="903574"/>
                    </a:cubicBezTo>
                    <a:lnTo>
                      <a:pt x="857511" y="955393"/>
                    </a:lnTo>
                    <a:lnTo>
                      <a:pt x="823510" y="966517"/>
                    </a:lnTo>
                    <a:lnTo>
                      <a:pt x="808105" y="1001388"/>
                    </a:lnTo>
                    <a:lnTo>
                      <a:pt x="802297" y="998242"/>
                    </a:lnTo>
                    <a:lnTo>
                      <a:pt x="774418" y="1023353"/>
                    </a:lnTo>
                    <a:lnTo>
                      <a:pt x="752323" y="1049460"/>
                    </a:lnTo>
                    <a:lnTo>
                      <a:pt x="709245" y="1105052"/>
                    </a:lnTo>
                    <a:lnTo>
                      <a:pt x="638281" y="1136656"/>
                    </a:lnTo>
                    <a:lnTo>
                      <a:pt x="576293" y="1156659"/>
                    </a:lnTo>
                    <a:lnTo>
                      <a:pt x="528743" y="1164107"/>
                    </a:lnTo>
                    <a:lnTo>
                      <a:pt x="489677" y="1147740"/>
                    </a:lnTo>
                    <a:lnTo>
                      <a:pt x="458658" y="1138216"/>
                    </a:lnTo>
                    <a:lnTo>
                      <a:pt x="430296" y="1119252"/>
                    </a:lnTo>
                    <a:lnTo>
                      <a:pt x="396897" y="1135748"/>
                    </a:lnTo>
                    <a:cubicBezTo>
                      <a:pt x="397690" y="1168739"/>
                      <a:pt x="398484" y="1201729"/>
                      <a:pt x="399277" y="1234720"/>
                    </a:cubicBezTo>
                    <a:lnTo>
                      <a:pt x="335616" y="1338716"/>
                    </a:lnTo>
                    <a:lnTo>
                      <a:pt x="275818" y="1338239"/>
                    </a:lnTo>
                    <a:lnTo>
                      <a:pt x="214120" y="1406344"/>
                    </a:lnTo>
                    <a:lnTo>
                      <a:pt x="136941" y="1361013"/>
                    </a:lnTo>
                    <a:lnTo>
                      <a:pt x="73992" y="1260958"/>
                    </a:lnTo>
                    <a:lnTo>
                      <a:pt x="50286" y="1252992"/>
                    </a:lnTo>
                    <a:lnTo>
                      <a:pt x="17550" y="1283488"/>
                    </a:lnTo>
                    <a:lnTo>
                      <a:pt x="0" y="1278437"/>
                    </a:lnTo>
                    <a:lnTo>
                      <a:pt x="15614" y="1245891"/>
                    </a:lnTo>
                    <a:cubicBezTo>
                      <a:pt x="34895" y="1207366"/>
                      <a:pt x="54176" y="1168841"/>
                      <a:pt x="56168" y="1146390"/>
                    </a:cubicBezTo>
                    <a:lnTo>
                      <a:pt x="34120" y="1068119"/>
                    </a:lnTo>
                    <a:lnTo>
                      <a:pt x="87691" y="915783"/>
                    </a:lnTo>
                    <a:lnTo>
                      <a:pt x="142678" y="826253"/>
                    </a:lnTo>
                    <a:lnTo>
                      <a:pt x="267705" y="776198"/>
                    </a:lnTo>
                    <a:lnTo>
                      <a:pt x="352710" y="698876"/>
                    </a:lnTo>
                    <a:lnTo>
                      <a:pt x="412744" y="677715"/>
                    </a:lnTo>
                    <a:lnTo>
                      <a:pt x="478091" y="692229"/>
                    </a:lnTo>
                    <a:lnTo>
                      <a:pt x="528916" y="675544"/>
                    </a:lnTo>
                    <a:cubicBezTo>
                      <a:pt x="532990" y="649906"/>
                      <a:pt x="536974" y="619384"/>
                      <a:pt x="541047" y="593746"/>
                    </a:cubicBezTo>
                    <a:lnTo>
                      <a:pt x="502264" y="571228"/>
                    </a:lnTo>
                    <a:cubicBezTo>
                      <a:pt x="500847" y="550474"/>
                      <a:pt x="497040" y="519952"/>
                      <a:pt x="495623" y="499197"/>
                    </a:cubicBezTo>
                    <a:cubicBezTo>
                      <a:pt x="495800" y="488752"/>
                      <a:pt x="517405" y="485361"/>
                      <a:pt x="517583" y="474916"/>
                    </a:cubicBezTo>
                    <a:cubicBezTo>
                      <a:pt x="519885" y="463928"/>
                      <a:pt x="531661" y="445615"/>
                      <a:pt x="533964" y="434627"/>
                    </a:cubicBezTo>
                    <a:cubicBezTo>
                      <a:pt x="530776" y="417806"/>
                      <a:pt x="527500" y="400986"/>
                      <a:pt x="524312" y="384165"/>
                    </a:cubicBezTo>
                    <a:cubicBezTo>
                      <a:pt x="523072" y="369379"/>
                      <a:pt x="521744" y="354457"/>
                      <a:pt x="520505" y="339671"/>
                    </a:cubicBezTo>
                    <a:cubicBezTo>
                      <a:pt x="521833" y="314983"/>
                      <a:pt x="523250" y="290294"/>
                      <a:pt x="524578" y="265606"/>
                    </a:cubicBezTo>
                    <a:lnTo>
                      <a:pt x="547688" y="216364"/>
                    </a:lnTo>
                    <a:lnTo>
                      <a:pt x="605952" y="134702"/>
                    </a:lnTo>
                    <a:lnTo>
                      <a:pt x="635615" y="131989"/>
                    </a:lnTo>
                    <a:lnTo>
                      <a:pt x="695649" y="88173"/>
                    </a:lnTo>
                    <a:cubicBezTo>
                      <a:pt x="695029" y="58737"/>
                      <a:pt x="694321" y="29436"/>
                      <a:pt x="693701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: AP">
                <a:extLst>
                  <a:ext uri="{FF2B5EF4-FFF2-40B4-BE49-F238E27FC236}">
                    <a16:creationId xmlns:a16="http://schemas.microsoft.com/office/drawing/2014/main" id="{178BB470-0DB4-E849-7842-A880BBB7B0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9013" y="315924"/>
                <a:ext cx="785493" cy="917717"/>
              </a:xfrm>
              <a:custGeom>
                <a:avLst/>
                <a:gdLst>
                  <a:gd name="connsiteX0" fmla="*/ 508363 w 785319"/>
                  <a:gd name="connsiteY0" fmla="*/ 0 h 954069"/>
                  <a:gd name="connsiteX1" fmla="*/ 564539 w 785319"/>
                  <a:gd name="connsiteY1" fmla="*/ 50571 h 954069"/>
                  <a:gd name="connsiteX2" fmla="*/ 628484 w 785319"/>
                  <a:gd name="connsiteY2" fmla="*/ 314002 h 954069"/>
                  <a:gd name="connsiteX3" fmla="*/ 650562 w 785319"/>
                  <a:gd name="connsiteY3" fmla="*/ 363831 h 954069"/>
                  <a:gd name="connsiteX4" fmla="*/ 661110 w 785319"/>
                  <a:gd name="connsiteY4" fmla="*/ 396864 h 954069"/>
                  <a:gd name="connsiteX5" fmla="*/ 685805 w 785319"/>
                  <a:gd name="connsiteY5" fmla="*/ 422288 h 954069"/>
                  <a:gd name="connsiteX6" fmla="*/ 764386 w 785319"/>
                  <a:gd name="connsiteY6" fmla="*/ 458477 h 954069"/>
                  <a:gd name="connsiteX7" fmla="*/ 785319 w 785319"/>
                  <a:gd name="connsiteY7" fmla="*/ 502181 h 954069"/>
                  <a:gd name="connsiteX8" fmla="*/ 782294 w 785319"/>
                  <a:gd name="connsiteY8" fmla="*/ 548947 h 954069"/>
                  <a:gd name="connsiteX9" fmla="*/ 703712 w 785319"/>
                  <a:gd name="connsiteY9" fmla="*/ 631438 h 954069"/>
                  <a:gd name="connsiteX10" fmla="*/ 653178 w 785319"/>
                  <a:gd name="connsiteY10" fmla="*/ 700566 h 954069"/>
                  <a:gd name="connsiteX11" fmla="*/ 561923 w 785319"/>
                  <a:gd name="connsiteY11" fmla="*/ 750023 h 954069"/>
                  <a:gd name="connsiteX12" fmla="*/ 564539 w 785319"/>
                  <a:gd name="connsiteY12" fmla="*/ 791037 h 954069"/>
                  <a:gd name="connsiteX13" fmla="*/ 518503 w 785319"/>
                  <a:gd name="connsiteY13" fmla="*/ 829823 h 954069"/>
                  <a:gd name="connsiteX14" fmla="*/ 503866 w 785319"/>
                  <a:gd name="connsiteY14" fmla="*/ 850701 h 954069"/>
                  <a:gd name="connsiteX15" fmla="*/ 485958 w 785319"/>
                  <a:gd name="connsiteY15" fmla="*/ 902014 h 954069"/>
                  <a:gd name="connsiteX16" fmla="*/ 448099 w 785319"/>
                  <a:gd name="connsiteY16" fmla="*/ 954069 h 954069"/>
                  <a:gd name="connsiteX17" fmla="*/ 447576 w 785319"/>
                  <a:gd name="connsiteY17" fmla="*/ 954053 h 954069"/>
                  <a:gd name="connsiteX18" fmla="*/ 448011 w 785319"/>
                  <a:gd name="connsiteY18" fmla="*/ 952655 h 954069"/>
                  <a:gd name="connsiteX19" fmla="*/ 454104 w 785319"/>
                  <a:gd name="connsiteY19" fmla="*/ 942844 h 954069"/>
                  <a:gd name="connsiteX20" fmla="*/ 339457 w 785319"/>
                  <a:gd name="connsiteY20" fmla="*/ 897778 h 954069"/>
                  <a:gd name="connsiteX21" fmla="*/ 316653 w 785319"/>
                  <a:gd name="connsiteY21" fmla="*/ 789178 h 954069"/>
                  <a:gd name="connsiteX22" fmla="*/ 282761 w 785319"/>
                  <a:gd name="connsiteY22" fmla="*/ 773130 h 954069"/>
                  <a:gd name="connsiteX23" fmla="*/ 261840 w 785319"/>
                  <a:gd name="connsiteY23" fmla="*/ 706959 h 954069"/>
                  <a:gd name="connsiteX24" fmla="*/ 236526 w 785319"/>
                  <a:gd name="connsiteY24" fmla="*/ 614848 h 954069"/>
                  <a:gd name="connsiteX25" fmla="*/ 218324 w 785319"/>
                  <a:gd name="connsiteY25" fmla="*/ 603856 h 954069"/>
                  <a:gd name="connsiteX26" fmla="*/ 188826 w 785319"/>
                  <a:gd name="connsiteY26" fmla="*/ 519439 h 954069"/>
                  <a:gd name="connsiteX27" fmla="*/ 171880 w 785319"/>
                  <a:gd name="connsiteY27" fmla="*/ 510645 h 954069"/>
                  <a:gd name="connsiteX28" fmla="*/ 100748 w 785319"/>
                  <a:gd name="connsiteY28" fmla="*/ 475471 h 954069"/>
                  <a:gd name="connsiteX29" fmla="*/ 45098 w 785319"/>
                  <a:gd name="connsiteY29" fmla="*/ 447552 h 954069"/>
                  <a:gd name="connsiteX30" fmla="*/ 746 w 785319"/>
                  <a:gd name="connsiteY30" fmla="*/ 401826 h 954069"/>
                  <a:gd name="connsiteX31" fmla="*/ 3256 w 785319"/>
                  <a:gd name="connsiteY31" fmla="*/ 382480 h 954069"/>
                  <a:gd name="connsiteX32" fmla="*/ 3256 w 785319"/>
                  <a:gd name="connsiteY32" fmla="*/ 345334 h 954069"/>
                  <a:gd name="connsiteX33" fmla="*/ 10628 w 785319"/>
                  <a:gd name="connsiteY33" fmla="*/ 345922 h 954069"/>
                  <a:gd name="connsiteX34" fmla="*/ 49223 w 785319"/>
                  <a:gd name="connsiteY34" fmla="*/ 375615 h 954069"/>
                  <a:gd name="connsiteX35" fmla="*/ 102374 w 785319"/>
                  <a:gd name="connsiteY35" fmla="*/ 363831 h 954069"/>
                  <a:gd name="connsiteX36" fmla="*/ 134919 w 785319"/>
                  <a:gd name="connsiteY36" fmla="*/ 345922 h 954069"/>
                  <a:gd name="connsiteX37" fmla="*/ 170489 w 785319"/>
                  <a:gd name="connsiteY37" fmla="*/ 357706 h 954069"/>
                  <a:gd name="connsiteX38" fmla="*/ 209002 w 785319"/>
                  <a:gd name="connsiteY38" fmla="*/ 350469 h 954069"/>
                  <a:gd name="connsiteX39" fmla="*/ 241956 w 785319"/>
                  <a:gd name="connsiteY39" fmla="*/ 375615 h 954069"/>
                  <a:gd name="connsiteX40" fmla="*/ 287584 w 785319"/>
                  <a:gd name="connsiteY40" fmla="*/ 363831 h 954069"/>
                  <a:gd name="connsiteX41" fmla="*/ 330595 w 785319"/>
                  <a:gd name="connsiteY41" fmla="*/ 321611 h 954069"/>
                  <a:gd name="connsiteX42" fmla="*/ 427165 w 785319"/>
                  <a:gd name="connsiteY42" fmla="*/ 136866 h 954069"/>
                  <a:gd name="connsiteX43" fmla="*/ 475819 w 785319"/>
                  <a:gd name="connsiteY43" fmla="*/ 71820 h 954069"/>
                  <a:gd name="connsiteX44" fmla="*/ 490456 w 785319"/>
                  <a:gd name="connsiteY44" fmla="*/ 35724 h 954069"/>
                  <a:gd name="connsiteX45" fmla="*/ 508363 w 785319"/>
                  <a:gd name="connsiteY45" fmla="*/ 0 h 954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85319" h="954069">
                    <a:moveTo>
                      <a:pt x="508363" y="0"/>
                    </a:moveTo>
                    <a:lnTo>
                      <a:pt x="564539" y="50571"/>
                    </a:lnTo>
                    <a:lnTo>
                      <a:pt x="628484" y="314002"/>
                    </a:lnTo>
                    <a:lnTo>
                      <a:pt x="650562" y="363831"/>
                    </a:lnTo>
                    <a:lnTo>
                      <a:pt x="661110" y="396864"/>
                    </a:lnTo>
                    <a:lnTo>
                      <a:pt x="685805" y="422288"/>
                    </a:lnTo>
                    <a:lnTo>
                      <a:pt x="764386" y="458477"/>
                    </a:lnTo>
                    <a:lnTo>
                      <a:pt x="785319" y="502181"/>
                    </a:lnTo>
                    <a:cubicBezTo>
                      <a:pt x="784338" y="517770"/>
                      <a:pt x="783275" y="533358"/>
                      <a:pt x="782294" y="548947"/>
                    </a:cubicBezTo>
                    <a:lnTo>
                      <a:pt x="703712" y="631438"/>
                    </a:lnTo>
                    <a:lnTo>
                      <a:pt x="653178" y="700566"/>
                    </a:lnTo>
                    <a:lnTo>
                      <a:pt x="561923" y="750023"/>
                    </a:lnTo>
                    <a:cubicBezTo>
                      <a:pt x="562822" y="763664"/>
                      <a:pt x="563640" y="777397"/>
                      <a:pt x="564539" y="791037"/>
                    </a:cubicBezTo>
                    <a:lnTo>
                      <a:pt x="518503" y="829823"/>
                    </a:lnTo>
                    <a:lnTo>
                      <a:pt x="503866" y="850701"/>
                    </a:lnTo>
                    <a:lnTo>
                      <a:pt x="485958" y="902014"/>
                    </a:lnTo>
                    <a:lnTo>
                      <a:pt x="448099" y="954069"/>
                    </a:lnTo>
                    <a:lnTo>
                      <a:pt x="447576" y="954053"/>
                    </a:lnTo>
                    <a:lnTo>
                      <a:pt x="448011" y="952655"/>
                    </a:lnTo>
                    <a:cubicBezTo>
                      <a:pt x="448194" y="950923"/>
                      <a:pt x="448351" y="949220"/>
                      <a:pt x="454104" y="942844"/>
                    </a:cubicBezTo>
                    <a:lnTo>
                      <a:pt x="339457" y="897778"/>
                    </a:lnTo>
                    <a:cubicBezTo>
                      <a:pt x="325440" y="863703"/>
                      <a:pt x="330461" y="823253"/>
                      <a:pt x="316653" y="789178"/>
                    </a:cubicBezTo>
                    <a:cubicBezTo>
                      <a:pt x="311632" y="779725"/>
                      <a:pt x="287573" y="782583"/>
                      <a:pt x="282761" y="773130"/>
                    </a:cubicBezTo>
                    <a:cubicBezTo>
                      <a:pt x="286318" y="762798"/>
                      <a:pt x="258284" y="717292"/>
                      <a:pt x="261840" y="706959"/>
                    </a:cubicBezTo>
                    <a:cubicBezTo>
                      <a:pt x="252426" y="670906"/>
                      <a:pt x="245940" y="650901"/>
                      <a:pt x="236526" y="614848"/>
                    </a:cubicBezTo>
                    <a:cubicBezTo>
                      <a:pt x="237781" y="602757"/>
                      <a:pt x="217069" y="615947"/>
                      <a:pt x="218324" y="603856"/>
                    </a:cubicBezTo>
                    <a:cubicBezTo>
                      <a:pt x="218115" y="579894"/>
                      <a:pt x="189035" y="543401"/>
                      <a:pt x="188826" y="519439"/>
                    </a:cubicBezTo>
                    <a:cubicBezTo>
                      <a:pt x="183177" y="505809"/>
                      <a:pt x="177738" y="524275"/>
                      <a:pt x="171880" y="510645"/>
                    </a:cubicBezTo>
                    <a:lnTo>
                      <a:pt x="100748" y="475471"/>
                    </a:lnTo>
                    <a:cubicBezTo>
                      <a:pt x="86522" y="456565"/>
                      <a:pt x="59325" y="466458"/>
                      <a:pt x="45098" y="447552"/>
                    </a:cubicBezTo>
                    <a:lnTo>
                      <a:pt x="746" y="401826"/>
                    </a:lnTo>
                    <a:cubicBezTo>
                      <a:pt x="-2602" y="392373"/>
                      <a:pt x="6604" y="391933"/>
                      <a:pt x="3256" y="382480"/>
                    </a:cubicBezTo>
                    <a:lnTo>
                      <a:pt x="3256" y="345334"/>
                    </a:lnTo>
                    <a:lnTo>
                      <a:pt x="10628" y="345922"/>
                    </a:lnTo>
                    <a:lnTo>
                      <a:pt x="49223" y="375615"/>
                    </a:lnTo>
                    <a:lnTo>
                      <a:pt x="102374" y="363831"/>
                    </a:lnTo>
                    <a:lnTo>
                      <a:pt x="134919" y="345922"/>
                    </a:lnTo>
                    <a:lnTo>
                      <a:pt x="170489" y="357706"/>
                    </a:lnTo>
                    <a:lnTo>
                      <a:pt x="209002" y="350469"/>
                    </a:lnTo>
                    <a:lnTo>
                      <a:pt x="241956" y="375615"/>
                    </a:lnTo>
                    <a:lnTo>
                      <a:pt x="287584" y="363831"/>
                    </a:lnTo>
                    <a:lnTo>
                      <a:pt x="330595" y="321611"/>
                    </a:lnTo>
                    <a:lnTo>
                      <a:pt x="427165" y="136866"/>
                    </a:lnTo>
                    <a:lnTo>
                      <a:pt x="475819" y="71820"/>
                    </a:lnTo>
                    <a:lnTo>
                      <a:pt x="490456" y="35724"/>
                    </a:lnTo>
                    <a:lnTo>
                      <a:pt x="5083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: RR">
                <a:extLst>
                  <a:ext uri="{FF2B5EF4-FFF2-40B4-BE49-F238E27FC236}">
                    <a16:creationId xmlns:a16="http://schemas.microsoft.com/office/drawing/2014/main" id="{726BF0EC-34AD-8E37-148C-E62670D2DD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09464" y="140237"/>
                <a:ext cx="948701" cy="1108898"/>
              </a:xfrm>
              <a:custGeom>
                <a:avLst/>
                <a:gdLst>
                  <a:gd name="connsiteX0" fmla="*/ 727908 w 948492"/>
                  <a:gd name="connsiteY0" fmla="*/ 0 h 1152823"/>
                  <a:gd name="connsiteX1" fmla="*/ 754398 w 948492"/>
                  <a:gd name="connsiteY1" fmla="*/ 35736 h 1152823"/>
                  <a:gd name="connsiteX2" fmla="*/ 747019 w 948492"/>
                  <a:gd name="connsiteY2" fmla="*/ 107209 h 1152823"/>
                  <a:gd name="connsiteX3" fmla="*/ 775212 w 948492"/>
                  <a:gd name="connsiteY3" fmla="*/ 128497 h 1152823"/>
                  <a:gd name="connsiteX4" fmla="*/ 794606 w 948492"/>
                  <a:gd name="connsiteY4" fmla="*/ 135666 h 1152823"/>
                  <a:gd name="connsiteX5" fmla="*/ 814001 w 948492"/>
                  <a:gd name="connsiteY5" fmla="*/ 200300 h 1152823"/>
                  <a:gd name="connsiteX6" fmla="*/ 824975 w 948492"/>
                  <a:gd name="connsiteY6" fmla="*/ 233390 h 1152823"/>
                  <a:gd name="connsiteX7" fmla="*/ 775212 w 948492"/>
                  <a:gd name="connsiteY7" fmla="*/ 289972 h 1152823"/>
                  <a:gd name="connsiteX8" fmla="*/ 778050 w 948492"/>
                  <a:gd name="connsiteY8" fmla="*/ 348540 h 1152823"/>
                  <a:gd name="connsiteX9" fmla="*/ 761494 w 948492"/>
                  <a:gd name="connsiteY9" fmla="*/ 438212 h 1152823"/>
                  <a:gd name="connsiteX10" fmla="*/ 763954 w 948492"/>
                  <a:gd name="connsiteY10" fmla="*/ 469757 h 1152823"/>
                  <a:gd name="connsiteX11" fmla="*/ 797445 w 948492"/>
                  <a:gd name="connsiteY11" fmla="*/ 492148 h 1152823"/>
                  <a:gd name="connsiteX12" fmla="*/ 801702 w 948492"/>
                  <a:gd name="connsiteY12" fmla="*/ 559429 h 1152823"/>
                  <a:gd name="connsiteX13" fmla="*/ 897728 w 948492"/>
                  <a:gd name="connsiteY13" fmla="*/ 643476 h 1152823"/>
                  <a:gd name="connsiteX14" fmla="*/ 931219 w 948492"/>
                  <a:gd name="connsiteY14" fmla="*/ 667410 h 1152823"/>
                  <a:gd name="connsiteX15" fmla="*/ 948492 w 948492"/>
                  <a:gd name="connsiteY15" fmla="*/ 705696 h 1152823"/>
                  <a:gd name="connsiteX16" fmla="*/ 921909 w 948492"/>
                  <a:gd name="connsiteY16" fmla="*/ 709970 h 1152823"/>
                  <a:gd name="connsiteX17" fmla="*/ 936799 w 948492"/>
                  <a:gd name="connsiteY17" fmla="*/ 854206 h 1152823"/>
                  <a:gd name="connsiteX18" fmla="*/ 803863 w 948492"/>
                  <a:gd name="connsiteY18" fmla="*/ 862579 h 1152823"/>
                  <a:gd name="connsiteX19" fmla="*/ 755038 w 948492"/>
                  <a:gd name="connsiteY19" fmla="*/ 892320 h 1152823"/>
                  <a:gd name="connsiteX20" fmla="*/ 747571 w 948492"/>
                  <a:gd name="connsiteY20" fmla="*/ 929225 h 1152823"/>
                  <a:gd name="connsiteX21" fmla="*/ 707363 w 948492"/>
                  <a:gd name="connsiteY21" fmla="*/ 961788 h 1152823"/>
                  <a:gd name="connsiteX22" fmla="*/ 697023 w 948492"/>
                  <a:gd name="connsiteY22" fmla="*/ 1025394 h 1152823"/>
                  <a:gd name="connsiteX23" fmla="*/ 648199 w 948492"/>
                  <a:gd name="connsiteY23" fmla="*/ 1055134 h 1152823"/>
                  <a:gd name="connsiteX24" fmla="*/ 594492 w 948492"/>
                  <a:gd name="connsiteY24" fmla="*/ 1014756 h 1152823"/>
                  <a:gd name="connsiteX25" fmla="*/ 561751 w 948492"/>
                  <a:gd name="connsiteY25" fmla="*/ 999343 h 1152823"/>
                  <a:gd name="connsiteX26" fmla="*/ 505459 w 948492"/>
                  <a:gd name="connsiteY26" fmla="*/ 1033643 h 1152823"/>
                  <a:gd name="connsiteX27" fmla="*/ 483057 w 948492"/>
                  <a:gd name="connsiteY27" fmla="*/ 1133936 h 1152823"/>
                  <a:gd name="connsiteX28" fmla="*/ 457783 w 948492"/>
                  <a:gd name="connsiteY28" fmla="*/ 1152823 h 1152823"/>
                  <a:gd name="connsiteX29" fmla="*/ 326818 w 948492"/>
                  <a:gd name="connsiteY29" fmla="*/ 1041024 h 1152823"/>
                  <a:gd name="connsiteX30" fmla="*/ 333424 w 948492"/>
                  <a:gd name="connsiteY30" fmla="*/ 1033643 h 1152823"/>
                  <a:gd name="connsiteX31" fmla="*/ 348071 w 948492"/>
                  <a:gd name="connsiteY31" fmla="*/ 1022137 h 1152823"/>
                  <a:gd name="connsiteX32" fmla="*/ 351429 w 948492"/>
                  <a:gd name="connsiteY32" fmla="*/ 998871 h 1152823"/>
                  <a:gd name="connsiteX33" fmla="*/ 357615 w 948492"/>
                  <a:gd name="connsiteY33" fmla="*/ 995435 h 1152823"/>
                  <a:gd name="connsiteX34" fmla="*/ 351813 w 948492"/>
                  <a:gd name="connsiteY34" fmla="*/ 996212 h 1152823"/>
                  <a:gd name="connsiteX35" fmla="*/ 354964 w 948492"/>
                  <a:gd name="connsiteY35" fmla="*/ 974378 h 1152823"/>
                  <a:gd name="connsiteX36" fmla="*/ 329978 w 948492"/>
                  <a:gd name="connsiteY36" fmla="*/ 754254 h 1152823"/>
                  <a:gd name="connsiteX37" fmla="*/ 240945 w 948492"/>
                  <a:gd name="connsiteY37" fmla="*/ 578414 h 1152823"/>
                  <a:gd name="connsiteX38" fmla="*/ 206630 w 948492"/>
                  <a:gd name="connsiteY38" fmla="*/ 542551 h 1152823"/>
                  <a:gd name="connsiteX39" fmla="*/ 212252 w 948492"/>
                  <a:gd name="connsiteY39" fmla="*/ 536720 h 1152823"/>
                  <a:gd name="connsiteX40" fmla="*/ 126773 w 948492"/>
                  <a:gd name="connsiteY40" fmla="*/ 481559 h 1152823"/>
                  <a:gd name="connsiteX41" fmla="*/ 112961 w 948492"/>
                  <a:gd name="connsiteY41" fmla="*/ 438212 h 1152823"/>
                  <a:gd name="connsiteX42" fmla="*/ 96026 w 948492"/>
                  <a:gd name="connsiteY42" fmla="*/ 376997 h 1152823"/>
                  <a:gd name="connsiteX43" fmla="*/ 79754 w 948492"/>
                  <a:gd name="connsiteY43" fmla="*/ 341261 h 1152823"/>
                  <a:gd name="connsiteX44" fmla="*/ 84011 w 948492"/>
                  <a:gd name="connsiteY44" fmla="*/ 301774 h 1152823"/>
                  <a:gd name="connsiteX45" fmla="*/ 7095 w 948492"/>
                  <a:gd name="connsiteY45" fmla="*/ 215080 h 1152823"/>
                  <a:gd name="connsiteX46" fmla="*/ 0 w 948492"/>
                  <a:gd name="connsiteY46" fmla="*/ 200300 h 1152823"/>
                  <a:gd name="connsiteX47" fmla="*/ 19773 w 948492"/>
                  <a:gd name="connsiteY47" fmla="*/ 194565 h 1152823"/>
                  <a:gd name="connsiteX48" fmla="*/ 33491 w 948492"/>
                  <a:gd name="connsiteY48" fmla="*/ 204823 h 1152823"/>
                  <a:gd name="connsiteX49" fmla="*/ 90728 w 948492"/>
                  <a:gd name="connsiteY49" fmla="*/ 204823 h 1152823"/>
                  <a:gd name="connsiteX50" fmla="*/ 116840 w 948492"/>
                  <a:gd name="connsiteY50" fmla="*/ 240559 h 1152823"/>
                  <a:gd name="connsiteX51" fmla="*/ 193850 w 948492"/>
                  <a:gd name="connsiteY51" fmla="*/ 243647 h 1152823"/>
                  <a:gd name="connsiteX52" fmla="*/ 217123 w 948492"/>
                  <a:gd name="connsiteY52" fmla="*/ 225779 h 1152823"/>
                  <a:gd name="connsiteX53" fmla="*/ 294039 w 948492"/>
                  <a:gd name="connsiteY53" fmla="*/ 286994 h 1152823"/>
                  <a:gd name="connsiteX54" fmla="*/ 317313 w 948492"/>
                  <a:gd name="connsiteY54" fmla="*/ 269126 h 1152823"/>
                  <a:gd name="connsiteX55" fmla="*/ 313150 w 948492"/>
                  <a:gd name="connsiteY55" fmla="*/ 222691 h 1152823"/>
                  <a:gd name="connsiteX56" fmla="*/ 363576 w 948492"/>
                  <a:gd name="connsiteY56" fmla="*/ 197212 h 1152823"/>
                  <a:gd name="connsiteX57" fmla="*/ 379848 w 948492"/>
                  <a:gd name="connsiteY57" fmla="*/ 179013 h 1152823"/>
                  <a:gd name="connsiteX58" fmla="*/ 430368 w 948492"/>
                  <a:gd name="connsiteY58" fmla="*/ 194565 h 1152823"/>
                  <a:gd name="connsiteX59" fmla="*/ 491390 w 948492"/>
                  <a:gd name="connsiteY59" fmla="*/ 176366 h 1152823"/>
                  <a:gd name="connsiteX60" fmla="*/ 517880 w 948492"/>
                  <a:gd name="connsiteY60" fmla="*/ 151218 h 1152823"/>
                  <a:gd name="connsiteX61" fmla="*/ 560926 w 948492"/>
                  <a:gd name="connsiteY61" fmla="*/ 125408 h 1152823"/>
                  <a:gd name="connsiteX62" fmla="*/ 580321 w 948492"/>
                  <a:gd name="connsiteY62" fmla="*/ 128497 h 1152823"/>
                  <a:gd name="connsiteX63" fmla="*/ 667927 w 948492"/>
                  <a:gd name="connsiteY63" fmla="*/ 43347 h 1152823"/>
                  <a:gd name="connsiteX64" fmla="*/ 661210 w 948492"/>
                  <a:gd name="connsiteY64" fmla="*/ 10258 h 1152823"/>
                  <a:gd name="connsiteX65" fmla="*/ 727908 w 948492"/>
                  <a:gd name="connsiteY65" fmla="*/ 0 h 1152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948492" h="1152823">
                    <a:moveTo>
                      <a:pt x="727908" y="0"/>
                    </a:moveTo>
                    <a:lnTo>
                      <a:pt x="754398" y="35736"/>
                    </a:lnTo>
                    <a:lnTo>
                      <a:pt x="747019" y="107209"/>
                    </a:lnTo>
                    <a:lnTo>
                      <a:pt x="775212" y="128497"/>
                    </a:lnTo>
                    <a:lnTo>
                      <a:pt x="794606" y="135666"/>
                    </a:lnTo>
                    <a:lnTo>
                      <a:pt x="814001" y="200300"/>
                    </a:lnTo>
                    <a:cubicBezTo>
                      <a:pt x="817691" y="211330"/>
                      <a:pt x="821286" y="222360"/>
                      <a:pt x="824975" y="233390"/>
                    </a:cubicBezTo>
                    <a:lnTo>
                      <a:pt x="775212" y="289972"/>
                    </a:lnTo>
                    <a:lnTo>
                      <a:pt x="778050" y="348540"/>
                    </a:lnTo>
                    <a:cubicBezTo>
                      <a:pt x="772563" y="378431"/>
                      <a:pt x="766981" y="408321"/>
                      <a:pt x="761494" y="438212"/>
                    </a:cubicBezTo>
                    <a:cubicBezTo>
                      <a:pt x="762345" y="448690"/>
                      <a:pt x="763102" y="459279"/>
                      <a:pt x="763954" y="469757"/>
                    </a:cubicBezTo>
                    <a:lnTo>
                      <a:pt x="797445" y="492148"/>
                    </a:lnTo>
                    <a:cubicBezTo>
                      <a:pt x="798864" y="514538"/>
                      <a:pt x="800283" y="537039"/>
                      <a:pt x="801702" y="559429"/>
                    </a:cubicBezTo>
                    <a:lnTo>
                      <a:pt x="897728" y="643476"/>
                    </a:lnTo>
                    <a:lnTo>
                      <a:pt x="931219" y="667410"/>
                    </a:lnTo>
                    <a:lnTo>
                      <a:pt x="948492" y="705696"/>
                    </a:lnTo>
                    <a:lnTo>
                      <a:pt x="921909" y="709970"/>
                    </a:lnTo>
                    <a:lnTo>
                      <a:pt x="936799" y="854206"/>
                    </a:lnTo>
                    <a:lnTo>
                      <a:pt x="803863" y="862579"/>
                    </a:lnTo>
                    <a:lnTo>
                      <a:pt x="755038" y="892320"/>
                    </a:lnTo>
                    <a:cubicBezTo>
                      <a:pt x="752453" y="904694"/>
                      <a:pt x="750156" y="916851"/>
                      <a:pt x="747571" y="929225"/>
                    </a:cubicBezTo>
                    <a:lnTo>
                      <a:pt x="707363" y="961788"/>
                    </a:lnTo>
                    <a:cubicBezTo>
                      <a:pt x="703916" y="983062"/>
                      <a:pt x="700470" y="1004119"/>
                      <a:pt x="697023" y="1025394"/>
                    </a:cubicBezTo>
                    <a:lnTo>
                      <a:pt x="648199" y="1055134"/>
                    </a:lnTo>
                    <a:lnTo>
                      <a:pt x="594492" y="1014756"/>
                    </a:lnTo>
                    <a:lnTo>
                      <a:pt x="561751" y="999343"/>
                    </a:lnTo>
                    <a:lnTo>
                      <a:pt x="505459" y="1033643"/>
                    </a:lnTo>
                    <a:lnTo>
                      <a:pt x="483057" y="1133936"/>
                    </a:lnTo>
                    <a:cubicBezTo>
                      <a:pt x="474728" y="1140232"/>
                      <a:pt x="466112" y="1146527"/>
                      <a:pt x="457783" y="1152823"/>
                    </a:cubicBezTo>
                    <a:lnTo>
                      <a:pt x="326818" y="1041024"/>
                    </a:lnTo>
                    <a:cubicBezTo>
                      <a:pt x="329116" y="1038636"/>
                      <a:pt x="331127" y="1036031"/>
                      <a:pt x="333424" y="1033643"/>
                    </a:cubicBezTo>
                    <a:cubicBezTo>
                      <a:pt x="338307" y="1029735"/>
                      <a:pt x="343189" y="1026045"/>
                      <a:pt x="348071" y="1022137"/>
                    </a:cubicBezTo>
                    <a:lnTo>
                      <a:pt x="351429" y="998871"/>
                    </a:lnTo>
                    <a:lnTo>
                      <a:pt x="357615" y="995435"/>
                    </a:lnTo>
                    <a:lnTo>
                      <a:pt x="351813" y="996212"/>
                    </a:lnTo>
                    <a:lnTo>
                      <a:pt x="354964" y="974378"/>
                    </a:lnTo>
                    <a:lnTo>
                      <a:pt x="329978" y="754254"/>
                    </a:lnTo>
                    <a:lnTo>
                      <a:pt x="240945" y="578414"/>
                    </a:lnTo>
                    <a:lnTo>
                      <a:pt x="206630" y="542551"/>
                    </a:lnTo>
                    <a:lnTo>
                      <a:pt x="212252" y="536720"/>
                    </a:lnTo>
                    <a:cubicBezTo>
                      <a:pt x="268230" y="471186"/>
                      <a:pt x="129925" y="514090"/>
                      <a:pt x="126773" y="481559"/>
                    </a:cubicBezTo>
                    <a:cubicBezTo>
                      <a:pt x="122138" y="467110"/>
                      <a:pt x="117597" y="452661"/>
                      <a:pt x="112961" y="438212"/>
                    </a:cubicBezTo>
                    <a:cubicBezTo>
                      <a:pt x="107284" y="417807"/>
                      <a:pt x="101702" y="397402"/>
                      <a:pt x="96026" y="376997"/>
                    </a:cubicBezTo>
                    <a:cubicBezTo>
                      <a:pt x="90633" y="365085"/>
                      <a:pt x="85146" y="353173"/>
                      <a:pt x="79754" y="341261"/>
                    </a:cubicBezTo>
                    <a:cubicBezTo>
                      <a:pt x="81173" y="328135"/>
                      <a:pt x="82592" y="314899"/>
                      <a:pt x="84011" y="301774"/>
                    </a:cubicBezTo>
                    <a:lnTo>
                      <a:pt x="7095" y="215080"/>
                    </a:lnTo>
                    <a:cubicBezTo>
                      <a:pt x="4730" y="210117"/>
                      <a:pt x="2365" y="205264"/>
                      <a:pt x="0" y="200300"/>
                    </a:cubicBezTo>
                    <a:lnTo>
                      <a:pt x="19773" y="194565"/>
                    </a:lnTo>
                    <a:lnTo>
                      <a:pt x="33491" y="204823"/>
                    </a:lnTo>
                    <a:lnTo>
                      <a:pt x="90728" y="204823"/>
                    </a:lnTo>
                    <a:lnTo>
                      <a:pt x="116840" y="240559"/>
                    </a:lnTo>
                    <a:lnTo>
                      <a:pt x="193850" y="243647"/>
                    </a:lnTo>
                    <a:lnTo>
                      <a:pt x="217123" y="225779"/>
                    </a:lnTo>
                    <a:lnTo>
                      <a:pt x="294039" y="286994"/>
                    </a:lnTo>
                    <a:lnTo>
                      <a:pt x="317313" y="269126"/>
                    </a:lnTo>
                    <a:cubicBezTo>
                      <a:pt x="315893" y="253684"/>
                      <a:pt x="314569" y="238132"/>
                      <a:pt x="313150" y="222691"/>
                    </a:cubicBezTo>
                    <a:lnTo>
                      <a:pt x="363576" y="197212"/>
                    </a:lnTo>
                    <a:lnTo>
                      <a:pt x="379848" y="179013"/>
                    </a:lnTo>
                    <a:lnTo>
                      <a:pt x="430368" y="194565"/>
                    </a:lnTo>
                    <a:lnTo>
                      <a:pt x="491390" y="176366"/>
                    </a:lnTo>
                    <a:lnTo>
                      <a:pt x="517880" y="151218"/>
                    </a:lnTo>
                    <a:lnTo>
                      <a:pt x="560926" y="125408"/>
                    </a:lnTo>
                    <a:lnTo>
                      <a:pt x="580321" y="128497"/>
                    </a:lnTo>
                    <a:lnTo>
                      <a:pt x="667927" y="43347"/>
                    </a:lnTo>
                    <a:cubicBezTo>
                      <a:pt x="665657" y="32317"/>
                      <a:pt x="663481" y="21287"/>
                      <a:pt x="661210" y="10258"/>
                    </a:cubicBezTo>
                    <a:lnTo>
                      <a:pt x="72790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: CE">
                <a:hlinkClick r:id="" action="ppaction://noaction"/>
                <a:extLst>
                  <a:ext uri="{FF2B5EF4-FFF2-40B4-BE49-F238E27FC236}">
                    <a16:creationId xmlns:a16="http://schemas.microsoft.com/office/drawing/2014/main" id="{2BA8614E-BA5F-74D7-5B43-BD6429D71A59}"/>
                  </a:ext>
                </a:extLst>
              </p:cNvPr>
              <p:cNvSpPr/>
              <p:nvPr/>
            </p:nvSpPr>
            <p:spPr>
              <a:xfrm>
                <a:off x="7616311" y="1500812"/>
                <a:ext cx="670898" cy="837904"/>
              </a:xfrm>
              <a:custGeom>
                <a:avLst/>
                <a:gdLst>
                  <a:gd name="connsiteX0" fmla="*/ 215869 w 670750"/>
                  <a:gd name="connsiteY0" fmla="*/ 0 h 871095"/>
                  <a:gd name="connsiteX1" fmla="*/ 263494 w 670750"/>
                  <a:gd name="connsiteY1" fmla="*/ 15875 h 871095"/>
                  <a:gd name="connsiteX2" fmla="*/ 298419 w 670750"/>
                  <a:gd name="connsiteY2" fmla="*/ 38100 h 871095"/>
                  <a:gd name="connsiteX3" fmla="*/ 498444 w 670750"/>
                  <a:gd name="connsiteY3" fmla="*/ 158750 h 871095"/>
                  <a:gd name="connsiteX4" fmla="*/ 619094 w 670750"/>
                  <a:gd name="connsiteY4" fmla="*/ 285750 h 871095"/>
                  <a:gd name="connsiteX5" fmla="*/ 657194 w 670750"/>
                  <a:gd name="connsiteY5" fmla="*/ 333375 h 871095"/>
                  <a:gd name="connsiteX6" fmla="*/ 670750 w 670750"/>
                  <a:gd name="connsiteY6" fmla="*/ 337894 h 871095"/>
                  <a:gd name="connsiteX7" fmla="*/ 637745 w 670750"/>
                  <a:gd name="connsiteY7" fmla="*/ 373414 h 871095"/>
                  <a:gd name="connsiteX8" fmla="*/ 535351 w 670750"/>
                  <a:gd name="connsiteY8" fmla="*/ 580582 h 871095"/>
                  <a:gd name="connsiteX9" fmla="*/ 485345 w 670750"/>
                  <a:gd name="connsiteY9" fmla="*/ 606776 h 871095"/>
                  <a:gd name="connsiteX10" fmla="*/ 473438 w 670750"/>
                  <a:gd name="connsiteY10" fmla="*/ 654401 h 871095"/>
                  <a:gd name="connsiteX11" fmla="*/ 473438 w 670750"/>
                  <a:gd name="connsiteY11" fmla="*/ 694882 h 871095"/>
                  <a:gd name="connsiteX12" fmla="*/ 454388 w 670750"/>
                  <a:gd name="connsiteY12" fmla="*/ 728220 h 871095"/>
                  <a:gd name="connsiteX13" fmla="*/ 494870 w 670750"/>
                  <a:gd name="connsiteY13" fmla="*/ 797276 h 871095"/>
                  <a:gd name="connsiteX14" fmla="*/ 418670 w 670750"/>
                  <a:gd name="connsiteY14" fmla="*/ 871095 h 871095"/>
                  <a:gd name="connsiteX15" fmla="*/ 356757 w 670750"/>
                  <a:gd name="connsiteY15" fmla="*/ 818707 h 871095"/>
                  <a:gd name="connsiteX16" fmla="*/ 273413 w 670750"/>
                  <a:gd name="connsiteY16" fmla="*/ 775845 h 871095"/>
                  <a:gd name="connsiteX17" fmla="*/ 170820 w 670750"/>
                  <a:gd name="connsiteY17" fmla="*/ 780719 h 871095"/>
                  <a:gd name="connsiteX18" fmla="*/ 188799 w 670750"/>
                  <a:gd name="connsiteY18" fmla="*/ 728393 h 871095"/>
                  <a:gd name="connsiteX19" fmla="*/ 135229 w 670750"/>
                  <a:gd name="connsiteY19" fmla="*/ 647952 h 871095"/>
                  <a:gd name="connsiteX20" fmla="*/ 104149 w 670750"/>
                  <a:gd name="connsiteY20" fmla="*/ 439320 h 871095"/>
                  <a:gd name="connsiteX21" fmla="*/ 84846 w 670750"/>
                  <a:gd name="connsiteY21" fmla="*/ 361185 h 871095"/>
                  <a:gd name="connsiteX22" fmla="*/ 94320 w 670750"/>
                  <a:gd name="connsiteY22" fmla="*/ 337039 h 871095"/>
                  <a:gd name="connsiteX23" fmla="*/ 96977 w 670750"/>
                  <a:gd name="connsiteY23" fmla="*/ 266229 h 871095"/>
                  <a:gd name="connsiteX24" fmla="*/ 46682 w 670750"/>
                  <a:gd name="connsiteY24" fmla="*/ 152553 h 871095"/>
                  <a:gd name="connsiteX25" fmla="*/ 36765 w 670750"/>
                  <a:gd name="connsiteY25" fmla="*/ 134511 h 871095"/>
                  <a:gd name="connsiteX26" fmla="*/ 51375 w 670750"/>
                  <a:gd name="connsiteY26" fmla="*/ 90289 h 871095"/>
                  <a:gd name="connsiteX27" fmla="*/ 67756 w 670750"/>
                  <a:gd name="connsiteY27" fmla="*/ 55291 h 871095"/>
                  <a:gd name="connsiteX28" fmla="*/ 17639 w 670750"/>
                  <a:gd name="connsiteY28" fmla="*/ 30331 h 871095"/>
                  <a:gd name="connsiteX29" fmla="*/ 0 w 670750"/>
                  <a:gd name="connsiteY29" fmla="*/ 20978 h 871095"/>
                  <a:gd name="connsiteX30" fmla="*/ 9494 w 670750"/>
                  <a:gd name="connsiteY30" fmla="*/ 15875 h 871095"/>
                  <a:gd name="connsiteX31" fmla="*/ 72994 w 670750"/>
                  <a:gd name="connsiteY31" fmla="*/ 19050 h 871095"/>
                  <a:gd name="connsiteX32" fmla="*/ 215869 w 670750"/>
                  <a:gd name="connsiteY32" fmla="*/ 0 h 871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70750" h="871095">
                    <a:moveTo>
                      <a:pt x="215869" y="0"/>
                    </a:moveTo>
                    <a:lnTo>
                      <a:pt x="263494" y="15875"/>
                    </a:lnTo>
                    <a:lnTo>
                      <a:pt x="298419" y="38100"/>
                    </a:lnTo>
                    <a:lnTo>
                      <a:pt x="498444" y="158750"/>
                    </a:lnTo>
                    <a:lnTo>
                      <a:pt x="619094" y="285750"/>
                    </a:lnTo>
                    <a:lnTo>
                      <a:pt x="657194" y="333375"/>
                    </a:lnTo>
                    <a:lnTo>
                      <a:pt x="670750" y="337894"/>
                    </a:lnTo>
                    <a:lnTo>
                      <a:pt x="637745" y="373414"/>
                    </a:lnTo>
                    <a:lnTo>
                      <a:pt x="535351" y="580582"/>
                    </a:lnTo>
                    <a:lnTo>
                      <a:pt x="485345" y="606776"/>
                    </a:lnTo>
                    <a:lnTo>
                      <a:pt x="473438" y="654401"/>
                    </a:lnTo>
                    <a:lnTo>
                      <a:pt x="473438" y="694882"/>
                    </a:lnTo>
                    <a:lnTo>
                      <a:pt x="454388" y="728220"/>
                    </a:lnTo>
                    <a:lnTo>
                      <a:pt x="494870" y="797276"/>
                    </a:lnTo>
                    <a:lnTo>
                      <a:pt x="418670" y="871095"/>
                    </a:lnTo>
                    <a:lnTo>
                      <a:pt x="356757" y="818707"/>
                    </a:lnTo>
                    <a:lnTo>
                      <a:pt x="273413" y="775845"/>
                    </a:lnTo>
                    <a:lnTo>
                      <a:pt x="170820" y="780719"/>
                    </a:lnTo>
                    <a:lnTo>
                      <a:pt x="188799" y="728393"/>
                    </a:lnTo>
                    <a:lnTo>
                      <a:pt x="135229" y="647952"/>
                    </a:lnTo>
                    <a:lnTo>
                      <a:pt x="104149" y="439320"/>
                    </a:lnTo>
                    <a:cubicBezTo>
                      <a:pt x="100076" y="405271"/>
                      <a:pt x="88919" y="395233"/>
                      <a:pt x="84846" y="361185"/>
                    </a:cubicBezTo>
                    <a:cubicBezTo>
                      <a:pt x="82455" y="349112"/>
                      <a:pt x="96711" y="349112"/>
                      <a:pt x="94320" y="337039"/>
                    </a:cubicBezTo>
                    <a:lnTo>
                      <a:pt x="96977" y="266229"/>
                    </a:lnTo>
                    <a:lnTo>
                      <a:pt x="46682" y="152553"/>
                    </a:lnTo>
                    <a:lnTo>
                      <a:pt x="36765" y="134511"/>
                    </a:lnTo>
                    <a:lnTo>
                      <a:pt x="51375" y="90289"/>
                    </a:lnTo>
                    <a:cubicBezTo>
                      <a:pt x="56068" y="74689"/>
                      <a:pt x="63063" y="70891"/>
                      <a:pt x="67756" y="55291"/>
                    </a:cubicBezTo>
                    <a:lnTo>
                      <a:pt x="17639" y="30331"/>
                    </a:lnTo>
                    <a:lnTo>
                      <a:pt x="0" y="20978"/>
                    </a:lnTo>
                    <a:lnTo>
                      <a:pt x="9494" y="15875"/>
                    </a:lnTo>
                    <a:lnTo>
                      <a:pt x="72994" y="19050"/>
                    </a:lnTo>
                    <a:lnTo>
                      <a:pt x="215869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: RN">
                <a:extLst>
                  <a:ext uri="{FF2B5EF4-FFF2-40B4-BE49-F238E27FC236}">
                    <a16:creationId xmlns:a16="http://schemas.microsoft.com/office/drawing/2014/main" id="{FF3D048F-3B86-2F38-AA24-EDC94EB1AAD5}"/>
                  </a:ext>
                </a:extLst>
              </p:cNvPr>
              <p:cNvSpPr/>
              <p:nvPr/>
            </p:nvSpPr>
            <p:spPr>
              <a:xfrm>
                <a:off x="8094594" y="1825832"/>
                <a:ext cx="586569" cy="375452"/>
              </a:xfrm>
              <a:custGeom>
                <a:avLst/>
                <a:gdLst>
                  <a:gd name="connsiteX0" fmla="*/ 192573 w 586439"/>
                  <a:gd name="connsiteY0" fmla="*/ 0 h 390324"/>
                  <a:gd name="connsiteX1" fmla="*/ 207592 w 586439"/>
                  <a:gd name="connsiteY1" fmla="*/ 5006 h 390324"/>
                  <a:gd name="connsiteX2" fmla="*/ 229817 w 586439"/>
                  <a:gd name="connsiteY2" fmla="*/ 33581 h 390324"/>
                  <a:gd name="connsiteX3" fmla="*/ 299667 w 586439"/>
                  <a:gd name="connsiteY3" fmla="*/ 46281 h 390324"/>
                  <a:gd name="connsiteX4" fmla="*/ 331417 w 586439"/>
                  <a:gd name="connsiteY4" fmla="*/ 65331 h 390324"/>
                  <a:gd name="connsiteX5" fmla="*/ 398092 w 586439"/>
                  <a:gd name="connsiteY5" fmla="*/ 65331 h 390324"/>
                  <a:gd name="connsiteX6" fmla="*/ 458417 w 586439"/>
                  <a:gd name="connsiteY6" fmla="*/ 52631 h 390324"/>
                  <a:gd name="connsiteX7" fmla="*/ 515567 w 586439"/>
                  <a:gd name="connsiteY7" fmla="*/ 71681 h 390324"/>
                  <a:gd name="connsiteX8" fmla="*/ 556842 w 586439"/>
                  <a:gd name="connsiteY8" fmla="*/ 198681 h 390324"/>
                  <a:gd name="connsiteX9" fmla="*/ 586439 w 586439"/>
                  <a:gd name="connsiteY9" fmla="*/ 298857 h 390324"/>
                  <a:gd name="connsiteX10" fmla="*/ 552473 w 586439"/>
                  <a:gd name="connsiteY10" fmla="*/ 326030 h 390324"/>
                  <a:gd name="connsiteX11" fmla="*/ 438173 w 586439"/>
                  <a:gd name="connsiteY11" fmla="*/ 309361 h 390324"/>
                  <a:gd name="connsiteX12" fmla="*/ 364354 w 586439"/>
                  <a:gd name="connsiteY12" fmla="*/ 287930 h 390324"/>
                  <a:gd name="connsiteX13" fmla="*/ 338160 w 586439"/>
                  <a:gd name="connsiteY13" fmla="*/ 283168 h 390324"/>
                  <a:gd name="connsiteX14" fmla="*/ 319110 w 586439"/>
                  <a:gd name="connsiteY14" fmla="*/ 368893 h 390324"/>
                  <a:gd name="connsiteX15" fmla="*/ 285773 w 586439"/>
                  <a:gd name="connsiteY15" fmla="*/ 390324 h 390324"/>
                  <a:gd name="connsiteX16" fmla="*/ 273867 w 586439"/>
                  <a:gd name="connsiteY16" fmla="*/ 345080 h 390324"/>
                  <a:gd name="connsiteX17" fmla="*/ 219098 w 586439"/>
                  <a:gd name="connsiteY17" fmla="*/ 359368 h 390324"/>
                  <a:gd name="connsiteX18" fmla="*/ 188142 w 586439"/>
                  <a:gd name="connsiteY18" fmla="*/ 326030 h 390324"/>
                  <a:gd name="connsiteX19" fmla="*/ 216717 w 586439"/>
                  <a:gd name="connsiteY19" fmla="*/ 256974 h 390324"/>
                  <a:gd name="connsiteX20" fmla="*/ 219098 w 586439"/>
                  <a:gd name="connsiteY20" fmla="*/ 237924 h 390324"/>
                  <a:gd name="connsiteX21" fmla="*/ 61935 w 586439"/>
                  <a:gd name="connsiteY21" fmla="*/ 323649 h 390324"/>
                  <a:gd name="connsiteX22" fmla="*/ 0 w 586439"/>
                  <a:gd name="connsiteY22" fmla="*/ 297553 h 390324"/>
                  <a:gd name="connsiteX23" fmla="*/ 7168 w 586439"/>
                  <a:gd name="connsiteY23" fmla="*/ 268882 h 390324"/>
                  <a:gd name="connsiteX24" fmla="*/ 57174 w 586439"/>
                  <a:gd name="connsiteY24" fmla="*/ 242688 h 390324"/>
                  <a:gd name="connsiteX25" fmla="*/ 159568 w 586439"/>
                  <a:gd name="connsiteY25" fmla="*/ 35520 h 390324"/>
                  <a:gd name="connsiteX26" fmla="*/ 192573 w 586439"/>
                  <a:gd name="connsiteY26" fmla="*/ 0 h 390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86439" h="390324">
                    <a:moveTo>
                      <a:pt x="192573" y="0"/>
                    </a:moveTo>
                    <a:lnTo>
                      <a:pt x="207592" y="5006"/>
                    </a:lnTo>
                    <a:lnTo>
                      <a:pt x="229817" y="33581"/>
                    </a:lnTo>
                    <a:lnTo>
                      <a:pt x="299667" y="46281"/>
                    </a:lnTo>
                    <a:lnTo>
                      <a:pt x="331417" y="65331"/>
                    </a:lnTo>
                    <a:lnTo>
                      <a:pt x="398092" y="65331"/>
                    </a:lnTo>
                    <a:lnTo>
                      <a:pt x="458417" y="52631"/>
                    </a:lnTo>
                    <a:lnTo>
                      <a:pt x="515567" y="71681"/>
                    </a:lnTo>
                    <a:lnTo>
                      <a:pt x="556842" y="198681"/>
                    </a:lnTo>
                    <a:lnTo>
                      <a:pt x="586439" y="298857"/>
                    </a:lnTo>
                    <a:lnTo>
                      <a:pt x="552473" y="326030"/>
                    </a:lnTo>
                    <a:lnTo>
                      <a:pt x="438173" y="309361"/>
                    </a:lnTo>
                    <a:lnTo>
                      <a:pt x="364354" y="287930"/>
                    </a:lnTo>
                    <a:lnTo>
                      <a:pt x="338160" y="283168"/>
                    </a:lnTo>
                    <a:lnTo>
                      <a:pt x="319110" y="368893"/>
                    </a:lnTo>
                    <a:lnTo>
                      <a:pt x="285773" y="390324"/>
                    </a:lnTo>
                    <a:lnTo>
                      <a:pt x="273867" y="345080"/>
                    </a:lnTo>
                    <a:lnTo>
                      <a:pt x="219098" y="359368"/>
                    </a:lnTo>
                    <a:lnTo>
                      <a:pt x="188142" y="326030"/>
                    </a:lnTo>
                    <a:lnTo>
                      <a:pt x="216717" y="256974"/>
                    </a:lnTo>
                    <a:lnTo>
                      <a:pt x="219098" y="237924"/>
                    </a:lnTo>
                    <a:lnTo>
                      <a:pt x="61935" y="323649"/>
                    </a:lnTo>
                    <a:lnTo>
                      <a:pt x="0" y="297553"/>
                    </a:lnTo>
                    <a:lnTo>
                      <a:pt x="7168" y="268882"/>
                    </a:lnTo>
                    <a:lnTo>
                      <a:pt x="57174" y="242688"/>
                    </a:lnTo>
                    <a:lnTo>
                      <a:pt x="159568" y="35520"/>
                    </a:lnTo>
                    <a:lnTo>
                      <a:pt x="19257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: SE">
                <a:hlinkClick r:id="" action="ppaction://noaction"/>
                <a:extLst>
                  <a:ext uri="{FF2B5EF4-FFF2-40B4-BE49-F238E27FC236}">
                    <a16:creationId xmlns:a16="http://schemas.microsoft.com/office/drawing/2014/main" id="{D9C2BB9B-428B-71D6-897D-EAE8C4414872}"/>
                  </a:ext>
                </a:extLst>
              </p:cNvPr>
              <p:cNvSpPr/>
              <p:nvPr/>
            </p:nvSpPr>
            <p:spPr>
              <a:xfrm>
                <a:off x="8163512" y="2623092"/>
                <a:ext cx="289579" cy="332011"/>
              </a:xfrm>
              <a:custGeom>
                <a:avLst/>
                <a:gdLst>
                  <a:gd name="connsiteX0" fmla="*/ 25367 w 289515"/>
                  <a:gd name="connsiteY0" fmla="*/ 0 h 345163"/>
                  <a:gd name="connsiteX1" fmla="*/ 245781 w 289515"/>
                  <a:gd name="connsiteY1" fmla="*/ 110998 h 345163"/>
                  <a:gd name="connsiteX2" fmla="*/ 288029 w 289515"/>
                  <a:gd name="connsiteY2" fmla="*/ 139642 h 345163"/>
                  <a:gd name="connsiteX3" fmla="*/ 289515 w 289515"/>
                  <a:gd name="connsiteY3" fmla="*/ 140884 h 345163"/>
                  <a:gd name="connsiteX4" fmla="*/ 266202 w 289515"/>
                  <a:gd name="connsiteY4" fmla="*/ 166278 h 345163"/>
                  <a:gd name="connsiteX5" fmla="*/ 170952 w 289515"/>
                  <a:gd name="connsiteY5" fmla="*/ 236128 h 345163"/>
                  <a:gd name="connsiteX6" fmla="*/ 116233 w 289515"/>
                  <a:gd name="connsiteY6" fmla="*/ 333406 h 345163"/>
                  <a:gd name="connsiteX7" fmla="*/ 69336 w 289515"/>
                  <a:gd name="connsiteY7" fmla="*/ 345163 h 345163"/>
                  <a:gd name="connsiteX8" fmla="*/ 42938 w 289515"/>
                  <a:gd name="connsiteY8" fmla="*/ 335508 h 345163"/>
                  <a:gd name="connsiteX9" fmla="*/ 0 w 289515"/>
                  <a:gd name="connsiteY9" fmla="*/ 223633 h 345163"/>
                  <a:gd name="connsiteX10" fmla="*/ 56058 w 289515"/>
                  <a:gd name="connsiteY10" fmla="*/ 216186 h 345163"/>
                  <a:gd name="connsiteX11" fmla="*/ 78571 w 289515"/>
                  <a:gd name="connsiteY11" fmla="*/ 116954 h 345163"/>
                  <a:gd name="connsiteX12" fmla="*/ 60531 w 289515"/>
                  <a:gd name="connsiteY12" fmla="*/ 85781 h 345163"/>
                  <a:gd name="connsiteX13" fmla="*/ 16745 w 289515"/>
                  <a:gd name="connsiteY13" fmla="*/ 41014 h 345163"/>
                  <a:gd name="connsiteX14" fmla="*/ 19426 w 289515"/>
                  <a:gd name="connsiteY14" fmla="*/ 16682 h 345163"/>
                  <a:gd name="connsiteX15" fmla="*/ 20822 w 289515"/>
                  <a:gd name="connsiteY15" fmla="*/ 4016 h 345163"/>
                  <a:gd name="connsiteX16" fmla="*/ 25367 w 289515"/>
                  <a:gd name="connsiteY16" fmla="*/ 0 h 34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9515" h="345163">
                    <a:moveTo>
                      <a:pt x="25367" y="0"/>
                    </a:moveTo>
                    <a:lnTo>
                      <a:pt x="245781" y="110998"/>
                    </a:lnTo>
                    <a:lnTo>
                      <a:pt x="288029" y="139642"/>
                    </a:lnTo>
                    <a:lnTo>
                      <a:pt x="289515" y="140884"/>
                    </a:lnTo>
                    <a:lnTo>
                      <a:pt x="266202" y="166278"/>
                    </a:lnTo>
                    <a:lnTo>
                      <a:pt x="170952" y="236128"/>
                    </a:lnTo>
                    <a:lnTo>
                      <a:pt x="116233" y="333406"/>
                    </a:lnTo>
                    <a:lnTo>
                      <a:pt x="69336" y="345163"/>
                    </a:lnTo>
                    <a:lnTo>
                      <a:pt x="42938" y="335508"/>
                    </a:lnTo>
                    <a:lnTo>
                      <a:pt x="0" y="223633"/>
                    </a:lnTo>
                    <a:lnTo>
                      <a:pt x="56058" y="216186"/>
                    </a:lnTo>
                    <a:cubicBezTo>
                      <a:pt x="63513" y="183109"/>
                      <a:pt x="71116" y="150031"/>
                      <a:pt x="78571" y="116954"/>
                    </a:cubicBezTo>
                    <a:cubicBezTo>
                      <a:pt x="72607" y="106563"/>
                      <a:pt x="66494" y="96172"/>
                      <a:pt x="60531" y="85781"/>
                    </a:cubicBezTo>
                    <a:cubicBezTo>
                      <a:pt x="54716" y="66038"/>
                      <a:pt x="22560" y="60757"/>
                      <a:pt x="16745" y="41014"/>
                    </a:cubicBezTo>
                    <a:cubicBezTo>
                      <a:pt x="17267" y="36079"/>
                      <a:pt x="18347" y="26380"/>
                      <a:pt x="19426" y="16682"/>
                    </a:cubicBezTo>
                    <a:lnTo>
                      <a:pt x="20822" y="4016"/>
                    </a:lnTo>
                    <a:lnTo>
                      <a:pt x="25367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: PB">
                <a:extLst>
                  <a:ext uri="{FF2B5EF4-FFF2-40B4-BE49-F238E27FC236}">
                    <a16:creationId xmlns:a16="http://schemas.microsoft.com/office/drawing/2014/main" id="{E5A8C8DA-2351-F5F1-C4AB-1C83E1E7A17F}"/>
                  </a:ext>
                </a:extLst>
              </p:cNvPr>
              <p:cNvSpPr/>
              <p:nvPr/>
            </p:nvSpPr>
            <p:spPr>
              <a:xfrm>
                <a:off x="8070800" y="2054691"/>
                <a:ext cx="637922" cy="352740"/>
              </a:xfrm>
              <a:custGeom>
                <a:avLst/>
                <a:gdLst>
                  <a:gd name="connsiteX0" fmla="*/ 242887 w 637781"/>
                  <a:gd name="connsiteY0" fmla="*/ 0 h 366713"/>
                  <a:gd name="connsiteX1" fmla="*/ 240506 w 637781"/>
                  <a:gd name="connsiteY1" fmla="*/ 19050 h 366713"/>
                  <a:gd name="connsiteX2" fmla="*/ 211931 w 637781"/>
                  <a:gd name="connsiteY2" fmla="*/ 88106 h 366713"/>
                  <a:gd name="connsiteX3" fmla="*/ 242887 w 637781"/>
                  <a:gd name="connsiteY3" fmla="*/ 121444 h 366713"/>
                  <a:gd name="connsiteX4" fmla="*/ 297656 w 637781"/>
                  <a:gd name="connsiteY4" fmla="*/ 107156 h 366713"/>
                  <a:gd name="connsiteX5" fmla="*/ 309562 w 637781"/>
                  <a:gd name="connsiteY5" fmla="*/ 152400 h 366713"/>
                  <a:gd name="connsiteX6" fmla="*/ 342899 w 637781"/>
                  <a:gd name="connsiteY6" fmla="*/ 130969 h 366713"/>
                  <a:gd name="connsiteX7" fmla="*/ 361949 w 637781"/>
                  <a:gd name="connsiteY7" fmla="*/ 45244 h 366713"/>
                  <a:gd name="connsiteX8" fmla="*/ 388143 w 637781"/>
                  <a:gd name="connsiteY8" fmla="*/ 50006 h 366713"/>
                  <a:gd name="connsiteX9" fmla="*/ 461962 w 637781"/>
                  <a:gd name="connsiteY9" fmla="*/ 71437 h 366713"/>
                  <a:gd name="connsiteX10" fmla="*/ 576262 w 637781"/>
                  <a:gd name="connsiteY10" fmla="*/ 88106 h 366713"/>
                  <a:gd name="connsiteX11" fmla="*/ 610228 w 637781"/>
                  <a:gd name="connsiteY11" fmla="*/ 60933 h 366713"/>
                  <a:gd name="connsiteX12" fmla="*/ 621906 w 637781"/>
                  <a:gd name="connsiteY12" fmla="*/ 100457 h 366713"/>
                  <a:gd name="connsiteX13" fmla="*/ 637781 w 637781"/>
                  <a:gd name="connsiteY13" fmla="*/ 167132 h 366713"/>
                  <a:gd name="connsiteX14" fmla="*/ 637781 w 637781"/>
                  <a:gd name="connsiteY14" fmla="*/ 249682 h 366713"/>
                  <a:gd name="connsiteX15" fmla="*/ 637109 w 637781"/>
                  <a:gd name="connsiteY15" fmla="*/ 254388 h 366713"/>
                  <a:gd name="connsiteX16" fmla="*/ 588170 w 637781"/>
                  <a:gd name="connsiteY16" fmla="*/ 230982 h 366713"/>
                  <a:gd name="connsiteX17" fmla="*/ 538164 w 637781"/>
                  <a:gd name="connsiteY17" fmla="*/ 211932 h 366713"/>
                  <a:gd name="connsiteX18" fmla="*/ 497683 w 637781"/>
                  <a:gd name="connsiteY18" fmla="*/ 240507 h 366713"/>
                  <a:gd name="connsiteX19" fmla="*/ 469108 w 637781"/>
                  <a:gd name="connsiteY19" fmla="*/ 285751 h 366713"/>
                  <a:gd name="connsiteX20" fmla="*/ 411958 w 637781"/>
                  <a:gd name="connsiteY20" fmla="*/ 280988 h 366713"/>
                  <a:gd name="connsiteX21" fmla="*/ 354808 w 637781"/>
                  <a:gd name="connsiteY21" fmla="*/ 295276 h 366713"/>
                  <a:gd name="connsiteX22" fmla="*/ 338139 w 637781"/>
                  <a:gd name="connsiteY22" fmla="*/ 326232 h 366713"/>
                  <a:gd name="connsiteX23" fmla="*/ 309564 w 637781"/>
                  <a:gd name="connsiteY23" fmla="*/ 361951 h 366713"/>
                  <a:gd name="connsiteX24" fmla="*/ 266701 w 637781"/>
                  <a:gd name="connsiteY24" fmla="*/ 366713 h 366713"/>
                  <a:gd name="connsiteX25" fmla="*/ 250033 w 637781"/>
                  <a:gd name="connsiteY25" fmla="*/ 338138 h 366713"/>
                  <a:gd name="connsiteX26" fmla="*/ 219076 w 637781"/>
                  <a:gd name="connsiteY26" fmla="*/ 323851 h 366713"/>
                  <a:gd name="connsiteX27" fmla="*/ 254795 w 637781"/>
                  <a:gd name="connsiteY27" fmla="*/ 297657 h 366713"/>
                  <a:gd name="connsiteX28" fmla="*/ 252414 w 637781"/>
                  <a:gd name="connsiteY28" fmla="*/ 261938 h 366713"/>
                  <a:gd name="connsiteX29" fmla="*/ 273845 w 637781"/>
                  <a:gd name="connsiteY29" fmla="*/ 221457 h 366713"/>
                  <a:gd name="connsiteX30" fmla="*/ 233364 w 637781"/>
                  <a:gd name="connsiteY30" fmla="*/ 202407 h 366713"/>
                  <a:gd name="connsiteX31" fmla="*/ 92870 w 637781"/>
                  <a:gd name="connsiteY31" fmla="*/ 292895 h 366713"/>
                  <a:gd name="connsiteX32" fmla="*/ 69058 w 637781"/>
                  <a:gd name="connsiteY32" fmla="*/ 278607 h 366713"/>
                  <a:gd name="connsiteX33" fmla="*/ 5155 w 637781"/>
                  <a:gd name="connsiteY33" fmla="*/ 255682 h 366713"/>
                  <a:gd name="connsiteX34" fmla="*/ 40482 w 637781"/>
                  <a:gd name="connsiteY34" fmla="*/ 221458 h 366713"/>
                  <a:gd name="connsiteX35" fmla="*/ 0 w 637781"/>
                  <a:gd name="connsiteY35" fmla="*/ 152402 h 366713"/>
                  <a:gd name="connsiteX36" fmla="*/ 19050 w 637781"/>
                  <a:gd name="connsiteY36" fmla="*/ 119064 h 366713"/>
                  <a:gd name="connsiteX37" fmla="*/ 19050 w 637781"/>
                  <a:gd name="connsiteY37" fmla="*/ 78583 h 366713"/>
                  <a:gd name="connsiteX38" fmla="*/ 23789 w 637781"/>
                  <a:gd name="connsiteY38" fmla="*/ 59629 h 366713"/>
                  <a:gd name="connsiteX39" fmla="*/ 85724 w 637781"/>
                  <a:gd name="connsiteY39" fmla="*/ 85725 h 366713"/>
                  <a:gd name="connsiteX40" fmla="*/ 242887 w 637781"/>
                  <a:gd name="connsiteY40" fmla="*/ 0 h 36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37781" h="366713">
                    <a:moveTo>
                      <a:pt x="242887" y="0"/>
                    </a:moveTo>
                    <a:lnTo>
                      <a:pt x="240506" y="19050"/>
                    </a:lnTo>
                    <a:lnTo>
                      <a:pt x="211931" y="88106"/>
                    </a:lnTo>
                    <a:lnTo>
                      <a:pt x="242887" y="121444"/>
                    </a:lnTo>
                    <a:lnTo>
                      <a:pt x="297656" y="107156"/>
                    </a:lnTo>
                    <a:lnTo>
                      <a:pt x="309562" y="152400"/>
                    </a:lnTo>
                    <a:lnTo>
                      <a:pt x="342899" y="130969"/>
                    </a:lnTo>
                    <a:lnTo>
                      <a:pt x="361949" y="45244"/>
                    </a:lnTo>
                    <a:lnTo>
                      <a:pt x="388143" y="50006"/>
                    </a:lnTo>
                    <a:lnTo>
                      <a:pt x="461962" y="71437"/>
                    </a:lnTo>
                    <a:lnTo>
                      <a:pt x="576262" y="88106"/>
                    </a:lnTo>
                    <a:lnTo>
                      <a:pt x="610228" y="60933"/>
                    </a:lnTo>
                    <a:lnTo>
                      <a:pt x="621906" y="100457"/>
                    </a:lnTo>
                    <a:lnTo>
                      <a:pt x="637781" y="167132"/>
                    </a:lnTo>
                    <a:lnTo>
                      <a:pt x="637781" y="249682"/>
                    </a:lnTo>
                    <a:lnTo>
                      <a:pt x="637109" y="254388"/>
                    </a:lnTo>
                    <a:lnTo>
                      <a:pt x="588170" y="230982"/>
                    </a:lnTo>
                    <a:lnTo>
                      <a:pt x="538164" y="211932"/>
                    </a:lnTo>
                    <a:lnTo>
                      <a:pt x="497683" y="240507"/>
                    </a:lnTo>
                    <a:lnTo>
                      <a:pt x="469108" y="285751"/>
                    </a:lnTo>
                    <a:lnTo>
                      <a:pt x="411958" y="280988"/>
                    </a:lnTo>
                    <a:lnTo>
                      <a:pt x="354808" y="295276"/>
                    </a:lnTo>
                    <a:lnTo>
                      <a:pt x="338139" y="326232"/>
                    </a:lnTo>
                    <a:lnTo>
                      <a:pt x="309564" y="361951"/>
                    </a:lnTo>
                    <a:lnTo>
                      <a:pt x="266701" y="366713"/>
                    </a:lnTo>
                    <a:lnTo>
                      <a:pt x="250033" y="338138"/>
                    </a:lnTo>
                    <a:lnTo>
                      <a:pt x="219076" y="323851"/>
                    </a:lnTo>
                    <a:lnTo>
                      <a:pt x="254795" y="297657"/>
                    </a:lnTo>
                    <a:lnTo>
                      <a:pt x="252414" y="261938"/>
                    </a:lnTo>
                    <a:lnTo>
                      <a:pt x="273845" y="221457"/>
                    </a:lnTo>
                    <a:lnTo>
                      <a:pt x="233364" y="202407"/>
                    </a:lnTo>
                    <a:lnTo>
                      <a:pt x="92870" y="292895"/>
                    </a:lnTo>
                    <a:lnTo>
                      <a:pt x="69058" y="278607"/>
                    </a:lnTo>
                    <a:lnTo>
                      <a:pt x="5155" y="255682"/>
                    </a:lnTo>
                    <a:lnTo>
                      <a:pt x="40482" y="221458"/>
                    </a:lnTo>
                    <a:lnTo>
                      <a:pt x="0" y="152402"/>
                    </a:lnTo>
                    <a:lnTo>
                      <a:pt x="19050" y="119064"/>
                    </a:lnTo>
                    <a:lnTo>
                      <a:pt x="19050" y="78583"/>
                    </a:lnTo>
                    <a:lnTo>
                      <a:pt x="23789" y="59629"/>
                    </a:lnTo>
                    <a:lnTo>
                      <a:pt x="85724" y="85725"/>
                    </a:lnTo>
                    <a:lnTo>
                      <a:pt x="24288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: AL">
                <a:extLst>
                  <a:ext uri="{FF2B5EF4-FFF2-40B4-BE49-F238E27FC236}">
                    <a16:creationId xmlns:a16="http://schemas.microsoft.com/office/drawing/2014/main" id="{A0B62734-3EFF-86EB-CE1E-6BBF57B4A973}"/>
                  </a:ext>
                </a:extLst>
              </p:cNvPr>
              <p:cNvSpPr/>
              <p:nvPr/>
            </p:nvSpPr>
            <p:spPr>
              <a:xfrm>
                <a:off x="8154256" y="2496762"/>
                <a:ext cx="499253" cy="262315"/>
              </a:xfrm>
              <a:custGeom>
                <a:avLst/>
                <a:gdLst>
                  <a:gd name="connsiteX0" fmla="*/ 349951 w 499143"/>
                  <a:gd name="connsiteY0" fmla="*/ 0 h 272706"/>
                  <a:gd name="connsiteX1" fmla="*/ 495207 w 499143"/>
                  <a:gd name="connsiteY1" fmla="*/ 16669 h 272706"/>
                  <a:gd name="connsiteX2" fmla="*/ 499143 w 499143"/>
                  <a:gd name="connsiteY2" fmla="*/ 14045 h 272706"/>
                  <a:gd name="connsiteX3" fmla="*/ 455918 w 499143"/>
                  <a:gd name="connsiteY3" fmla="*/ 104425 h 272706"/>
                  <a:gd name="connsiteX4" fmla="*/ 301431 w 499143"/>
                  <a:gd name="connsiteY4" fmla="*/ 272706 h 272706"/>
                  <a:gd name="connsiteX5" fmla="*/ 299945 w 499143"/>
                  <a:gd name="connsiteY5" fmla="*/ 271464 h 272706"/>
                  <a:gd name="connsiteX6" fmla="*/ 257697 w 499143"/>
                  <a:gd name="connsiteY6" fmla="*/ 242820 h 272706"/>
                  <a:gd name="connsiteX7" fmla="*/ 37283 w 499143"/>
                  <a:gd name="connsiteY7" fmla="*/ 131822 h 272706"/>
                  <a:gd name="connsiteX8" fmla="*/ 39486 w 499143"/>
                  <a:gd name="connsiteY8" fmla="*/ 129875 h 272706"/>
                  <a:gd name="connsiteX9" fmla="*/ 35049 w 499143"/>
                  <a:gd name="connsiteY9" fmla="*/ 127754 h 272706"/>
                  <a:gd name="connsiteX10" fmla="*/ 33629 w 499143"/>
                  <a:gd name="connsiteY10" fmla="*/ 127749 h 272706"/>
                  <a:gd name="connsiteX11" fmla="*/ 34023 w 499143"/>
                  <a:gd name="connsiteY11" fmla="*/ 124171 h 272706"/>
                  <a:gd name="connsiteX12" fmla="*/ 5999 w 499143"/>
                  <a:gd name="connsiteY12" fmla="*/ 91224 h 272706"/>
                  <a:gd name="connsiteX13" fmla="*/ 0 w 499143"/>
                  <a:gd name="connsiteY13" fmla="*/ 68668 h 272706"/>
                  <a:gd name="connsiteX14" fmla="*/ 66582 w 499143"/>
                  <a:gd name="connsiteY14" fmla="*/ 19050 h 272706"/>
                  <a:gd name="connsiteX15" fmla="*/ 176120 w 499143"/>
                  <a:gd name="connsiteY15" fmla="*/ 80963 h 272706"/>
                  <a:gd name="connsiteX16" fmla="*/ 283276 w 499143"/>
                  <a:gd name="connsiteY16" fmla="*/ 76200 h 272706"/>
                  <a:gd name="connsiteX17" fmla="*/ 349951 w 499143"/>
                  <a:gd name="connsiteY17" fmla="*/ 0 h 27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9143" h="272706">
                    <a:moveTo>
                      <a:pt x="349951" y="0"/>
                    </a:moveTo>
                    <a:lnTo>
                      <a:pt x="495207" y="16669"/>
                    </a:lnTo>
                    <a:lnTo>
                      <a:pt x="499143" y="14045"/>
                    </a:lnTo>
                    <a:lnTo>
                      <a:pt x="455918" y="104425"/>
                    </a:lnTo>
                    <a:lnTo>
                      <a:pt x="301431" y="272706"/>
                    </a:lnTo>
                    <a:lnTo>
                      <a:pt x="299945" y="271464"/>
                    </a:lnTo>
                    <a:lnTo>
                      <a:pt x="257697" y="242820"/>
                    </a:lnTo>
                    <a:lnTo>
                      <a:pt x="37283" y="131822"/>
                    </a:lnTo>
                    <a:lnTo>
                      <a:pt x="39486" y="129875"/>
                    </a:lnTo>
                    <a:cubicBezTo>
                      <a:pt x="41149" y="128437"/>
                      <a:pt x="38292" y="127921"/>
                      <a:pt x="35049" y="127754"/>
                    </a:cubicBezTo>
                    <a:lnTo>
                      <a:pt x="33629" y="127749"/>
                    </a:lnTo>
                    <a:lnTo>
                      <a:pt x="34023" y="124171"/>
                    </a:lnTo>
                    <a:lnTo>
                      <a:pt x="5999" y="91224"/>
                    </a:lnTo>
                    <a:lnTo>
                      <a:pt x="0" y="68668"/>
                    </a:lnTo>
                    <a:lnTo>
                      <a:pt x="66582" y="19050"/>
                    </a:lnTo>
                    <a:lnTo>
                      <a:pt x="176120" y="80963"/>
                    </a:lnTo>
                    <a:lnTo>
                      <a:pt x="283276" y="76200"/>
                    </a:lnTo>
                    <a:lnTo>
                      <a:pt x="34995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: PE">
                <a:extLst>
                  <a:ext uri="{FF2B5EF4-FFF2-40B4-BE49-F238E27FC236}">
                    <a16:creationId xmlns:a16="http://schemas.microsoft.com/office/drawing/2014/main" id="{B91B1C1F-E71A-B4CE-DD96-2DDAC84F8139}"/>
                  </a:ext>
                </a:extLst>
              </p:cNvPr>
              <p:cNvSpPr/>
              <p:nvPr/>
            </p:nvSpPr>
            <p:spPr>
              <a:xfrm>
                <a:off x="7685566" y="2247097"/>
                <a:ext cx="1022481" cy="340703"/>
              </a:xfrm>
              <a:custGeom>
                <a:avLst/>
                <a:gdLst>
                  <a:gd name="connsiteX0" fmla="*/ 204172 w 1022256"/>
                  <a:gd name="connsiteY0" fmla="*/ 0 h 354199"/>
                  <a:gd name="connsiteX1" fmla="*/ 287516 w 1022256"/>
                  <a:gd name="connsiteY1" fmla="*/ 42862 h 354199"/>
                  <a:gd name="connsiteX2" fmla="*/ 349429 w 1022256"/>
                  <a:gd name="connsiteY2" fmla="*/ 95250 h 354199"/>
                  <a:gd name="connsiteX3" fmla="*/ 390302 w 1022256"/>
                  <a:gd name="connsiteY3" fmla="*/ 55655 h 354199"/>
                  <a:gd name="connsiteX4" fmla="*/ 454205 w 1022256"/>
                  <a:gd name="connsiteY4" fmla="*/ 78580 h 354199"/>
                  <a:gd name="connsiteX5" fmla="*/ 478017 w 1022256"/>
                  <a:gd name="connsiteY5" fmla="*/ 92868 h 354199"/>
                  <a:gd name="connsiteX6" fmla="*/ 618511 w 1022256"/>
                  <a:gd name="connsiteY6" fmla="*/ 2380 h 354199"/>
                  <a:gd name="connsiteX7" fmla="*/ 658992 w 1022256"/>
                  <a:gd name="connsiteY7" fmla="*/ 21430 h 354199"/>
                  <a:gd name="connsiteX8" fmla="*/ 637561 w 1022256"/>
                  <a:gd name="connsiteY8" fmla="*/ 61911 h 354199"/>
                  <a:gd name="connsiteX9" fmla="*/ 639942 w 1022256"/>
                  <a:gd name="connsiteY9" fmla="*/ 97630 h 354199"/>
                  <a:gd name="connsiteX10" fmla="*/ 604223 w 1022256"/>
                  <a:gd name="connsiteY10" fmla="*/ 123824 h 354199"/>
                  <a:gd name="connsiteX11" fmla="*/ 635180 w 1022256"/>
                  <a:gd name="connsiteY11" fmla="*/ 138111 h 354199"/>
                  <a:gd name="connsiteX12" fmla="*/ 651848 w 1022256"/>
                  <a:gd name="connsiteY12" fmla="*/ 166686 h 354199"/>
                  <a:gd name="connsiteX13" fmla="*/ 694711 w 1022256"/>
                  <a:gd name="connsiteY13" fmla="*/ 161924 h 354199"/>
                  <a:gd name="connsiteX14" fmla="*/ 723286 w 1022256"/>
                  <a:gd name="connsiteY14" fmla="*/ 126205 h 354199"/>
                  <a:gd name="connsiteX15" fmla="*/ 739955 w 1022256"/>
                  <a:gd name="connsiteY15" fmla="*/ 95249 h 354199"/>
                  <a:gd name="connsiteX16" fmla="*/ 797105 w 1022256"/>
                  <a:gd name="connsiteY16" fmla="*/ 80961 h 354199"/>
                  <a:gd name="connsiteX17" fmla="*/ 854255 w 1022256"/>
                  <a:gd name="connsiteY17" fmla="*/ 85724 h 354199"/>
                  <a:gd name="connsiteX18" fmla="*/ 882830 w 1022256"/>
                  <a:gd name="connsiteY18" fmla="*/ 40480 h 354199"/>
                  <a:gd name="connsiteX19" fmla="*/ 923311 w 1022256"/>
                  <a:gd name="connsiteY19" fmla="*/ 11905 h 354199"/>
                  <a:gd name="connsiteX20" fmla="*/ 973317 w 1022256"/>
                  <a:gd name="connsiteY20" fmla="*/ 30955 h 354199"/>
                  <a:gd name="connsiteX21" fmla="*/ 1022256 w 1022256"/>
                  <a:gd name="connsiteY21" fmla="*/ 54361 h 354199"/>
                  <a:gd name="connsiteX22" fmla="*/ 1010228 w 1022256"/>
                  <a:gd name="connsiteY22" fmla="*/ 138555 h 354199"/>
                  <a:gd name="connsiteX23" fmla="*/ 994353 w 1022256"/>
                  <a:gd name="connsiteY23" fmla="*/ 217930 h 354199"/>
                  <a:gd name="connsiteX24" fmla="*/ 967728 w 1022256"/>
                  <a:gd name="connsiteY24" fmla="*/ 273600 h 354199"/>
                  <a:gd name="connsiteX25" fmla="*/ 963792 w 1022256"/>
                  <a:gd name="connsiteY25" fmla="*/ 276224 h 354199"/>
                  <a:gd name="connsiteX26" fmla="*/ 818536 w 1022256"/>
                  <a:gd name="connsiteY26" fmla="*/ 259555 h 354199"/>
                  <a:gd name="connsiteX27" fmla="*/ 751861 w 1022256"/>
                  <a:gd name="connsiteY27" fmla="*/ 335755 h 354199"/>
                  <a:gd name="connsiteX28" fmla="*/ 644705 w 1022256"/>
                  <a:gd name="connsiteY28" fmla="*/ 340518 h 354199"/>
                  <a:gd name="connsiteX29" fmla="*/ 535167 w 1022256"/>
                  <a:gd name="connsiteY29" fmla="*/ 278605 h 354199"/>
                  <a:gd name="connsiteX30" fmla="*/ 468585 w 1022256"/>
                  <a:gd name="connsiteY30" fmla="*/ 328223 h 354199"/>
                  <a:gd name="connsiteX31" fmla="*/ 454858 w 1022256"/>
                  <a:gd name="connsiteY31" fmla="*/ 276614 h 354199"/>
                  <a:gd name="connsiteX32" fmla="*/ 430109 w 1022256"/>
                  <a:gd name="connsiteY32" fmla="*/ 288044 h 354199"/>
                  <a:gd name="connsiteX33" fmla="*/ 409385 w 1022256"/>
                  <a:gd name="connsiteY33" fmla="*/ 258430 h 354199"/>
                  <a:gd name="connsiteX34" fmla="*/ 347960 w 1022256"/>
                  <a:gd name="connsiteY34" fmla="*/ 239553 h 354199"/>
                  <a:gd name="connsiteX35" fmla="*/ 305022 w 1022256"/>
                  <a:gd name="connsiteY35" fmla="*/ 202146 h 354199"/>
                  <a:gd name="connsiteX36" fmla="*/ 210201 w 1022256"/>
                  <a:gd name="connsiteY36" fmla="*/ 280078 h 354199"/>
                  <a:gd name="connsiteX37" fmla="*/ 180532 w 1022256"/>
                  <a:gd name="connsiteY37" fmla="*/ 298608 h 354199"/>
                  <a:gd name="connsiteX38" fmla="*/ 167263 w 1022256"/>
                  <a:gd name="connsiteY38" fmla="*/ 295491 h 354199"/>
                  <a:gd name="connsiteX39" fmla="*/ 142066 w 1022256"/>
                  <a:gd name="connsiteY39" fmla="*/ 325105 h 354199"/>
                  <a:gd name="connsiteX40" fmla="*/ 131630 w 1022256"/>
                  <a:gd name="connsiteY40" fmla="*/ 346752 h 354199"/>
                  <a:gd name="connsiteX41" fmla="*/ 103750 w 1022256"/>
                  <a:gd name="connsiteY41" fmla="*/ 354199 h 354199"/>
                  <a:gd name="connsiteX42" fmla="*/ 78107 w 1022256"/>
                  <a:gd name="connsiteY42" fmla="*/ 351428 h 354199"/>
                  <a:gd name="connsiteX43" fmla="*/ 73932 w 1022256"/>
                  <a:gd name="connsiteY43" fmla="*/ 321988 h 354199"/>
                  <a:gd name="connsiteX44" fmla="*/ 45307 w 1022256"/>
                  <a:gd name="connsiteY44" fmla="*/ 288044 h 354199"/>
                  <a:gd name="connsiteX45" fmla="*/ 42772 w 1022256"/>
                  <a:gd name="connsiteY45" fmla="*/ 266050 h 354199"/>
                  <a:gd name="connsiteX46" fmla="*/ 32634 w 1022256"/>
                  <a:gd name="connsiteY46" fmla="*/ 234877 h 354199"/>
                  <a:gd name="connsiteX47" fmla="*/ 0 w 1022256"/>
                  <a:gd name="connsiteY47" fmla="*/ 217197 h 354199"/>
                  <a:gd name="connsiteX48" fmla="*/ 13480 w 1022256"/>
                  <a:gd name="connsiteY48" fmla="*/ 186683 h 354199"/>
                  <a:gd name="connsiteX49" fmla="*/ 47481 w 1022256"/>
                  <a:gd name="connsiteY49" fmla="*/ 175559 h 354199"/>
                  <a:gd name="connsiteX50" fmla="*/ 95650 w 1022256"/>
                  <a:gd name="connsiteY50" fmla="*/ 123740 h 354199"/>
                  <a:gd name="connsiteX51" fmla="*/ 78827 w 1022256"/>
                  <a:gd name="connsiteY51" fmla="*/ 72193 h 354199"/>
                  <a:gd name="connsiteX52" fmla="*/ 89541 w 1022256"/>
                  <a:gd name="connsiteY52" fmla="*/ 39908 h 354199"/>
                  <a:gd name="connsiteX53" fmla="*/ 101579 w 1022256"/>
                  <a:gd name="connsiteY53" fmla="*/ 4874 h 354199"/>
                  <a:gd name="connsiteX54" fmla="*/ 204172 w 1022256"/>
                  <a:gd name="connsiteY54" fmla="*/ 0 h 354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022256" h="354199">
                    <a:moveTo>
                      <a:pt x="204172" y="0"/>
                    </a:moveTo>
                    <a:lnTo>
                      <a:pt x="287516" y="42862"/>
                    </a:lnTo>
                    <a:lnTo>
                      <a:pt x="349429" y="95250"/>
                    </a:lnTo>
                    <a:lnTo>
                      <a:pt x="390302" y="55655"/>
                    </a:lnTo>
                    <a:lnTo>
                      <a:pt x="454205" y="78580"/>
                    </a:lnTo>
                    <a:lnTo>
                      <a:pt x="478017" y="92868"/>
                    </a:lnTo>
                    <a:lnTo>
                      <a:pt x="618511" y="2380"/>
                    </a:lnTo>
                    <a:lnTo>
                      <a:pt x="658992" y="21430"/>
                    </a:lnTo>
                    <a:lnTo>
                      <a:pt x="637561" y="61911"/>
                    </a:lnTo>
                    <a:lnTo>
                      <a:pt x="639942" y="97630"/>
                    </a:lnTo>
                    <a:lnTo>
                      <a:pt x="604223" y="123824"/>
                    </a:lnTo>
                    <a:lnTo>
                      <a:pt x="635180" y="138111"/>
                    </a:lnTo>
                    <a:lnTo>
                      <a:pt x="651848" y="166686"/>
                    </a:lnTo>
                    <a:lnTo>
                      <a:pt x="694711" y="161924"/>
                    </a:lnTo>
                    <a:lnTo>
                      <a:pt x="723286" y="126205"/>
                    </a:lnTo>
                    <a:lnTo>
                      <a:pt x="739955" y="95249"/>
                    </a:lnTo>
                    <a:lnTo>
                      <a:pt x="797105" y="80961"/>
                    </a:lnTo>
                    <a:lnTo>
                      <a:pt x="854255" y="85724"/>
                    </a:lnTo>
                    <a:lnTo>
                      <a:pt x="882830" y="40480"/>
                    </a:lnTo>
                    <a:lnTo>
                      <a:pt x="923311" y="11905"/>
                    </a:lnTo>
                    <a:lnTo>
                      <a:pt x="973317" y="30955"/>
                    </a:lnTo>
                    <a:lnTo>
                      <a:pt x="1022256" y="54361"/>
                    </a:lnTo>
                    <a:lnTo>
                      <a:pt x="1010228" y="138555"/>
                    </a:lnTo>
                    <a:lnTo>
                      <a:pt x="994353" y="217930"/>
                    </a:lnTo>
                    <a:lnTo>
                      <a:pt x="967728" y="273600"/>
                    </a:lnTo>
                    <a:lnTo>
                      <a:pt x="963792" y="276224"/>
                    </a:lnTo>
                    <a:lnTo>
                      <a:pt x="818536" y="259555"/>
                    </a:lnTo>
                    <a:lnTo>
                      <a:pt x="751861" y="335755"/>
                    </a:lnTo>
                    <a:lnTo>
                      <a:pt x="644705" y="340518"/>
                    </a:lnTo>
                    <a:lnTo>
                      <a:pt x="535167" y="278605"/>
                    </a:lnTo>
                    <a:lnTo>
                      <a:pt x="468585" y="328223"/>
                    </a:lnTo>
                    <a:lnTo>
                      <a:pt x="454858" y="276614"/>
                    </a:lnTo>
                    <a:lnTo>
                      <a:pt x="430109" y="288044"/>
                    </a:lnTo>
                    <a:lnTo>
                      <a:pt x="409385" y="258430"/>
                    </a:lnTo>
                    <a:lnTo>
                      <a:pt x="347960" y="239553"/>
                    </a:lnTo>
                    <a:lnTo>
                      <a:pt x="305022" y="202146"/>
                    </a:lnTo>
                    <a:lnTo>
                      <a:pt x="210201" y="280078"/>
                    </a:lnTo>
                    <a:lnTo>
                      <a:pt x="180532" y="298608"/>
                    </a:lnTo>
                    <a:lnTo>
                      <a:pt x="167263" y="295491"/>
                    </a:lnTo>
                    <a:lnTo>
                      <a:pt x="142066" y="325105"/>
                    </a:lnTo>
                    <a:cubicBezTo>
                      <a:pt x="138637" y="332378"/>
                      <a:pt x="135059" y="339479"/>
                      <a:pt x="131630" y="346752"/>
                    </a:cubicBezTo>
                    <a:lnTo>
                      <a:pt x="103750" y="354199"/>
                    </a:lnTo>
                    <a:lnTo>
                      <a:pt x="78107" y="351428"/>
                    </a:lnTo>
                    <a:cubicBezTo>
                      <a:pt x="76765" y="341557"/>
                      <a:pt x="75274" y="331859"/>
                      <a:pt x="73932" y="321988"/>
                    </a:cubicBezTo>
                    <a:lnTo>
                      <a:pt x="45307" y="288044"/>
                    </a:lnTo>
                    <a:cubicBezTo>
                      <a:pt x="44412" y="280770"/>
                      <a:pt x="43667" y="273324"/>
                      <a:pt x="42772" y="266050"/>
                    </a:cubicBezTo>
                    <a:cubicBezTo>
                      <a:pt x="39343" y="255659"/>
                      <a:pt x="36063" y="245268"/>
                      <a:pt x="32634" y="234877"/>
                    </a:cubicBezTo>
                    <a:lnTo>
                      <a:pt x="0" y="217197"/>
                    </a:lnTo>
                    <a:lnTo>
                      <a:pt x="13480" y="186683"/>
                    </a:lnTo>
                    <a:lnTo>
                      <a:pt x="47481" y="175559"/>
                    </a:lnTo>
                    <a:lnTo>
                      <a:pt x="95650" y="123740"/>
                    </a:lnTo>
                    <a:cubicBezTo>
                      <a:pt x="90072" y="106513"/>
                      <a:pt x="84405" y="89420"/>
                      <a:pt x="78827" y="72193"/>
                    </a:cubicBezTo>
                    <a:lnTo>
                      <a:pt x="89541" y="39908"/>
                    </a:lnTo>
                    <a:lnTo>
                      <a:pt x="101579" y="4874"/>
                    </a:lnTo>
                    <a:lnTo>
                      <a:pt x="20417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: RJ">
                <a:hlinkClick r:id="" action="ppaction://noaction"/>
                <a:extLst>
                  <a:ext uri="{FF2B5EF4-FFF2-40B4-BE49-F238E27FC236}">
                    <a16:creationId xmlns:a16="http://schemas.microsoft.com/office/drawing/2014/main" id="{334196FC-E238-1ADC-067D-E039AFD186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94451" y="4447717"/>
                <a:ext cx="691116" cy="462632"/>
              </a:xfrm>
              <a:custGeom>
                <a:avLst/>
                <a:gdLst>
                  <a:gd name="connsiteX0" fmla="*/ 524453 w 690963"/>
                  <a:gd name="connsiteY0" fmla="*/ 0 h 480958"/>
                  <a:gd name="connsiteX1" fmla="*/ 537375 w 690963"/>
                  <a:gd name="connsiteY1" fmla="*/ 11337 h 480958"/>
                  <a:gd name="connsiteX2" fmla="*/ 548278 w 690963"/>
                  <a:gd name="connsiteY2" fmla="*/ 62564 h 480958"/>
                  <a:gd name="connsiteX3" fmla="*/ 677286 w 690963"/>
                  <a:gd name="connsiteY3" fmla="*/ 112121 h 480958"/>
                  <a:gd name="connsiteX4" fmla="*/ 687763 w 690963"/>
                  <a:gd name="connsiteY4" fmla="*/ 102457 h 480958"/>
                  <a:gd name="connsiteX5" fmla="*/ 689889 w 690963"/>
                  <a:gd name="connsiteY5" fmla="*/ 114633 h 480958"/>
                  <a:gd name="connsiteX6" fmla="*/ 690697 w 690963"/>
                  <a:gd name="connsiteY6" fmla="*/ 114633 h 480958"/>
                  <a:gd name="connsiteX7" fmla="*/ 690963 w 690963"/>
                  <a:gd name="connsiteY7" fmla="*/ 211638 h 480958"/>
                  <a:gd name="connsiteX8" fmla="*/ 640957 w 690963"/>
                  <a:gd name="connsiteY8" fmla="*/ 242395 h 480958"/>
                  <a:gd name="connsiteX9" fmla="*/ 539853 w 690963"/>
                  <a:gd name="connsiteY9" fmla="*/ 298362 h 480958"/>
                  <a:gd name="connsiteX10" fmla="*/ 485197 w 690963"/>
                  <a:gd name="connsiteY10" fmla="*/ 406169 h 480958"/>
                  <a:gd name="connsiteX11" fmla="*/ 343862 w 690963"/>
                  <a:gd name="connsiteY11" fmla="*/ 401534 h 480958"/>
                  <a:gd name="connsiteX12" fmla="*/ 317489 w 690963"/>
                  <a:gd name="connsiteY12" fmla="*/ 395373 h 480958"/>
                  <a:gd name="connsiteX13" fmla="*/ 285670 w 690963"/>
                  <a:gd name="connsiteY13" fmla="*/ 389661 h 480958"/>
                  <a:gd name="connsiteX14" fmla="*/ 266691 w 690963"/>
                  <a:gd name="connsiteY14" fmla="*/ 395959 h 480958"/>
                  <a:gd name="connsiteX15" fmla="*/ 263864 w 690963"/>
                  <a:gd name="connsiteY15" fmla="*/ 424092 h 480958"/>
                  <a:gd name="connsiteX16" fmla="*/ 221588 w 690963"/>
                  <a:gd name="connsiteY16" fmla="*/ 413997 h 480958"/>
                  <a:gd name="connsiteX17" fmla="*/ 174621 w 690963"/>
                  <a:gd name="connsiteY17" fmla="*/ 412335 h 480958"/>
                  <a:gd name="connsiteX18" fmla="*/ 116875 w 690963"/>
                  <a:gd name="connsiteY18" fmla="*/ 432490 h 480958"/>
                  <a:gd name="connsiteX19" fmla="*/ 83763 w 690963"/>
                  <a:gd name="connsiteY19" fmla="*/ 412335 h 480958"/>
                  <a:gd name="connsiteX20" fmla="*/ 66747 w 690963"/>
                  <a:gd name="connsiteY20" fmla="*/ 425346 h 480958"/>
                  <a:gd name="connsiteX21" fmla="*/ 60691 w 690963"/>
                  <a:gd name="connsiteY21" fmla="*/ 450971 h 480958"/>
                  <a:gd name="connsiteX22" fmla="*/ 53073 w 690963"/>
                  <a:gd name="connsiteY22" fmla="*/ 471959 h 480958"/>
                  <a:gd name="connsiteX23" fmla="*/ 0 w 690963"/>
                  <a:gd name="connsiteY23" fmla="*/ 480958 h 480958"/>
                  <a:gd name="connsiteX24" fmla="*/ 34234 w 690963"/>
                  <a:gd name="connsiteY24" fmla="*/ 461148 h 480958"/>
                  <a:gd name="connsiteX25" fmla="*/ 31208 w 690963"/>
                  <a:gd name="connsiteY25" fmla="*/ 428370 h 480958"/>
                  <a:gd name="connsiteX26" fmla="*/ 41801 w 690963"/>
                  <a:gd name="connsiteY26" fmla="*/ 390853 h 480958"/>
                  <a:gd name="connsiteX27" fmla="*/ 108764 w 690963"/>
                  <a:gd name="connsiteY27" fmla="*/ 372687 h 480958"/>
                  <a:gd name="connsiteX28" fmla="*/ 144705 w 690963"/>
                  <a:gd name="connsiteY28" fmla="*/ 335170 h 480958"/>
                  <a:gd name="connsiteX29" fmla="*/ 138652 w 690963"/>
                  <a:gd name="connsiteY29" fmla="*/ 326877 h 480958"/>
                  <a:gd name="connsiteX30" fmla="*/ 80390 w 690963"/>
                  <a:gd name="connsiteY30" fmla="*/ 326877 h 480958"/>
                  <a:gd name="connsiteX31" fmla="*/ 52016 w 690963"/>
                  <a:gd name="connsiteY31" fmla="*/ 292915 h 480958"/>
                  <a:gd name="connsiteX32" fmla="*/ 49219 w 690963"/>
                  <a:gd name="connsiteY32" fmla="*/ 293888 h 480958"/>
                  <a:gd name="connsiteX33" fmla="*/ 46509 w 690963"/>
                  <a:gd name="connsiteY33" fmla="*/ 290657 h 480958"/>
                  <a:gd name="connsiteX34" fmla="*/ 188652 w 690963"/>
                  <a:gd name="connsiteY34" fmla="*/ 227674 h 480958"/>
                  <a:gd name="connsiteX35" fmla="*/ 310604 w 690963"/>
                  <a:gd name="connsiteY35" fmla="*/ 236071 h 480958"/>
                  <a:gd name="connsiteX36" fmla="*/ 455574 w 690963"/>
                  <a:gd name="connsiteY36" fmla="*/ 176867 h 480958"/>
                  <a:gd name="connsiteX37" fmla="*/ 504839 w 690963"/>
                  <a:gd name="connsiteY37" fmla="*/ 37884 h 480958"/>
                  <a:gd name="connsiteX38" fmla="*/ 509996 w 690963"/>
                  <a:gd name="connsiteY38" fmla="*/ 14591 h 480958"/>
                  <a:gd name="connsiteX39" fmla="*/ 508884 w 690963"/>
                  <a:gd name="connsiteY39" fmla="*/ 13674 h 480958"/>
                  <a:gd name="connsiteX40" fmla="*/ 524453 w 690963"/>
                  <a:gd name="connsiteY40" fmla="*/ 0 h 480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90963" h="480958">
                    <a:moveTo>
                      <a:pt x="524453" y="0"/>
                    </a:moveTo>
                    <a:lnTo>
                      <a:pt x="537375" y="11337"/>
                    </a:lnTo>
                    <a:lnTo>
                      <a:pt x="548278" y="62564"/>
                    </a:lnTo>
                    <a:lnTo>
                      <a:pt x="677286" y="112121"/>
                    </a:lnTo>
                    <a:lnTo>
                      <a:pt x="687763" y="102457"/>
                    </a:lnTo>
                    <a:lnTo>
                      <a:pt x="689889" y="114633"/>
                    </a:lnTo>
                    <a:lnTo>
                      <a:pt x="690697" y="114633"/>
                    </a:lnTo>
                    <a:cubicBezTo>
                      <a:pt x="690786" y="146968"/>
                      <a:pt x="690874" y="179303"/>
                      <a:pt x="690963" y="211638"/>
                    </a:cubicBezTo>
                    <a:lnTo>
                      <a:pt x="640957" y="242395"/>
                    </a:lnTo>
                    <a:lnTo>
                      <a:pt x="539853" y="298362"/>
                    </a:lnTo>
                    <a:lnTo>
                      <a:pt x="485197" y="406169"/>
                    </a:lnTo>
                    <a:lnTo>
                      <a:pt x="343862" y="401534"/>
                    </a:lnTo>
                    <a:lnTo>
                      <a:pt x="317489" y="395373"/>
                    </a:lnTo>
                    <a:lnTo>
                      <a:pt x="285670" y="389661"/>
                    </a:lnTo>
                    <a:lnTo>
                      <a:pt x="266691" y="395959"/>
                    </a:lnTo>
                    <a:lnTo>
                      <a:pt x="263864" y="424092"/>
                    </a:lnTo>
                    <a:lnTo>
                      <a:pt x="221588" y="413997"/>
                    </a:lnTo>
                    <a:lnTo>
                      <a:pt x="174621" y="412335"/>
                    </a:lnTo>
                    <a:lnTo>
                      <a:pt x="116875" y="432490"/>
                    </a:lnTo>
                    <a:lnTo>
                      <a:pt x="83763" y="412335"/>
                    </a:lnTo>
                    <a:lnTo>
                      <a:pt x="66747" y="425346"/>
                    </a:lnTo>
                    <a:lnTo>
                      <a:pt x="60691" y="450971"/>
                    </a:lnTo>
                    <a:lnTo>
                      <a:pt x="53073" y="471959"/>
                    </a:lnTo>
                    <a:lnTo>
                      <a:pt x="0" y="480958"/>
                    </a:lnTo>
                    <a:lnTo>
                      <a:pt x="34234" y="461148"/>
                    </a:lnTo>
                    <a:lnTo>
                      <a:pt x="31208" y="428370"/>
                    </a:lnTo>
                    <a:lnTo>
                      <a:pt x="41801" y="390853"/>
                    </a:lnTo>
                    <a:lnTo>
                      <a:pt x="108764" y="372687"/>
                    </a:lnTo>
                    <a:lnTo>
                      <a:pt x="144705" y="335170"/>
                    </a:lnTo>
                    <a:lnTo>
                      <a:pt x="138652" y="326877"/>
                    </a:lnTo>
                    <a:lnTo>
                      <a:pt x="80390" y="326877"/>
                    </a:lnTo>
                    <a:lnTo>
                      <a:pt x="52016" y="292915"/>
                    </a:lnTo>
                    <a:lnTo>
                      <a:pt x="49219" y="293888"/>
                    </a:lnTo>
                    <a:lnTo>
                      <a:pt x="46509" y="290657"/>
                    </a:lnTo>
                    <a:lnTo>
                      <a:pt x="188652" y="227674"/>
                    </a:lnTo>
                    <a:lnTo>
                      <a:pt x="310604" y="236071"/>
                    </a:lnTo>
                    <a:lnTo>
                      <a:pt x="455574" y="176867"/>
                    </a:lnTo>
                    <a:lnTo>
                      <a:pt x="504839" y="37884"/>
                    </a:lnTo>
                    <a:lnTo>
                      <a:pt x="509996" y="14591"/>
                    </a:lnTo>
                    <a:lnTo>
                      <a:pt x="508884" y="13674"/>
                    </a:lnTo>
                    <a:lnTo>
                      <a:pt x="524453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: PA">
                <a:extLst>
                  <a:ext uri="{FF2B5EF4-FFF2-40B4-BE49-F238E27FC236}">
                    <a16:creationId xmlns:a16="http://schemas.microsoft.com/office/drawing/2014/main" id="{142CC277-8176-8912-03B8-110D9A74EA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3309" y="593778"/>
                <a:ext cx="2076856" cy="2114579"/>
              </a:xfrm>
              <a:custGeom>
                <a:avLst/>
                <a:gdLst>
                  <a:gd name="connsiteX0" fmla="*/ 642484 w 2076398"/>
                  <a:gd name="connsiteY0" fmla="*/ 0 h 2198341"/>
                  <a:gd name="connsiteX1" fmla="*/ 687046 w 2076398"/>
                  <a:gd name="connsiteY1" fmla="*/ 39131 h 2198341"/>
                  <a:gd name="connsiteX2" fmla="*/ 687046 w 2076398"/>
                  <a:gd name="connsiteY2" fmla="*/ 85956 h 2198341"/>
                  <a:gd name="connsiteX3" fmla="*/ 684536 w 2076398"/>
                  <a:gd name="connsiteY3" fmla="*/ 105302 h 2198341"/>
                  <a:gd name="connsiteX4" fmla="*/ 728888 w 2076398"/>
                  <a:gd name="connsiteY4" fmla="*/ 151028 h 2198341"/>
                  <a:gd name="connsiteX5" fmla="*/ 784538 w 2076398"/>
                  <a:gd name="connsiteY5" fmla="*/ 178947 h 2198341"/>
                  <a:gd name="connsiteX6" fmla="*/ 855670 w 2076398"/>
                  <a:gd name="connsiteY6" fmla="*/ 214121 h 2198341"/>
                  <a:gd name="connsiteX7" fmla="*/ 872616 w 2076398"/>
                  <a:gd name="connsiteY7" fmla="*/ 222915 h 2198341"/>
                  <a:gd name="connsiteX8" fmla="*/ 902114 w 2076398"/>
                  <a:gd name="connsiteY8" fmla="*/ 307332 h 2198341"/>
                  <a:gd name="connsiteX9" fmla="*/ 920316 w 2076398"/>
                  <a:gd name="connsiteY9" fmla="*/ 318324 h 2198341"/>
                  <a:gd name="connsiteX10" fmla="*/ 945630 w 2076398"/>
                  <a:gd name="connsiteY10" fmla="*/ 410435 h 2198341"/>
                  <a:gd name="connsiteX11" fmla="*/ 966551 w 2076398"/>
                  <a:gd name="connsiteY11" fmla="*/ 476606 h 2198341"/>
                  <a:gd name="connsiteX12" fmla="*/ 1000443 w 2076398"/>
                  <a:gd name="connsiteY12" fmla="*/ 492654 h 2198341"/>
                  <a:gd name="connsiteX13" fmla="*/ 1023247 w 2076398"/>
                  <a:gd name="connsiteY13" fmla="*/ 601254 h 2198341"/>
                  <a:gd name="connsiteX14" fmla="*/ 1137894 w 2076398"/>
                  <a:gd name="connsiteY14" fmla="*/ 646320 h 2198341"/>
                  <a:gd name="connsiteX15" fmla="*/ 1125551 w 2076398"/>
                  <a:gd name="connsiteY15" fmla="*/ 666106 h 2198341"/>
                  <a:gd name="connsiteX16" fmla="*/ 1014879 w 2076398"/>
                  <a:gd name="connsiteY16" fmla="*/ 707215 h 2198341"/>
                  <a:gd name="connsiteX17" fmla="*/ 1083918 w 2076398"/>
                  <a:gd name="connsiteY17" fmla="*/ 717767 h 2198341"/>
                  <a:gd name="connsiteX18" fmla="*/ 1083918 w 2076398"/>
                  <a:gd name="connsiteY18" fmla="*/ 790094 h 2198341"/>
                  <a:gd name="connsiteX19" fmla="*/ 1111325 w 2076398"/>
                  <a:gd name="connsiteY19" fmla="*/ 826586 h 2198341"/>
                  <a:gd name="connsiteX20" fmla="*/ 1104002 w 2076398"/>
                  <a:gd name="connsiteY20" fmla="*/ 731617 h 2198341"/>
                  <a:gd name="connsiteX21" fmla="*/ 1236432 w 2076398"/>
                  <a:gd name="connsiteY21" fmla="*/ 658851 h 2198341"/>
                  <a:gd name="connsiteX22" fmla="*/ 1297940 w 2076398"/>
                  <a:gd name="connsiteY22" fmla="*/ 609388 h 2198341"/>
                  <a:gd name="connsiteX23" fmla="*/ 1322627 w 2076398"/>
                  <a:gd name="connsiteY23" fmla="*/ 612026 h 2198341"/>
                  <a:gd name="connsiteX24" fmla="*/ 1328276 w 2076398"/>
                  <a:gd name="connsiteY24" fmla="*/ 666106 h 2198341"/>
                  <a:gd name="connsiteX25" fmla="*/ 1345640 w 2076398"/>
                  <a:gd name="connsiteY25" fmla="*/ 702599 h 2198341"/>
                  <a:gd name="connsiteX26" fmla="*/ 1335598 w 2076398"/>
                  <a:gd name="connsiteY26" fmla="*/ 749644 h 2198341"/>
                  <a:gd name="connsiteX27" fmla="*/ 1293756 w 2076398"/>
                  <a:gd name="connsiteY27" fmla="*/ 754040 h 2198341"/>
                  <a:gd name="connsiteX28" fmla="*/ 1305262 w 2076398"/>
                  <a:gd name="connsiteY28" fmla="*/ 785697 h 2198341"/>
                  <a:gd name="connsiteX29" fmla="*/ 1328276 w 2076398"/>
                  <a:gd name="connsiteY29" fmla="*/ 793611 h 2198341"/>
                  <a:gd name="connsiteX30" fmla="*/ 1360076 w 2076398"/>
                  <a:gd name="connsiteY30" fmla="*/ 761515 h 2198341"/>
                  <a:gd name="connsiteX31" fmla="*/ 1377440 w 2076398"/>
                  <a:gd name="connsiteY31" fmla="*/ 772507 h 2198341"/>
                  <a:gd name="connsiteX32" fmla="*/ 1411750 w 2076398"/>
                  <a:gd name="connsiteY32" fmla="*/ 772507 h 2198341"/>
                  <a:gd name="connsiteX33" fmla="*/ 1456103 w 2076398"/>
                  <a:gd name="connsiteY33" fmla="*/ 754040 h 2198341"/>
                  <a:gd name="connsiteX34" fmla="*/ 1480790 w 2076398"/>
                  <a:gd name="connsiteY34" fmla="*/ 772507 h 2198341"/>
                  <a:gd name="connsiteX35" fmla="*/ 1495016 w 2076398"/>
                  <a:gd name="connsiteY35" fmla="*/ 785697 h 2198341"/>
                  <a:gd name="connsiteX36" fmla="*/ 1547109 w 2076398"/>
                  <a:gd name="connsiteY36" fmla="*/ 761515 h 2198341"/>
                  <a:gd name="connsiteX37" fmla="*/ 1559662 w 2076398"/>
                  <a:gd name="connsiteY37" fmla="*/ 775145 h 2198341"/>
                  <a:gd name="connsiteX38" fmla="*/ 1552758 w 2076398"/>
                  <a:gd name="connsiteY38" fmla="*/ 818892 h 2198341"/>
                  <a:gd name="connsiteX39" fmla="*/ 1515100 w 2076398"/>
                  <a:gd name="connsiteY39" fmla="*/ 888800 h 2198341"/>
                  <a:gd name="connsiteX40" fmla="*/ 1518238 w 2076398"/>
                  <a:gd name="connsiteY40" fmla="*/ 917599 h 2198341"/>
                  <a:gd name="connsiteX41" fmla="*/ 1535603 w 2076398"/>
                  <a:gd name="connsiteY41" fmla="*/ 899133 h 2198341"/>
                  <a:gd name="connsiteX42" fmla="*/ 1594391 w 2076398"/>
                  <a:gd name="connsiteY42" fmla="*/ 775145 h 2198341"/>
                  <a:gd name="connsiteX43" fmla="*/ 1684770 w 2076398"/>
                  <a:gd name="connsiteY43" fmla="*/ 699741 h 2198341"/>
                  <a:gd name="connsiteX44" fmla="*/ 1715105 w 2076398"/>
                  <a:gd name="connsiteY44" fmla="*/ 707215 h 2198341"/>
                  <a:gd name="connsiteX45" fmla="*/ 1683933 w 2076398"/>
                  <a:gd name="connsiteY45" fmla="*/ 682374 h 2198341"/>
                  <a:gd name="connsiteX46" fmla="*/ 1690837 w 2076398"/>
                  <a:gd name="connsiteY46" fmla="*/ 651596 h 2198341"/>
                  <a:gd name="connsiteX47" fmla="*/ 1751508 w 2076398"/>
                  <a:gd name="connsiteY47" fmla="*/ 578171 h 2198341"/>
                  <a:gd name="connsiteX48" fmla="*/ 1852975 w 2076398"/>
                  <a:gd name="connsiteY48" fmla="*/ 554429 h 2198341"/>
                  <a:gd name="connsiteX49" fmla="*/ 1885538 w 2076398"/>
                  <a:gd name="connsiteY49" fmla="*/ 567414 h 2198341"/>
                  <a:gd name="connsiteX50" fmla="*/ 1884055 w 2076398"/>
                  <a:gd name="connsiteY50" fmla="*/ 568155 h 2198341"/>
                  <a:gd name="connsiteX51" fmla="*/ 1886367 w 2076398"/>
                  <a:gd name="connsiteY51" fmla="*/ 567745 h 2198341"/>
                  <a:gd name="connsiteX52" fmla="*/ 1887704 w 2076398"/>
                  <a:gd name="connsiteY52" fmla="*/ 568278 h 2198341"/>
                  <a:gd name="connsiteX53" fmla="*/ 1888209 w 2076398"/>
                  <a:gd name="connsiteY53" fmla="*/ 568026 h 2198341"/>
                  <a:gd name="connsiteX54" fmla="*/ 1957580 w 2076398"/>
                  <a:gd name="connsiteY54" fmla="*/ 610047 h 2198341"/>
                  <a:gd name="connsiteX55" fmla="*/ 2017414 w 2076398"/>
                  <a:gd name="connsiteY55" fmla="*/ 628733 h 2198341"/>
                  <a:gd name="connsiteX56" fmla="*/ 2052143 w 2076398"/>
                  <a:gd name="connsiteY56" fmla="*/ 648299 h 2198341"/>
                  <a:gd name="connsiteX57" fmla="*/ 2076202 w 2076398"/>
                  <a:gd name="connsiteY57" fmla="*/ 669183 h 2198341"/>
                  <a:gd name="connsiteX58" fmla="*/ 2076398 w 2076398"/>
                  <a:gd name="connsiteY58" fmla="*/ 671157 h 2198341"/>
                  <a:gd name="connsiteX59" fmla="*/ 2055800 w 2076398"/>
                  <a:gd name="connsiteY59" fmla="*/ 665190 h 2198341"/>
                  <a:gd name="connsiteX60" fmla="*/ 2042331 w 2076398"/>
                  <a:gd name="connsiteY60" fmla="*/ 718991 h 2198341"/>
                  <a:gd name="connsiteX61" fmla="*/ 2042331 w 2076398"/>
                  <a:gd name="connsiteY61" fmla="*/ 783705 h 2198341"/>
                  <a:gd name="connsiteX62" fmla="*/ 2010092 w 2076398"/>
                  <a:gd name="connsiteY62" fmla="*/ 832895 h 2198341"/>
                  <a:gd name="connsiteX63" fmla="*/ 2007442 w 2076398"/>
                  <a:gd name="connsiteY63" fmla="*/ 869172 h 2198341"/>
                  <a:gd name="connsiteX64" fmla="*/ 1974872 w 2076398"/>
                  <a:gd name="connsiteY64" fmla="*/ 912520 h 2198341"/>
                  <a:gd name="connsiteX65" fmla="*/ 1974872 w 2076398"/>
                  <a:gd name="connsiteY65" fmla="*/ 966628 h 2198341"/>
                  <a:gd name="connsiteX66" fmla="*/ 1946166 w 2076398"/>
                  <a:gd name="connsiteY66" fmla="*/ 1027500 h 2198341"/>
                  <a:gd name="connsiteX67" fmla="*/ 1920331 w 2076398"/>
                  <a:gd name="connsiteY67" fmla="*/ 1095750 h 2198341"/>
                  <a:gd name="connsiteX68" fmla="*/ 1812133 w 2076398"/>
                  <a:gd name="connsiteY68" fmla="*/ 1244547 h 2198341"/>
                  <a:gd name="connsiteX69" fmla="*/ 1761125 w 2076398"/>
                  <a:gd name="connsiteY69" fmla="*/ 1255922 h 2198341"/>
                  <a:gd name="connsiteX70" fmla="*/ 1633936 w 2076398"/>
                  <a:gd name="connsiteY70" fmla="*/ 1384429 h 2198341"/>
                  <a:gd name="connsiteX71" fmla="*/ 1648306 w 2076398"/>
                  <a:gd name="connsiteY71" fmla="*/ 1386019 h 2198341"/>
                  <a:gd name="connsiteX72" fmla="*/ 1649095 w 2076398"/>
                  <a:gd name="connsiteY72" fmla="*/ 1385234 h 2198341"/>
                  <a:gd name="connsiteX73" fmla="*/ 1691840 w 2076398"/>
                  <a:gd name="connsiteY73" fmla="*/ 1394152 h 2198341"/>
                  <a:gd name="connsiteX74" fmla="*/ 1719971 w 2076398"/>
                  <a:gd name="connsiteY74" fmla="*/ 1415414 h 2198341"/>
                  <a:gd name="connsiteX75" fmla="*/ 1688839 w 2076398"/>
                  <a:gd name="connsiteY75" fmla="*/ 1527421 h 2198341"/>
                  <a:gd name="connsiteX76" fmla="*/ 1613448 w 2076398"/>
                  <a:gd name="connsiteY76" fmla="*/ 1612470 h 2198341"/>
                  <a:gd name="connsiteX77" fmla="*/ 1554184 w 2076398"/>
                  <a:gd name="connsiteY77" fmla="*/ 1648539 h 2198341"/>
                  <a:gd name="connsiteX78" fmla="*/ 1554184 w 2076398"/>
                  <a:gd name="connsiteY78" fmla="*/ 1673978 h 2198341"/>
                  <a:gd name="connsiteX79" fmla="*/ 1529054 w 2076398"/>
                  <a:gd name="connsiteY79" fmla="*/ 1750294 h 2198341"/>
                  <a:gd name="connsiteX80" fmla="*/ 1560971 w 2076398"/>
                  <a:gd name="connsiteY80" fmla="*/ 1810902 h 2198341"/>
                  <a:gd name="connsiteX81" fmla="*/ 1521193 w 2076398"/>
                  <a:gd name="connsiteY81" fmla="*/ 1927259 h 2198341"/>
                  <a:gd name="connsiteX82" fmla="*/ 1443159 w 2076398"/>
                  <a:gd name="connsiteY82" fmla="*/ 2011895 h 2198341"/>
                  <a:gd name="connsiteX83" fmla="*/ 1404413 w 2076398"/>
                  <a:gd name="connsiteY83" fmla="*/ 2123248 h 2198341"/>
                  <a:gd name="connsiteX84" fmla="*/ 1410418 w 2076398"/>
                  <a:gd name="connsiteY84" fmla="*/ 2133925 h 2198341"/>
                  <a:gd name="connsiteX85" fmla="*/ 1410348 w 2076398"/>
                  <a:gd name="connsiteY85" fmla="*/ 2134117 h 2198341"/>
                  <a:gd name="connsiteX86" fmla="*/ 1416164 w 2076398"/>
                  <a:gd name="connsiteY86" fmla="*/ 2134673 h 2198341"/>
                  <a:gd name="connsiteX87" fmla="*/ 1393128 w 2076398"/>
                  <a:gd name="connsiteY87" fmla="*/ 2198341 h 2198341"/>
                  <a:gd name="connsiteX88" fmla="*/ 1388576 w 2076398"/>
                  <a:gd name="connsiteY88" fmla="*/ 2198340 h 2198341"/>
                  <a:gd name="connsiteX89" fmla="*/ 1388576 w 2076398"/>
                  <a:gd name="connsiteY89" fmla="*/ 2198340 h 2198341"/>
                  <a:gd name="connsiteX90" fmla="*/ 1388575 w 2076398"/>
                  <a:gd name="connsiteY90" fmla="*/ 2198340 h 2198341"/>
                  <a:gd name="connsiteX91" fmla="*/ 1411095 w 2076398"/>
                  <a:gd name="connsiteY91" fmla="*/ 2136097 h 2198341"/>
                  <a:gd name="connsiteX92" fmla="*/ 1408933 w 2076398"/>
                  <a:gd name="connsiteY92" fmla="*/ 2135949 h 2198341"/>
                  <a:gd name="connsiteX93" fmla="*/ 1408933 w 2076398"/>
                  <a:gd name="connsiteY93" fmla="*/ 2135949 h 2198341"/>
                  <a:gd name="connsiteX94" fmla="*/ 1408932 w 2076398"/>
                  <a:gd name="connsiteY94" fmla="*/ 2135949 h 2198341"/>
                  <a:gd name="connsiteX95" fmla="*/ 1409153 w 2076398"/>
                  <a:gd name="connsiteY95" fmla="*/ 2135339 h 2198341"/>
                  <a:gd name="connsiteX96" fmla="*/ 344788 w 2076398"/>
                  <a:gd name="connsiteY96" fmla="*/ 2062260 h 2198341"/>
                  <a:gd name="connsiteX97" fmla="*/ 344788 w 2076398"/>
                  <a:gd name="connsiteY97" fmla="*/ 2062260 h 2198341"/>
                  <a:gd name="connsiteX98" fmla="*/ 344787 w 2076398"/>
                  <a:gd name="connsiteY98" fmla="*/ 2062260 h 2198341"/>
                  <a:gd name="connsiteX99" fmla="*/ 336668 w 2076398"/>
                  <a:gd name="connsiteY99" fmla="*/ 2055146 h 2198341"/>
                  <a:gd name="connsiteX100" fmla="*/ 299273 w 2076398"/>
                  <a:gd name="connsiteY100" fmla="*/ 2023824 h 2198341"/>
                  <a:gd name="connsiteX101" fmla="*/ 271611 w 2076398"/>
                  <a:gd name="connsiteY101" fmla="*/ 2000464 h 2198341"/>
                  <a:gd name="connsiteX102" fmla="*/ 253907 w 2076398"/>
                  <a:gd name="connsiteY102" fmla="*/ 1975474 h 2198341"/>
                  <a:gd name="connsiteX103" fmla="*/ 208726 w 2076398"/>
                  <a:gd name="connsiteY103" fmla="*/ 1920424 h 2198341"/>
                  <a:gd name="connsiteX104" fmla="*/ 201165 w 2076398"/>
                  <a:gd name="connsiteY104" fmla="*/ 1850344 h 2198341"/>
                  <a:gd name="connsiteX105" fmla="*/ 145894 w 2076398"/>
                  <a:gd name="connsiteY105" fmla="*/ 1716376 h 2198341"/>
                  <a:gd name="connsiteX106" fmla="*/ 147169 w 2076398"/>
                  <a:gd name="connsiteY106" fmla="*/ 1715048 h 2198341"/>
                  <a:gd name="connsiteX107" fmla="*/ 146367 w 2076398"/>
                  <a:gd name="connsiteY107" fmla="*/ 1713103 h 2198341"/>
                  <a:gd name="connsiteX108" fmla="*/ 127327 w 2076398"/>
                  <a:gd name="connsiteY108" fmla="*/ 1682647 h 2198341"/>
                  <a:gd name="connsiteX109" fmla="*/ 87219 w 2076398"/>
                  <a:gd name="connsiteY109" fmla="*/ 1582753 h 2198341"/>
                  <a:gd name="connsiteX110" fmla="*/ 217976 w 2076398"/>
                  <a:gd name="connsiteY110" fmla="*/ 1294986 h 2198341"/>
                  <a:gd name="connsiteX111" fmla="*/ 416725 w 2076398"/>
                  <a:gd name="connsiteY111" fmla="*/ 826734 h 2198341"/>
                  <a:gd name="connsiteX112" fmla="*/ 411294 w 2076398"/>
                  <a:gd name="connsiteY112" fmla="*/ 822002 h 2198341"/>
                  <a:gd name="connsiteX113" fmla="*/ 411307 w 2076398"/>
                  <a:gd name="connsiteY113" fmla="*/ 821970 h 2198341"/>
                  <a:gd name="connsiteX114" fmla="*/ 369675 w 2076398"/>
                  <a:gd name="connsiteY114" fmla="*/ 785697 h 2198341"/>
                  <a:gd name="connsiteX115" fmla="*/ 287037 w 2076398"/>
                  <a:gd name="connsiteY115" fmla="*/ 728319 h 2198341"/>
                  <a:gd name="connsiteX116" fmla="*/ 248333 w 2076398"/>
                  <a:gd name="connsiteY116" fmla="*/ 728319 h 2198341"/>
                  <a:gd name="connsiteX117" fmla="*/ 144471 w 2076398"/>
                  <a:gd name="connsiteY117" fmla="*/ 713739 h 2198341"/>
                  <a:gd name="connsiteX118" fmla="*/ 36800 w 2076398"/>
                  <a:gd name="connsiteY118" fmla="*/ 544244 h 2198341"/>
                  <a:gd name="connsiteX119" fmla="*/ 20691 w 2076398"/>
                  <a:gd name="connsiteY119" fmla="*/ 394535 h 2198341"/>
                  <a:gd name="connsiteX120" fmla="*/ 19784 w 2076398"/>
                  <a:gd name="connsiteY120" fmla="*/ 385749 h 2198341"/>
                  <a:gd name="connsiteX121" fmla="*/ 14890 w 2076398"/>
                  <a:gd name="connsiteY121" fmla="*/ 386057 h 2198341"/>
                  <a:gd name="connsiteX122" fmla="*/ 0 w 2076398"/>
                  <a:gd name="connsiteY122" fmla="*/ 241821 h 2198341"/>
                  <a:gd name="connsiteX123" fmla="*/ 38286 w 2076398"/>
                  <a:gd name="connsiteY123" fmla="*/ 235665 h 2198341"/>
                  <a:gd name="connsiteX124" fmla="*/ 93099 w 2076398"/>
                  <a:gd name="connsiteY124" fmla="*/ 184663 h 2198341"/>
                  <a:gd name="connsiteX125" fmla="*/ 124899 w 2076398"/>
                  <a:gd name="connsiteY125" fmla="*/ 187081 h 2198341"/>
                  <a:gd name="connsiteX126" fmla="*/ 166741 w 2076398"/>
                  <a:gd name="connsiteY126" fmla="*/ 158502 h 2198341"/>
                  <a:gd name="connsiteX127" fmla="*/ 210884 w 2076398"/>
                  <a:gd name="connsiteY127" fmla="*/ 158502 h 2198341"/>
                  <a:gd name="connsiteX128" fmla="*/ 266116 w 2076398"/>
                  <a:gd name="connsiteY128" fmla="*/ 111677 h 2198341"/>
                  <a:gd name="connsiteX129" fmla="*/ 334946 w 2076398"/>
                  <a:gd name="connsiteY129" fmla="*/ 127066 h 2198341"/>
                  <a:gd name="connsiteX130" fmla="*/ 359005 w 2076398"/>
                  <a:gd name="connsiteY130" fmla="*/ 109039 h 2198341"/>
                  <a:gd name="connsiteX131" fmla="*/ 455660 w 2076398"/>
                  <a:gd name="connsiteY131" fmla="*/ 129704 h 2198341"/>
                  <a:gd name="connsiteX132" fmla="*/ 494364 w 2076398"/>
                  <a:gd name="connsiteY132" fmla="*/ 119371 h 2198341"/>
                  <a:gd name="connsiteX133" fmla="*/ 489970 w 2076398"/>
                  <a:gd name="connsiteY133" fmla="*/ 101125 h 2198341"/>
                  <a:gd name="connsiteX134" fmla="*/ 455660 w 2076398"/>
                  <a:gd name="connsiteY134" fmla="*/ 64852 h 2198341"/>
                  <a:gd name="connsiteX135" fmla="*/ 487460 w 2076398"/>
                  <a:gd name="connsiteY135" fmla="*/ 24182 h 2198341"/>
                  <a:gd name="connsiteX136" fmla="*/ 531603 w 2076398"/>
                  <a:gd name="connsiteY136" fmla="*/ 24182 h 2198341"/>
                  <a:gd name="connsiteX137" fmla="*/ 642484 w 2076398"/>
                  <a:gd name="connsiteY137" fmla="*/ 0 h 2198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2076398" h="2198341">
                    <a:moveTo>
                      <a:pt x="642484" y="0"/>
                    </a:moveTo>
                    <a:lnTo>
                      <a:pt x="687046" y="39131"/>
                    </a:lnTo>
                    <a:lnTo>
                      <a:pt x="687046" y="85956"/>
                    </a:lnTo>
                    <a:cubicBezTo>
                      <a:pt x="690394" y="95409"/>
                      <a:pt x="681188" y="95849"/>
                      <a:pt x="684536" y="105302"/>
                    </a:cubicBezTo>
                    <a:lnTo>
                      <a:pt x="728888" y="151028"/>
                    </a:lnTo>
                    <a:cubicBezTo>
                      <a:pt x="743115" y="169934"/>
                      <a:pt x="770312" y="160041"/>
                      <a:pt x="784538" y="178947"/>
                    </a:cubicBezTo>
                    <a:lnTo>
                      <a:pt x="855670" y="214121"/>
                    </a:lnTo>
                    <a:cubicBezTo>
                      <a:pt x="861528" y="227751"/>
                      <a:pt x="866967" y="209285"/>
                      <a:pt x="872616" y="222915"/>
                    </a:cubicBezTo>
                    <a:cubicBezTo>
                      <a:pt x="872825" y="246877"/>
                      <a:pt x="901905" y="283370"/>
                      <a:pt x="902114" y="307332"/>
                    </a:cubicBezTo>
                    <a:cubicBezTo>
                      <a:pt x="900859" y="319423"/>
                      <a:pt x="921571" y="306233"/>
                      <a:pt x="920316" y="318324"/>
                    </a:cubicBezTo>
                    <a:cubicBezTo>
                      <a:pt x="929730" y="354377"/>
                      <a:pt x="936216" y="374382"/>
                      <a:pt x="945630" y="410435"/>
                    </a:cubicBezTo>
                    <a:cubicBezTo>
                      <a:pt x="942074" y="420768"/>
                      <a:pt x="970108" y="466274"/>
                      <a:pt x="966551" y="476606"/>
                    </a:cubicBezTo>
                    <a:cubicBezTo>
                      <a:pt x="971363" y="486059"/>
                      <a:pt x="995422" y="483201"/>
                      <a:pt x="1000443" y="492654"/>
                    </a:cubicBezTo>
                    <a:cubicBezTo>
                      <a:pt x="1014251" y="526729"/>
                      <a:pt x="1009230" y="567179"/>
                      <a:pt x="1023247" y="601254"/>
                    </a:cubicBezTo>
                    <a:lnTo>
                      <a:pt x="1137894" y="646320"/>
                    </a:lnTo>
                    <a:cubicBezTo>
                      <a:pt x="1126388" y="659071"/>
                      <a:pt x="1137267" y="653135"/>
                      <a:pt x="1125551" y="666106"/>
                    </a:cubicBezTo>
                    <a:lnTo>
                      <a:pt x="1014879" y="707215"/>
                    </a:lnTo>
                    <a:lnTo>
                      <a:pt x="1083918" y="717767"/>
                    </a:lnTo>
                    <a:lnTo>
                      <a:pt x="1083918" y="790094"/>
                    </a:lnTo>
                    <a:cubicBezTo>
                      <a:pt x="1093123" y="802185"/>
                      <a:pt x="1102119" y="814495"/>
                      <a:pt x="1111325" y="826586"/>
                    </a:cubicBezTo>
                    <a:cubicBezTo>
                      <a:pt x="1108814" y="794930"/>
                      <a:pt x="1106513" y="763054"/>
                      <a:pt x="1104002" y="731617"/>
                    </a:cubicBezTo>
                    <a:lnTo>
                      <a:pt x="1236432" y="658851"/>
                    </a:lnTo>
                    <a:lnTo>
                      <a:pt x="1297940" y="609388"/>
                    </a:lnTo>
                    <a:lnTo>
                      <a:pt x="1322627" y="612026"/>
                    </a:lnTo>
                    <a:lnTo>
                      <a:pt x="1328276" y="666106"/>
                    </a:lnTo>
                    <a:cubicBezTo>
                      <a:pt x="1333924" y="678197"/>
                      <a:pt x="1339782" y="690507"/>
                      <a:pt x="1345640" y="702599"/>
                    </a:cubicBezTo>
                    <a:cubicBezTo>
                      <a:pt x="1342083" y="718427"/>
                      <a:pt x="1338945" y="733815"/>
                      <a:pt x="1335598" y="749644"/>
                    </a:cubicBezTo>
                    <a:lnTo>
                      <a:pt x="1293756" y="754040"/>
                    </a:lnTo>
                    <a:cubicBezTo>
                      <a:pt x="1297522" y="764592"/>
                      <a:pt x="1301497" y="774925"/>
                      <a:pt x="1305262" y="785697"/>
                    </a:cubicBezTo>
                    <a:lnTo>
                      <a:pt x="1328276" y="793611"/>
                    </a:lnTo>
                    <a:cubicBezTo>
                      <a:pt x="1338736" y="782839"/>
                      <a:pt x="1349615" y="772287"/>
                      <a:pt x="1360076" y="761515"/>
                    </a:cubicBezTo>
                    <a:lnTo>
                      <a:pt x="1377440" y="772507"/>
                    </a:lnTo>
                    <a:lnTo>
                      <a:pt x="1411750" y="772507"/>
                    </a:lnTo>
                    <a:lnTo>
                      <a:pt x="1456103" y="754040"/>
                    </a:lnTo>
                    <a:lnTo>
                      <a:pt x="1480790" y="772507"/>
                    </a:lnTo>
                    <a:cubicBezTo>
                      <a:pt x="1485602" y="776903"/>
                      <a:pt x="1490414" y="781080"/>
                      <a:pt x="1495016" y="785697"/>
                    </a:cubicBezTo>
                    <a:lnTo>
                      <a:pt x="1547109" y="761515"/>
                    </a:lnTo>
                    <a:cubicBezTo>
                      <a:pt x="1551294" y="766131"/>
                      <a:pt x="1555478" y="770528"/>
                      <a:pt x="1559662" y="775145"/>
                    </a:cubicBezTo>
                    <a:cubicBezTo>
                      <a:pt x="1557361" y="789874"/>
                      <a:pt x="1555059" y="804383"/>
                      <a:pt x="1552758" y="818892"/>
                    </a:cubicBezTo>
                    <a:lnTo>
                      <a:pt x="1515100" y="888800"/>
                    </a:lnTo>
                    <a:cubicBezTo>
                      <a:pt x="1516146" y="898253"/>
                      <a:pt x="1517192" y="908146"/>
                      <a:pt x="1518238" y="917599"/>
                    </a:cubicBezTo>
                    <a:cubicBezTo>
                      <a:pt x="1524096" y="911443"/>
                      <a:pt x="1529745" y="905288"/>
                      <a:pt x="1535603" y="899133"/>
                    </a:cubicBezTo>
                    <a:lnTo>
                      <a:pt x="1594391" y="775145"/>
                    </a:lnTo>
                    <a:lnTo>
                      <a:pt x="1684770" y="699741"/>
                    </a:lnTo>
                    <a:lnTo>
                      <a:pt x="1715105" y="707215"/>
                    </a:lnTo>
                    <a:cubicBezTo>
                      <a:pt x="1717406" y="703258"/>
                      <a:pt x="1681632" y="686331"/>
                      <a:pt x="1683933" y="682374"/>
                    </a:cubicBezTo>
                    <a:cubicBezTo>
                      <a:pt x="1683096" y="675339"/>
                      <a:pt x="1691674" y="658631"/>
                      <a:pt x="1690837" y="651596"/>
                    </a:cubicBezTo>
                    <a:lnTo>
                      <a:pt x="1751508" y="578171"/>
                    </a:lnTo>
                    <a:lnTo>
                      <a:pt x="1852975" y="554429"/>
                    </a:lnTo>
                    <a:lnTo>
                      <a:pt x="1885538" y="567414"/>
                    </a:lnTo>
                    <a:lnTo>
                      <a:pt x="1884055" y="568155"/>
                    </a:lnTo>
                    <a:lnTo>
                      <a:pt x="1886367" y="567745"/>
                    </a:lnTo>
                    <a:lnTo>
                      <a:pt x="1887704" y="568278"/>
                    </a:lnTo>
                    <a:lnTo>
                      <a:pt x="1888209" y="568026"/>
                    </a:lnTo>
                    <a:lnTo>
                      <a:pt x="1957580" y="610047"/>
                    </a:lnTo>
                    <a:cubicBezTo>
                      <a:pt x="1964902" y="622578"/>
                      <a:pt x="2010092" y="616203"/>
                      <a:pt x="2017414" y="628733"/>
                    </a:cubicBezTo>
                    <a:lnTo>
                      <a:pt x="2052143" y="648299"/>
                    </a:lnTo>
                    <a:cubicBezTo>
                      <a:pt x="2052980" y="665666"/>
                      <a:pt x="2075574" y="651816"/>
                      <a:pt x="2076202" y="669183"/>
                    </a:cubicBezTo>
                    <a:cubicBezTo>
                      <a:pt x="2076267" y="669841"/>
                      <a:pt x="2076333" y="670499"/>
                      <a:pt x="2076398" y="671157"/>
                    </a:cubicBezTo>
                    <a:lnTo>
                      <a:pt x="2055800" y="665190"/>
                    </a:lnTo>
                    <a:cubicBezTo>
                      <a:pt x="2051274" y="683175"/>
                      <a:pt x="2046857" y="701006"/>
                      <a:pt x="2042331" y="718991"/>
                    </a:cubicBezTo>
                    <a:lnTo>
                      <a:pt x="2042331" y="783705"/>
                    </a:lnTo>
                    <a:lnTo>
                      <a:pt x="2010092" y="832895"/>
                    </a:lnTo>
                    <a:cubicBezTo>
                      <a:pt x="2009209" y="845038"/>
                      <a:pt x="2008325" y="857028"/>
                      <a:pt x="2007442" y="869172"/>
                    </a:cubicBezTo>
                    <a:lnTo>
                      <a:pt x="1974872" y="912520"/>
                    </a:lnTo>
                    <a:lnTo>
                      <a:pt x="1974872" y="966628"/>
                    </a:lnTo>
                    <a:lnTo>
                      <a:pt x="1946166" y="1027500"/>
                    </a:lnTo>
                    <a:lnTo>
                      <a:pt x="1920331" y="1095750"/>
                    </a:lnTo>
                    <a:lnTo>
                      <a:pt x="1812133" y="1244547"/>
                    </a:lnTo>
                    <a:lnTo>
                      <a:pt x="1761125" y="1255922"/>
                    </a:lnTo>
                    <a:lnTo>
                      <a:pt x="1633936" y="1384429"/>
                    </a:lnTo>
                    <a:lnTo>
                      <a:pt x="1648306" y="1386019"/>
                    </a:lnTo>
                    <a:lnTo>
                      <a:pt x="1649095" y="1385234"/>
                    </a:lnTo>
                    <a:lnTo>
                      <a:pt x="1691840" y="1394152"/>
                    </a:lnTo>
                    <a:lnTo>
                      <a:pt x="1719971" y="1415414"/>
                    </a:lnTo>
                    <a:lnTo>
                      <a:pt x="1688839" y="1527421"/>
                    </a:lnTo>
                    <a:lnTo>
                      <a:pt x="1613448" y="1612470"/>
                    </a:lnTo>
                    <a:lnTo>
                      <a:pt x="1554184" y="1648539"/>
                    </a:lnTo>
                    <a:lnTo>
                      <a:pt x="1554184" y="1673978"/>
                    </a:lnTo>
                    <a:lnTo>
                      <a:pt x="1529054" y="1750294"/>
                    </a:lnTo>
                    <a:lnTo>
                      <a:pt x="1560971" y="1810902"/>
                    </a:lnTo>
                    <a:lnTo>
                      <a:pt x="1521193" y="1927259"/>
                    </a:lnTo>
                    <a:lnTo>
                      <a:pt x="1443159" y="2011895"/>
                    </a:lnTo>
                    <a:cubicBezTo>
                      <a:pt x="1430244" y="2049013"/>
                      <a:pt x="1412566" y="2059937"/>
                      <a:pt x="1404413" y="2123248"/>
                    </a:cubicBezTo>
                    <a:lnTo>
                      <a:pt x="1410418" y="2133925"/>
                    </a:lnTo>
                    <a:cubicBezTo>
                      <a:pt x="1410395" y="2133989"/>
                      <a:pt x="1410371" y="2134053"/>
                      <a:pt x="1410348" y="2134117"/>
                    </a:cubicBezTo>
                    <a:lnTo>
                      <a:pt x="1416164" y="2134673"/>
                    </a:lnTo>
                    <a:lnTo>
                      <a:pt x="1393128" y="2198341"/>
                    </a:lnTo>
                    <a:lnTo>
                      <a:pt x="1388576" y="2198340"/>
                    </a:lnTo>
                    <a:lnTo>
                      <a:pt x="1388576" y="2198340"/>
                    </a:lnTo>
                    <a:lnTo>
                      <a:pt x="1388575" y="2198340"/>
                    </a:lnTo>
                    <a:lnTo>
                      <a:pt x="1411095" y="2136097"/>
                    </a:lnTo>
                    <a:lnTo>
                      <a:pt x="1408933" y="2135949"/>
                    </a:lnTo>
                    <a:lnTo>
                      <a:pt x="1408933" y="2135949"/>
                    </a:lnTo>
                    <a:lnTo>
                      <a:pt x="1408932" y="2135949"/>
                    </a:lnTo>
                    <a:lnTo>
                      <a:pt x="1409153" y="2135339"/>
                    </a:lnTo>
                    <a:lnTo>
                      <a:pt x="344788" y="2062260"/>
                    </a:lnTo>
                    <a:lnTo>
                      <a:pt x="344788" y="2062260"/>
                    </a:lnTo>
                    <a:lnTo>
                      <a:pt x="344787" y="2062260"/>
                    </a:lnTo>
                    <a:lnTo>
                      <a:pt x="336668" y="2055146"/>
                    </a:lnTo>
                    <a:cubicBezTo>
                      <a:pt x="324203" y="2044705"/>
                      <a:pt x="303699" y="2028306"/>
                      <a:pt x="299273" y="2023824"/>
                    </a:cubicBezTo>
                    <a:lnTo>
                      <a:pt x="271611" y="2000464"/>
                    </a:lnTo>
                    <a:cubicBezTo>
                      <a:pt x="265525" y="1992134"/>
                      <a:pt x="259808" y="1983623"/>
                      <a:pt x="253907" y="1975474"/>
                    </a:cubicBezTo>
                    <a:lnTo>
                      <a:pt x="208726" y="1920424"/>
                    </a:lnTo>
                    <a:cubicBezTo>
                      <a:pt x="206144" y="1896883"/>
                      <a:pt x="203747" y="1873704"/>
                      <a:pt x="201165" y="1850344"/>
                    </a:cubicBezTo>
                    <a:lnTo>
                      <a:pt x="145894" y="1716376"/>
                    </a:lnTo>
                    <a:lnTo>
                      <a:pt x="147169" y="1715048"/>
                    </a:lnTo>
                    <a:lnTo>
                      <a:pt x="146367" y="1713103"/>
                    </a:lnTo>
                    <a:lnTo>
                      <a:pt x="127327" y="1682647"/>
                    </a:lnTo>
                    <a:lnTo>
                      <a:pt x="87219" y="1582753"/>
                    </a:lnTo>
                    <a:lnTo>
                      <a:pt x="217976" y="1294986"/>
                    </a:lnTo>
                    <a:lnTo>
                      <a:pt x="416725" y="826734"/>
                    </a:lnTo>
                    <a:lnTo>
                      <a:pt x="411294" y="822002"/>
                    </a:lnTo>
                    <a:lnTo>
                      <a:pt x="411307" y="821970"/>
                    </a:lnTo>
                    <a:lnTo>
                      <a:pt x="369675" y="785697"/>
                    </a:lnTo>
                    <a:lnTo>
                      <a:pt x="287037" y="728319"/>
                    </a:lnTo>
                    <a:lnTo>
                      <a:pt x="248333" y="728319"/>
                    </a:lnTo>
                    <a:lnTo>
                      <a:pt x="144471" y="713739"/>
                    </a:lnTo>
                    <a:lnTo>
                      <a:pt x="36800" y="544244"/>
                    </a:lnTo>
                    <a:cubicBezTo>
                      <a:pt x="31570" y="494341"/>
                      <a:pt x="26130" y="444438"/>
                      <a:pt x="20691" y="394535"/>
                    </a:cubicBezTo>
                    <a:lnTo>
                      <a:pt x="19784" y="385749"/>
                    </a:lnTo>
                    <a:lnTo>
                      <a:pt x="14890" y="386057"/>
                    </a:lnTo>
                    <a:lnTo>
                      <a:pt x="0" y="241821"/>
                    </a:lnTo>
                    <a:lnTo>
                      <a:pt x="38286" y="235665"/>
                    </a:lnTo>
                    <a:lnTo>
                      <a:pt x="93099" y="184663"/>
                    </a:lnTo>
                    <a:lnTo>
                      <a:pt x="124899" y="187081"/>
                    </a:lnTo>
                    <a:lnTo>
                      <a:pt x="166741" y="158502"/>
                    </a:lnTo>
                    <a:lnTo>
                      <a:pt x="210884" y="158502"/>
                    </a:lnTo>
                    <a:lnTo>
                      <a:pt x="266116" y="111677"/>
                    </a:lnTo>
                    <a:lnTo>
                      <a:pt x="334946" y="127066"/>
                    </a:lnTo>
                    <a:lnTo>
                      <a:pt x="359005" y="109039"/>
                    </a:lnTo>
                    <a:lnTo>
                      <a:pt x="455660" y="129704"/>
                    </a:lnTo>
                    <a:lnTo>
                      <a:pt x="494364" y="119371"/>
                    </a:lnTo>
                    <a:cubicBezTo>
                      <a:pt x="492899" y="113216"/>
                      <a:pt x="491435" y="107061"/>
                      <a:pt x="489970" y="101125"/>
                    </a:cubicBezTo>
                    <a:cubicBezTo>
                      <a:pt x="478673" y="88814"/>
                      <a:pt x="466957" y="76943"/>
                      <a:pt x="455660" y="64852"/>
                    </a:cubicBezTo>
                    <a:lnTo>
                      <a:pt x="487460" y="24182"/>
                    </a:lnTo>
                    <a:lnTo>
                      <a:pt x="531603" y="24182"/>
                    </a:lnTo>
                    <a:lnTo>
                      <a:pt x="642484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: AM">
                <a:extLst>
                  <a:ext uri="{FF2B5EF4-FFF2-40B4-BE49-F238E27FC236}">
                    <a16:creationId xmlns:a16="http://schemas.microsoft.com/office/drawing/2014/main" id="{9AC3D785-7A47-E345-2024-9E0CBE6858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2110" y="643254"/>
                <a:ext cx="2802584" cy="2004724"/>
              </a:xfrm>
              <a:custGeom>
                <a:avLst/>
                <a:gdLst>
                  <a:gd name="connsiteX0" fmla="*/ 1653415 w 2801965"/>
                  <a:gd name="connsiteY0" fmla="*/ 0 h 2084135"/>
                  <a:gd name="connsiteX1" fmla="*/ 1709707 w 2801965"/>
                  <a:gd name="connsiteY1" fmla="*/ 58830 h 2084135"/>
                  <a:gd name="connsiteX2" fmla="*/ 1798740 w 2801965"/>
                  <a:gd name="connsiteY2" fmla="*/ 234670 h 2084135"/>
                  <a:gd name="connsiteX3" fmla="*/ 1823726 w 2801965"/>
                  <a:gd name="connsiteY3" fmla="*/ 454794 h 2084135"/>
                  <a:gd name="connsiteX4" fmla="*/ 1816833 w 2801965"/>
                  <a:gd name="connsiteY4" fmla="*/ 502553 h 2084135"/>
                  <a:gd name="connsiteX5" fmla="*/ 1802186 w 2801965"/>
                  <a:gd name="connsiteY5" fmla="*/ 514059 h 2084135"/>
                  <a:gd name="connsiteX6" fmla="*/ 1795580 w 2801965"/>
                  <a:gd name="connsiteY6" fmla="*/ 521440 h 2084135"/>
                  <a:gd name="connsiteX7" fmla="*/ 1926545 w 2801965"/>
                  <a:gd name="connsiteY7" fmla="*/ 633239 h 2084135"/>
                  <a:gd name="connsiteX8" fmla="*/ 1951819 w 2801965"/>
                  <a:gd name="connsiteY8" fmla="*/ 614352 h 2084135"/>
                  <a:gd name="connsiteX9" fmla="*/ 1974221 w 2801965"/>
                  <a:gd name="connsiteY9" fmla="*/ 514059 h 2084135"/>
                  <a:gd name="connsiteX10" fmla="*/ 2030513 w 2801965"/>
                  <a:gd name="connsiteY10" fmla="*/ 479759 h 2084135"/>
                  <a:gd name="connsiteX11" fmla="*/ 2063254 w 2801965"/>
                  <a:gd name="connsiteY11" fmla="*/ 495172 h 2084135"/>
                  <a:gd name="connsiteX12" fmla="*/ 2116961 w 2801965"/>
                  <a:gd name="connsiteY12" fmla="*/ 535550 h 2084135"/>
                  <a:gd name="connsiteX13" fmla="*/ 2165785 w 2801965"/>
                  <a:gd name="connsiteY13" fmla="*/ 505810 h 2084135"/>
                  <a:gd name="connsiteX14" fmla="*/ 2176125 w 2801965"/>
                  <a:gd name="connsiteY14" fmla="*/ 442204 h 2084135"/>
                  <a:gd name="connsiteX15" fmla="*/ 2216333 w 2801965"/>
                  <a:gd name="connsiteY15" fmla="*/ 409641 h 2084135"/>
                  <a:gd name="connsiteX16" fmla="*/ 2223800 w 2801965"/>
                  <a:gd name="connsiteY16" fmla="*/ 372736 h 2084135"/>
                  <a:gd name="connsiteX17" fmla="*/ 2272625 w 2801965"/>
                  <a:gd name="connsiteY17" fmla="*/ 342995 h 2084135"/>
                  <a:gd name="connsiteX18" fmla="*/ 2405561 w 2801965"/>
                  <a:gd name="connsiteY18" fmla="*/ 334622 h 2084135"/>
                  <a:gd name="connsiteX19" fmla="*/ 2405944 w 2801965"/>
                  <a:gd name="connsiteY19" fmla="*/ 338336 h 2084135"/>
                  <a:gd name="connsiteX20" fmla="*/ 2422053 w 2801965"/>
                  <a:gd name="connsiteY20" fmla="*/ 488045 h 2084135"/>
                  <a:gd name="connsiteX21" fmla="*/ 2532516 w 2801965"/>
                  <a:gd name="connsiteY21" fmla="*/ 661936 h 2084135"/>
                  <a:gd name="connsiteX22" fmla="*/ 2535142 w 2801965"/>
                  <a:gd name="connsiteY22" fmla="*/ 662304 h 2084135"/>
                  <a:gd name="connsiteX23" fmla="*/ 2537934 w 2801965"/>
                  <a:gd name="connsiteY23" fmla="*/ 666700 h 2084135"/>
                  <a:gd name="connsiteX24" fmla="*/ 2644422 w 2801965"/>
                  <a:gd name="connsiteY24" fmla="*/ 681648 h 2084135"/>
                  <a:gd name="connsiteX25" fmla="*/ 2683126 w 2801965"/>
                  <a:gd name="connsiteY25" fmla="*/ 681648 h 2084135"/>
                  <a:gd name="connsiteX26" fmla="*/ 2765764 w 2801965"/>
                  <a:gd name="connsiteY26" fmla="*/ 739026 h 2084135"/>
                  <a:gd name="connsiteX27" fmla="*/ 2801965 w 2801965"/>
                  <a:gd name="connsiteY27" fmla="*/ 770567 h 2084135"/>
                  <a:gd name="connsiteX28" fmla="*/ 2603229 w 2801965"/>
                  <a:gd name="connsiteY28" fmla="*/ 1238787 h 2084135"/>
                  <a:gd name="connsiteX29" fmla="*/ 2472472 w 2801965"/>
                  <a:gd name="connsiteY29" fmla="*/ 1526554 h 2084135"/>
                  <a:gd name="connsiteX30" fmla="*/ 2512580 w 2801965"/>
                  <a:gd name="connsiteY30" fmla="*/ 1626448 h 2084135"/>
                  <a:gd name="connsiteX31" fmla="*/ 2531620 w 2801965"/>
                  <a:gd name="connsiteY31" fmla="*/ 1656904 h 2084135"/>
                  <a:gd name="connsiteX32" fmla="*/ 2532422 w 2801965"/>
                  <a:gd name="connsiteY32" fmla="*/ 1658849 h 2084135"/>
                  <a:gd name="connsiteX33" fmla="*/ 2469202 w 2801965"/>
                  <a:gd name="connsiteY33" fmla="*/ 1724664 h 2084135"/>
                  <a:gd name="connsiteX34" fmla="*/ 2492807 w 2801965"/>
                  <a:gd name="connsiteY34" fmla="*/ 1767943 h 2084135"/>
                  <a:gd name="connsiteX35" fmla="*/ 2478423 w 2801965"/>
                  <a:gd name="connsiteY35" fmla="*/ 1812309 h 2084135"/>
                  <a:gd name="connsiteX36" fmla="*/ 2451129 w 2801965"/>
                  <a:gd name="connsiteY36" fmla="*/ 1886916 h 2084135"/>
                  <a:gd name="connsiteX37" fmla="*/ 1975894 w 2801965"/>
                  <a:gd name="connsiteY37" fmla="*/ 1895097 h 2084135"/>
                  <a:gd name="connsiteX38" fmla="*/ 1977878 w 2801965"/>
                  <a:gd name="connsiteY38" fmla="*/ 1883622 h 2084135"/>
                  <a:gd name="connsiteX39" fmla="*/ 1971496 w 2801965"/>
                  <a:gd name="connsiteY39" fmla="*/ 1886818 h 2084135"/>
                  <a:gd name="connsiteX40" fmla="*/ 1972460 w 2801965"/>
                  <a:gd name="connsiteY40" fmla="*/ 1881239 h 2084135"/>
                  <a:gd name="connsiteX41" fmla="*/ 1943837 w 2801965"/>
                  <a:gd name="connsiteY41" fmla="*/ 1895572 h 2084135"/>
                  <a:gd name="connsiteX42" fmla="*/ 1909125 w 2801965"/>
                  <a:gd name="connsiteY42" fmla="*/ 1900836 h 2084135"/>
                  <a:gd name="connsiteX43" fmla="*/ 1889332 w 2801965"/>
                  <a:gd name="connsiteY43" fmla="*/ 1898318 h 2084135"/>
                  <a:gd name="connsiteX44" fmla="*/ 1878349 w 2801965"/>
                  <a:gd name="connsiteY44" fmla="*/ 1892666 h 2084135"/>
                  <a:gd name="connsiteX45" fmla="*/ 1867364 w 2801965"/>
                  <a:gd name="connsiteY45" fmla="*/ 1889603 h 2084135"/>
                  <a:gd name="connsiteX46" fmla="*/ 1837224 w 2801965"/>
                  <a:gd name="connsiteY46" fmla="*/ 1871907 h 2084135"/>
                  <a:gd name="connsiteX47" fmla="*/ 1830630 w 2801965"/>
                  <a:gd name="connsiteY47" fmla="*/ 1867855 h 2084135"/>
                  <a:gd name="connsiteX48" fmla="*/ 1784092 w 2801965"/>
                  <a:gd name="connsiteY48" fmla="*/ 1820914 h 2084135"/>
                  <a:gd name="connsiteX49" fmla="*/ 1768892 w 2801965"/>
                  <a:gd name="connsiteY49" fmla="*/ 1820914 h 2084135"/>
                  <a:gd name="connsiteX50" fmla="*/ 1710161 w 2801965"/>
                  <a:gd name="connsiteY50" fmla="*/ 1771438 h 2084135"/>
                  <a:gd name="connsiteX51" fmla="*/ 1634071 w 2801965"/>
                  <a:gd name="connsiteY51" fmla="*/ 1764535 h 2084135"/>
                  <a:gd name="connsiteX52" fmla="*/ 1633187 w 2801965"/>
                  <a:gd name="connsiteY52" fmla="*/ 1765329 h 2084135"/>
                  <a:gd name="connsiteX53" fmla="*/ 1628243 w 2801965"/>
                  <a:gd name="connsiteY53" fmla="*/ 1764880 h 2084135"/>
                  <a:gd name="connsiteX54" fmla="*/ 1613869 w 2801965"/>
                  <a:gd name="connsiteY54" fmla="*/ 1777704 h 2084135"/>
                  <a:gd name="connsiteX55" fmla="*/ 1592746 w 2801965"/>
                  <a:gd name="connsiteY55" fmla="*/ 1788171 h 2084135"/>
                  <a:gd name="connsiteX56" fmla="*/ 1553375 w 2801965"/>
                  <a:gd name="connsiteY56" fmla="*/ 1820514 h 2084135"/>
                  <a:gd name="connsiteX57" fmla="*/ 1563374 w 2801965"/>
                  <a:gd name="connsiteY57" fmla="*/ 1876808 h 2084135"/>
                  <a:gd name="connsiteX58" fmla="*/ 1532252 w 2801965"/>
                  <a:gd name="connsiteY58" fmla="*/ 1906133 h 2084135"/>
                  <a:gd name="connsiteX59" fmla="*/ 1437261 w 2801965"/>
                  <a:gd name="connsiteY59" fmla="*/ 1934233 h 2084135"/>
                  <a:gd name="connsiteX60" fmla="*/ 1393886 w 2801965"/>
                  <a:gd name="connsiteY60" fmla="*/ 1995085 h 2084135"/>
                  <a:gd name="connsiteX61" fmla="*/ 1368346 w 2801965"/>
                  <a:gd name="connsiteY61" fmla="*/ 1995085 h 2084135"/>
                  <a:gd name="connsiteX62" fmla="*/ 1367519 w 2801965"/>
                  <a:gd name="connsiteY62" fmla="*/ 1995430 h 2084135"/>
                  <a:gd name="connsiteX63" fmla="*/ 1362518 w 2801965"/>
                  <a:gd name="connsiteY63" fmla="*/ 1995430 h 2084135"/>
                  <a:gd name="connsiteX64" fmla="*/ 1298382 w 2801965"/>
                  <a:gd name="connsiteY64" fmla="*/ 2022182 h 2084135"/>
                  <a:gd name="connsiteX65" fmla="*/ 1254357 w 2801965"/>
                  <a:gd name="connsiteY65" fmla="*/ 2005174 h 2084135"/>
                  <a:gd name="connsiteX66" fmla="*/ 1208987 w 2801965"/>
                  <a:gd name="connsiteY66" fmla="*/ 2007815 h 2084135"/>
                  <a:gd name="connsiteX67" fmla="*/ 1208980 w 2801965"/>
                  <a:gd name="connsiteY67" fmla="*/ 2007821 h 2084135"/>
                  <a:gd name="connsiteX68" fmla="*/ 1203159 w 2801965"/>
                  <a:gd name="connsiteY68" fmla="*/ 2008160 h 2084135"/>
                  <a:gd name="connsiteX69" fmla="*/ 1116009 w 2801965"/>
                  <a:gd name="connsiteY69" fmla="*/ 2082668 h 2084135"/>
                  <a:gd name="connsiteX70" fmla="*/ 1115891 w 2801965"/>
                  <a:gd name="connsiteY70" fmla="*/ 2082591 h 2084135"/>
                  <a:gd name="connsiteX71" fmla="*/ 1115987 w 2801965"/>
                  <a:gd name="connsiteY71" fmla="*/ 2082687 h 2084135"/>
                  <a:gd name="connsiteX72" fmla="*/ 1114293 w 2801965"/>
                  <a:gd name="connsiteY72" fmla="*/ 2084135 h 2084135"/>
                  <a:gd name="connsiteX73" fmla="*/ 1111929 w 2801965"/>
                  <a:gd name="connsiteY73" fmla="*/ 2081779 h 2084135"/>
                  <a:gd name="connsiteX74" fmla="*/ 749888 w 2801965"/>
                  <a:gd name="connsiteY74" fmla="*/ 1918145 h 2084135"/>
                  <a:gd name="connsiteX75" fmla="*/ 739689 w 2801965"/>
                  <a:gd name="connsiteY75" fmla="*/ 1913161 h 2084135"/>
                  <a:gd name="connsiteX76" fmla="*/ 724151 w 2801965"/>
                  <a:gd name="connsiteY76" fmla="*/ 1904166 h 2084135"/>
                  <a:gd name="connsiteX77" fmla="*/ 725822 w 2801965"/>
                  <a:gd name="connsiteY77" fmla="*/ 1905234 h 2084135"/>
                  <a:gd name="connsiteX78" fmla="*/ 644564 w 2801965"/>
                  <a:gd name="connsiteY78" fmla="*/ 1858749 h 2084135"/>
                  <a:gd name="connsiteX79" fmla="*/ 532540 w 2801965"/>
                  <a:gd name="connsiteY79" fmla="*/ 1784363 h 2084135"/>
                  <a:gd name="connsiteX80" fmla="*/ 180018 w 2801965"/>
                  <a:gd name="connsiteY80" fmla="*/ 1697125 h 2084135"/>
                  <a:gd name="connsiteX81" fmla="*/ 118365 w 2801965"/>
                  <a:gd name="connsiteY81" fmla="*/ 1669759 h 2084135"/>
                  <a:gd name="connsiteX82" fmla="*/ 9838 w 2801965"/>
                  <a:gd name="connsiteY82" fmla="*/ 1617769 h 2084135"/>
                  <a:gd name="connsiteX83" fmla="*/ 5808 w 2801965"/>
                  <a:gd name="connsiteY83" fmla="*/ 1618054 h 2084135"/>
                  <a:gd name="connsiteX84" fmla="*/ 659 w 2801965"/>
                  <a:gd name="connsiteY84" fmla="*/ 1616206 h 2084135"/>
                  <a:gd name="connsiteX85" fmla="*/ 0 w 2801965"/>
                  <a:gd name="connsiteY85" fmla="*/ 1611338 h 2084135"/>
                  <a:gd name="connsiteX86" fmla="*/ 8603 w 2801965"/>
                  <a:gd name="connsiteY86" fmla="*/ 1531539 h 2084135"/>
                  <a:gd name="connsiteX87" fmla="*/ 105965 w 2801965"/>
                  <a:gd name="connsiteY87" fmla="*/ 1472709 h 2084135"/>
                  <a:gd name="connsiteX88" fmla="*/ 134685 w 2801965"/>
                  <a:gd name="connsiteY88" fmla="*/ 1259097 h 2084135"/>
                  <a:gd name="connsiteX89" fmla="*/ 238078 w 2801965"/>
                  <a:gd name="connsiteY89" fmla="*/ 1186590 h 2084135"/>
                  <a:gd name="connsiteX90" fmla="*/ 324526 w 2801965"/>
                  <a:gd name="connsiteY90" fmla="*/ 1143824 h 2084135"/>
                  <a:gd name="connsiteX91" fmla="*/ 401784 w 2801965"/>
                  <a:gd name="connsiteY91" fmla="*/ 1128194 h 2084135"/>
                  <a:gd name="connsiteX92" fmla="*/ 502592 w 2801965"/>
                  <a:gd name="connsiteY92" fmla="*/ 1077179 h 2084135"/>
                  <a:gd name="connsiteX93" fmla="*/ 562043 w 2801965"/>
                  <a:gd name="connsiteY93" fmla="*/ 1090204 h 2084135"/>
                  <a:gd name="connsiteX94" fmla="*/ 577265 w 2801965"/>
                  <a:gd name="connsiteY94" fmla="*/ 1128194 h 2084135"/>
                  <a:gd name="connsiteX95" fmla="*/ 616899 w 2801965"/>
                  <a:gd name="connsiteY95" fmla="*/ 1110610 h 2084135"/>
                  <a:gd name="connsiteX96" fmla="*/ 689849 w 2801965"/>
                  <a:gd name="connsiteY96" fmla="*/ 713561 h 2084135"/>
                  <a:gd name="connsiteX97" fmla="*/ 702486 w 2801965"/>
                  <a:gd name="connsiteY97" fmla="*/ 672097 h 2084135"/>
                  <a:gd name="connsiteX98" fmla="*/ 709666 w 2801965"/>
                  <a:gd name="connsiteY98" fmla="*/ 581572 h 2084135"/>
                  <a:gd name="connsiteX99" fmla="*/ 680371 w 2801965"/>
                  <a:gd name="connsiteY99" fmla="*/ 495389 h 2084135"/>
                  <a:gd name="connsiteX100" fmla="*/ 606273 w 2801965"/>
                  <a:gd name="connsiteY100" fmla="*/ 415502 h 2084135"/>
                  <a:gd name="connsiteX101" fmla="*/ 611729 w 2801965"/>
                  <a:gd name="connsiteY101" fmla="*/ 347771 h 2084135"/>
                  <a:gd name="connsiteX102" fmla="*/ 605411 w 2801965"/>
                  <a:gd name="connsiteY102" fmla="*/ 327799 h 2084135"/>
                  <a:gd name="connsiteX103" fmla="*/ 615750 w 2801965"/>
                  <a:gd name="connsiteY103" fmla="*/ 284816 h 2084135"/>
                  <a:gd name="connsiteX104" fmla="*/ 683530 w 2801965"/>
                  <a:gd name="connsiteY104" fmla="*/ 253339 h 2084135"/>
                  <a:gd name="connsiteX105" fmla="*/ 763085 w 2801965"/>
                  <a:gd name="connsiteY105" fmla="*/ 269837 h 2084135"/>
                  <a:gd name="connsiteX106" fmla="*/ 744130 w 2801965"/>
                  <a:gd name="connsiteY106" fmla="*/ 223598 h 2084135"/>
                  <a:gd name="connsiteX107" fmla="*/ 641599 w 2801965"/>
                  <a:gd name="connsiteY107" fmla="*/ 181918 h 2084135"/>
                  <a:gd name="connsiteX108" fmla="*/ 655672 w 2801965"/>
                  <a:gd name="connsiteY108" fmla="*/ 140672 h 2084135"/>
                  <a:gd name="connsiteX109" fmla="*/ 656820 w 2801965"/>
                  <a:gd name="connsiteY109" fmla="*/ 77717 h 2084135"/>
                  <a:gd name="connsiteX110" fmla="*/ 722303 w 2801965"/>
                  <a:gd name="connsiteY110" fmla="*/ 73809 h 2084135"/>
                  <a:gd name="connsiteX111" fmla="*/ 754182 w 2801965"/>
                  <a:gd name="connsiteY111" fmla="*/ 87486 h 2084135"/>
                  <a:gd name="connsiteX112" fmla="*/ 814782 w 2801965"/>
                  <a:gd name="connsiteY112" fmla="*/ 97037 h 2084135"/>
                  <a:gd name="connsiteX113" fmla="*/ 924493 w 2801965"/>
                  <a:gd name="connsiteY113" fmla="*/ 41898 h 2084135"/>
                  <a:gd name="connsiteX114" fmla="*/ 975328 w 2801965"/>
                  <a:gd name="connsiteY114" fmla="*/ 72072 h 2084135"/>
                  <a:gd name="connsiteX115" fmla="*/ 1062064 w 2801965"/>
                  <a:gd name="connsiteY115" fmla="*/ 23879 h 2084135"/>
                  <a:gd name="connsiteX116" fmla="*/ 1096815 w 2801965"/>
                  <a:gd name="connsiteY116" fmla="*/ 130251 h 2084135"/>
                  <a:gd name="connsiteX117" fmla="*/ 1128695 w 2801965"/>
                  <a:gd name="connsiteY117" fmla="*/ 176491 h 2084135"/>
                  <a:gd name="connsiteX118" fmla="*/ 1193603 w 2801965"/>
                  <a:gd name="connsiteY118" fmla="*/ 258766 h 2084135"/>
                  <a:gd name="connsiteX119" fmla="*/ 1224908 w 2801965"/>
                  <a:gd name="connsiteY119" fmla="*/ 271140 h 2084135"/>
                  <a:gd name="connsiteX120" fmla="*/ 1261670 w 2801965"/>
                  <a:gd name="connsiteY120" fmla="*/ 253339 h 2084135"/>
                  <a:gd name="connsiteX121" fmla="*/ 1276604 w 2801965"/>
                  <a:gd name="connsiteY121" fmla="*/ 247261 h 2084135"/>
                  <a:gd name="connsiteX122" fmla="*/ 1307622 w 2801965"/>
                  <a:gd name="connsiteY122" fmla="*/ 228591 h 2084135"/>
                  <a:gd name="connsiteX123" fmla="*/ 1334907 w 2801965"/>
                  <a:gd name="connsiteY123" fmla="*/ 226855 h 2084135"/>
                  <a:gd name="connsiteX124" fmla="*/ 1353288 w 2801965"/>
                  <a:gd name="connsiteY124" fmla="*/ 252688 h 2084135"/>
                  <a:gd name="connsiteX125" fmla="*/ 1360755 w 2801965"/>
                  <a:gd name="connsiteY125" fmla="*/ 231196 h 2084135"/>
                  <a:gd name="connsiteX126" fmla="*/ 1431694 w 2801965"/>
                  <a:gd name="connsiteY126" fmla="*/ 200587 h 2084135"/>
                  <a:gd name="connsiteX127" fmla="*/ 1474775 w 2801965"/>
                  <a:gd name="connsiteY127" fmla="*/ 162814 h 2084135"/>
                  <a:gd name="connsiteX128" fmla="*/ 1498325 w 2801965"/>
                  <a:gd name="connsiteY128" fmla="*/ 181701 h 2084135"/>
                  <a:gd name="connsiteX129" fmla="*/ 1534513 w 2801965"/>
                  <a:gd name="connsiteY129" fmla="*/ 130251 h 2084135"/>
                  <a:gd name="connsiteX130" fmla="*/ 1538534 w 2801965"/>
                  <a:gd name="connsiteY130" fmla="*/ 96169 h 2084135"/>
                  <a:gd name="connsiteX131" fmla="*/ 1645660 w 2801965"/>
                  <a:gd name="connsiteY131" fmla="*/ 29524 h 2084135"/>
                  <a:gd name="connsiteX132" fmla="*/ 1653415 w 2801965"/>
                  <a:gd name="connsiteY132" fmla="*/ 0 h 2084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</a:cxnLst>
                <a:rect l="l" t="t" r="r" b="b"/>
                <a:pathLst>
                  <a:path w="2801965" h="2084135">
                    <a:moveTo>
                      <a:pt x="1653415" y="0"/>
                    </a:moveTo>
                    <a:lnTo>
                      <a:pt x="1709707" y="58830"/>
                    </a:lnTo>
                    <a:lnTo>
                      <a:pt x="1798740" y="234670"/>
                    </a:lnTo>
                    <a:lnTo>
                      <a:pt x="1823726" y="454794"/>
                    </a:lnTo>
                    <a:cubicBezTo>
                      <a:pt x="1821429" y="470642"/>
                      <a:pt x="1819131" y="486706"/>
                      <a:pt x="1816833" y="502553"/>
                    </a:cubicBezTo>
                    <a:cubicBezTo>
                      <a:pt x="1811951" y="506461"/>
                      <a:pt x="1807069" y="510151"/>
                      <a:pt x="1802186" y="514059"/>
                    </a:cubicBezTo>
                    <a:cubicBezTo>
                      <a:pt x="1799889" y="516447"/>
                      <a:pt x="1797878" y="519052"/>
                      <a:pt x="1795580" y="521440"/>
                    </a:cubicBezTo>
                    <a:lnTo>
                      <a:pt x="1926545" y="633239"/>
                    </a:lnTo>
                    <a:cubicBezTo>
                      <a:pt x="1934874" y="626943"/>
                      <a:pt x="1943490" y="620648"/>
                      <a:pt x="1951819" y="614352"/>
                    </a:cubicBezTo>
                    <a:lnTo>
                      <a:pt x="1974221" y="514059"/>
                    </a:lnTo>
                    <a:lnTo>
                      <a:pt x="2030513" y="479759"/>
                    </a:lnTo>
                    <a:lnTo>
                      <a:pt x="2063254" y="495172"/>
                    </a:lnTo>
                    <a:lnTo>
                      <a:pt x="2116961" y="535550"/>
                    </a:lnTo>
                    <a:lnTo>
                      <a:pt x="2165785" y="505810"/>
                    </a:lnTo>
                    <a:cubicBezTo>
                      <a:pt x="2169232" y="484535"/>
                      <a:pt x="2172678" y="463478"/>
                      <a:pt x="2176125" y="442204"/>
                    </a:cubicBezTo>
                    <a:lnTo>
                      <a:pt x="2216333" y="409641"/>
                    </a:lnTo>
                    <a:cubicBezTo>
                      <a:pt x="2218918" y="397267"/>
                      <a:pt x="2221215" y="385110"/>
                      <a:pt x="2223800" y="372736"/>
                    </a:cubicBezTo>
                    <a:lnTo>
                      <a:pt x="2272625" y="342995"/>
                    </a:lnTo>
                    <a:lnTo>
                      <a:pt x="2405561" y="334622"/>
                    </a:lnTo>
                    <a:lnTo>
                      <a:pt x="2405944" y="338336"/>
                    </a:lnTo>
                    <a:cubicBezTo>
                      <a:pt x="2411383" y="388239"/>
                      <a:pt x="2416823" y="438142"/>
                      <a:pt x="2422053" y="488045"/>
                    </a:cubicBezTo>
                    <a:lnTo>
                      <a:pt x="2532516" y="661936"/>
                    </a:lnTo>
                    <a:lnTo>
                      <a:pt x="2535142" y="662304"/>
                    </a:lnTo>
                    <a:lnTo>
                      <a:pt x="2537934" y="666700"/>
                    </a:lnTo>
                    <a:lnTo>
                      <a:pt x="2644422" y="681648"/>
                    </a:lnTo>
                    <a:lnTo>
                      <a:pt x="2683126" y="681648"/>
                    </a:lnTo>
                    <a:lnTo>
                      <a:pt x="2765764" y="739026"/>
                    </a:lnTo>
                    <a:lnTo>
                      <a:pt x="2801965" y="770567"/>
                    </a:lnTo>
                    <a:lnTo>
                      <a:pt x="2603229" y="1238787"/>
                    </a:lnTo>
                    <a:lnTo>
                      <a:pt x="2472472" y="1526554"/>
                    </a:lnTo>
                    <a:lnTo>
                      <a:pt x="2512580" y="1626448"/>
                    </a:lnTo>
                    <a:lnTo>
                      <a:pt x="2531620" y="1656904"/>
                    </a:lnTo>
                    <a:lnTo>
                      <a:pt x="2532422" y="1658849"/>
                    </a:lnTo>
                    <a:lnTo>
                      <a:pt x="2469202" y="1724664"/>
                    </a:lnTo>
                    <a:cubicBezTo>
                      <a:pt x="2468280" y="1736615"/>
                      <a:pt x="2493729" y="1755992"/>
                      <a:pt x="2492807" y="1767943"/>
                    </a:cubicBezTo>
                    <a:cubicBezTo>
                      <a:pt x="2487828" y="1782792"/>
                      <a:pt x="2483217" y="1797460"/>
                      <a:pt x="2478423" y="1812309"/>
                    </a:cubicBezTo>
                    <a:cubicBezTo>
                      <a:pt x="2473259" y="1838748"/>
                      <a:pt x="2456293" y="1860478"/>
                      <a:pt x="2451129" y="1886916"/>
                    </a:cubicBezTo>
                    <a:lnTo>
                      <a:pt x="1975894" y="1895097"/>
                    </a:lnTo>
                    <a:lnTo>
                      <a:pt x="1977878" y="1883622"/>
                    </a:lnTo>
                    <a:lnTo>
                      <a:pt x="1971496" y="1886818"/>
                    </a:lnTo>
                    <a:lnTo>
                      <a:pt x="1972460" y="1881239"/>
                    </a:lnTo>
                    <a:lnTo>
                      <a:pt x="1943837" y="1895572"/>
                    </a:lnTo>
                    <a:lnTo>
                      <a:pt x="1909125" y="1900836"/>
                    </a:lnTo>
                    <a:lnTo>
                      <a:pt x="1889332" y="1898318"/>
                    </a:lnTo>
                    <a:lnTo>
                      <a:pt x="1878349" y="1892666"/>
                    </a:lnTo>
                    <a:lnTo>
                      <a:pt x="1867364" y="1889603"/>
                    </a:lnTo>
                    <a:cubicBezTo>
                      <a:pt x="1856748" y="1884600"/>
                      <a:pt x="1846878" y="1878255"/>
                      <a:pt x="1837224" y="1871907"/>
                    </a:cubicBezTo>
                    <a:lnTo>
                      <a:pt x="1830630" y="1867855"/>
                    </a:lnTo>
                    <a:lnTo>
                      <a:pt x="1784092" y="1820914"/>
                    </a:lnTo>
                    <a:lnTo>
                      <a:pt x="1768892" y="1820914"/>
                    </a:lnTo>
                    <a:lnTo>
                      <a:pt x="1710161" y="1771438"/>
                    </a:lnTo>
                    <a:lnTo>
                      <a:pt x="1634071" y="1764535"/>
                    </a:lnTo>
                    <a:lnTo>
                      <a:pt x="1633187" y="1765329"/>
                    </a:lnTo>
                    <a:lnTo>
                      <a:pt x="1628243" y="1764880"/>
                    </a:lnTo>
                    <a:cubicBezTo>
                      <a:pt x="1625868" y="1773084"/>
                      <a:pt x="1616369" y="1769501"/>
                      <a:pt x="1613869" y="1777704"/>
                    </a:cubicBezTo>
                    <a:lnTo>
                      <a:pt x="1592746" y="1788171"/>
                    </a:lnTo>
                    <a:lnTo>
                      <a:pt x="1553375" y="1820514"/>
                    </a:lnTo>
                    <a:cubicBezTo>
                      <a:pt x="1556750" y="1839278"/>
                      <a:pt x="1560124" y="1858043"/>
                      <a:pt x="1563374" y="1876808"/>
                    </a:cubicBezTo>
                    <a:lnTo>
                      <a:pt x="1532252" y="1906133"/>
                    </a:lnTo>
                    <a:lnTo>
                      <a:pt x="1437261" y="1934233"/>
                    </a:lnTo>
                    <a:lnTo>
                      <a:pt x="1393886" y="1995085"/>
                    </a:lnTo>
                    <a:lnTo>
                      <a:pt x="1368346" y="1995085"/>
                    </a:lnTo>
                    <a:lnTo>
                      <a:pt x="1367519" y="1995430"/>
                    </a:lnTo>
                    <a:lnTo>
                      <a:pt x="1362518" y="1995430"/>
                    </a:lnTo>
                    <a:lnTo>
                      <a:pt x="1298382" y="2022182"/>
                    </a:lnTo>
                    <a:lnTo>
                      <a:pt x="1254357" y="2005174"/>
                    </a:lnTo>
                    <a:lnTo>
                      <a:pt x="1208987" y="2007815"/>
                    </a:lnTo>
                    <a:lnTo>
                      <a:pt x="1208980" y="2007821"/>
                    </a:lnTo>
                    <a:lnTo>
                      <a:pt x="1203159" y="2008160"/>
                    </a:lnTo>
                    <a:lnTo>
                      <a:pt x="1116009" y="2082668"/>
                    </a:lnTo>
                    <a:lnTo>
                      <a:pt x="1115891" y="2082591"/>
                    </a:lnTo>
                    <a:lnTo>
                      <a:pt x="1115987" y="2082687"/>
                    </a:lnTo>
                    <a:lnTo>
                      <a:pt x="1114293" y="2084135"/>
                    </a:lnTo>
                    <a:lnTo>
                      <a:pt x="1111929" y="2081779"/>
                    </a:lnTo>
                    <a:cubicBezTo>
                      <a:pt x="1052160" y="2033738"/>
                      <a:pt x="828423" y="1954087"/>
                      <a:pt x="749888" y="1918145"/>
                    </a:cubicBezTo>
                    <a:lnTo>
                      <a:pt x="739689" y="1913161"/>
                    </a:lnTo>
                    <a:lnTo>
                      <a:pt x="724151" y="1904166"/>
                    </a:lnTo>
                    <a:lnTo>
                      <a:pt x="725822" y="1905234"/>
                    </a:lnTo>
                    <a:lnTo>
                      <a:pt x="644564" y="1858749"/>
                    </a:lnTo>
                    <a:lnTo>
                      <a:pt x="532540" y="1784363"/>
                    </a:lnTo>
                    <a:lnTo>
                      <a:pt x="180018" y="1697125"/>
                    </a:lnTo>
                    <a:lnTo>
                      <a:pt x="118365" y="1669759"/>
                    </a:lnTo>
                    <a:lnTo>
                      <a:pt x="9838" y="1617769"/>
                    </a:lnTo>
                    <a:lnTo>
                      <a:pt x="5808" y="1618054"/>
                    </a:lnTo>
                    <a:lnTo>
                      <a:pt x="659" y="1616206"/>
                    </a:lnTo>
                    <a:lnTo>
                      <a:pt x="0" y="1611338"/>
                    </a:lnTo>
                    <a:cubicBezTo>
                      <a:pt x="202" y="1582052"/>
                      <a:pt x="10542" y="1554170"/>
                      <a:pt x="8603" y="1531539"/>
                    </a:cubicBezTo>
                    <a:cubicBezTo>
                      <a:pt x="22102" y="1503101"/>
                      <a:pt x="92466" y="1501147"/>
                      <a:pt x="105965" y="1472709"/>
                    </a:cubicBezTo>
                    <a:cubicBezTo>
                      <a:pt x="106826" y="1451435"/>
                      <a:pt x="133824" y="1280371"/>
                      <a:pt x="134685" y="1259097"/>
                    </a:cubicBezTo>
                    <a:lnTo>
                      <a:pt x="238078" y="1186590"/>
                    </a:lnTo>
                    <a:lnTo>
                      <a:pt x="324526" y="1143824"/>
                    </a:lnTo>
                    <a:cubicBezTo>
                      <a:pt x="331994" y="1131450"/>
                      <a:pt x="394317" y="1140568"/>
                      <a:pt x="401784" y="1128194"/>
                    </a:cubicBezTo>
                    <a:lnTo>
                      <a:pt x="502592" y="1077179"/>
                    </a:lnTo>
                    <a:lnTo>
                      <a:pt x="562043" y="1090204"/>
                    </a:lnTo>
                    <a:cubicBezTo>
                      <a:pt x="567213" y="1081521"/>
                      <a:pt x="572095" y="1136877"/>
                      <a:pt x="577265" y="1128194"/>
                    </a:cubicBezTo>
                    <a:cubicBezTo>
                      <a:pt x="585594" y="1111261"/>
                      <a:pt x="608570" y="1127543"/>
                      <a:pt x="616899" y="1110610"/>
                    </a:cubicBezTo>
                    <a:cubicBezTo>
                      <a:pt x="635567" y="947362"/>
                      <a:pt x="671180" y="876809"/>
                      <a:pt x="689849" y="713561"/>
                    </a:cubicBezTo>
                    <a:cubicBezTo>
                      <a:pt x="694157" y="699667"/>
                      <a:pt x="698178" y="685991"/>
                      <a:pt x="702486" y="672097"/>
                    </a:cubicBezTo>
                    <a:cubicBezTo>
                      <a:pt x="704783" y="641922"/>
                      <a:pt x="707368" y="611747"/>
                      <a:pt x="709666" y="581572"/>
                    </a:cubicBezTo>
                    <a:lnTo>
                      <a:pt x="680371" y="495389"/>
                    </a:lnTo>
                    <a:cubicBezTo>
                      <a:pt x="679509" y="452189"/>
                      <a:pt x="607134" y="458702"/>
                      <a:pt x="606273" y="415502"/>
                    </a:cubicBezTo>
                    <a:cubicBezTo>
                      <a:pt x="607996" y="392925"/>
                      <a:pt x="610006" y="370348"/>
                      <a:pt x="611729" y="347771"/>
                    </a:cubicBezTo>
                    <a:cubicBezTo>
                      <a:pt x="609719" y="341042"/>
                      <a:pt x="607421" y="334529"/>
                      <a:pt x="605411" y="327799"/>
                    </a:cubicBezTo>
                    <a:cubicBezTo>
                      <a:pt x="608857" y="320636"/>
                      <a:pt x="612304" y="291980"/>
                      <a:pt x="615750" y="284816"/>
                    </a:cubicBezTo>
                    <a:cubicBezTo>
                      <a:pt x="609719" y="271140"/>
                      <a:pt x="689561" y="267015"/>
                      <a:pt x="683530" y="253339"/>
                    </a:cubicBezTo>
                    <a:lnTo>
                      <a:pt x="763085" y="269837"/>
                    </a:lnTo>
                    <a:lnTo>
                      <a:pt x="744130" y="223598"/>
                    </a:lnTo>
                    <a:cubicBezTo>
                      <a:pt x="745566" y="189950"/>
                      <a:pt x="640163" y="215566"/>
                      <a:pt x="641599" y="181918"/>
                    </a:cubicBezTo>
                    <a:cubicBezTo>
                      <a:pt x="646194" y="168241"/>
                      <a:pt x="651076" y="154348"/>
                      <a:pt x="655672" y="140672"/>
                    </a:cubicBezTo>
                    <a:cubicBezTo>
                      <a:pt x="669457" y="135461"/>
                      <a:pt x="643035" y="82927"/>
                      <a:pt x="656820" y="77717"/>
                    </a:cubicBezTo>
                    <a:cubicBezTo>
                      <a:pt x="654810" y="75546"/>
                      <a:pt x="724313" y="75980"/>
                      <a:pt x="722303" y="73809"/>
                    </a:cubicBezTo>
                    <a:cubicBezTo>
                      <a:pt x="725749" y="64909"/>
                      <a:pt x="750736" y="96386"/>
                      <a:pt x="754182" y="87486"/>
                    </a:cubicBezTo>
                    <a:cubicBezTo>
                      <a:pt x="750449" y="82710"/>
                      <a:pt x="818515" y="101813"/>
                      <a:pt x="814782" y="97037"/>
                    </a:cubicBezTo>
                    <a:lnTo>
                      <a:pt x="924493" y="41898"/>
                    </a:lnTo>
                    <a:lnTo>
                      <a:pt x="975328" y="72072"/>
                    </a:lnTo>
                    <a:cubicBezTo>
                      <a:pt x="980498" y="78151"/>
                      <a:pt x="1056894" y="17801"/>
                      <a:pt x="1062064" y="23879"/>
                    </a:cubicBezTo>
                    <a:cubicBezTo>
                      <a:pt x="1079870" y="72072"/>
                      <a:pt x="1079009" y="82058"/>
                      <a:pt x="1096815" y="130251"/>
                    </a:cubicBezTo>
                    <a:cubicBezTo>
                      <a:pt x="1105144" y="128298"/>
                      <a:pt x="1120366" y="178444"/>
                      <a:pt x="1128695" y="176491"/>
                    </a:cubicBezTo>
                    <a:lnTo>
                      <a:pt x="1193603" y="258766"/>
                    </a:lnTo>
                    <a:cubicBezTo>
                      <a:pt x="1211122" y="246175"/>
                      <a:pt x="1207389" y="283731"/>
                      <a:pt x="1224908" y="271140"/>
                    </a:cubicBezTo>
                    <a:cubicBezTo>
                      <a:pt x="1237258" y="265279"/>
                      <a:pt x="1249320" y="259200"/>
                      <a:pt x="1261670" y="253339"/>
                    </a:cubicBezTo>
                    <a:cubicBezTo>
                      <a:pt x="1266552" y="254424"/>
                      <a:pt x="1271722" y="246175"/>
                      <a:pt x="1276604" y="247261"/>
                    </a:cubicBezTo>
                    <a:cubicBezTo>
                      <a:pt x="1275168" y="263325"/>
                      <a:pt x="1309058" y="212527"/>
                      <a:pt x="1307622" y="228591"/>
                    </a:cubicBezTo>
                    <a:cubicBezTo>
                      <a:pt x="1327727" y="200153"/>
                      <a:pt x="1314802" y="255293"/>
                      <a:pt x="1334907" y="226855"/>
                    </a:cubicBezTo>
                    <a:cubicBezTo>
                      <a:pt x="1340938" y="235538"/>
                      <a:pt x="1347256" y="244004"/>
                      <a:pt x="1353288" y="252688"/>
                    </a:cubicBezTo>
                    <a:cubicBezTo>
                      <a:pt x="1355873" y="245524"/>
                      <a:pt x="1358170" y="238360"/>
                      <a:pt x="1360755" y="231196"/>
                    </a:cubicBezTo>
                    <a:lnTo>
                      <a:pt x="1431694" y="200587"/>
                    </a:lnTo>
                    <a:lnTo>
                      <a:pt x="1474775" y="162814"/>
                    </a:lnTo>
                    <a:cubicBezTo>
                      <a:pt x="1482529" y="169110"/>
                      <a:pt x="1490571" y="175405"/>
                      <a:pt x="1498325" y="181701"/>
                    </a:cubicBezTo>
                    <a:lnTo>
                      <a:pt x="1534513" y="130251"/>
                    </a:lnTo>
                    <a:cubicBezTo>
                      <a:pt x="1535949" y="118963"/>
                      <a:pt x="1537098" y="107457"/>
                      <a:pt x="1538534" y="96169"/>
                    </a:cubicBezTo>
                    <a:lnTo>
                      <a:pt x="1645660" y="29524"/>
                    </a:lnTo>
                    <a:cubicBezTo>
                      <a:pt x="1648245" y="19755"/>
                      <a:pt x="1650830" y="9769"/>
                      <a:pt x="165341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: AC">
                <a:extLst>
                  <a:ext uri="{FF2B5EF4-FFF2-40B4-BE49-F238E27FC236}">
                    <a16:creationId xmlns:a16="http://schemas.microsoft.com/office/drawing/2014/main" id="{D5F6E62C-10B3-D6F9-B5E9-CE70A953AD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1394" y="2199656"/>
                <a:ext cx="1147725" cy="633479"/>
              </a:xfrm>
              <a:custGeom>
                <a:avLst/>
                <a:gdLst>
                  <a:gd name="connsiteX0" fmla="*/ 26519 w 1147471"/>
                  <a:gd name="connsiteY0" fmla="*/ 0 h 658572"/>
                  <a:gd name="connsiteX1" fmla="*/ 32520 w 1147471"/>
                  <a:gd name="connsiteY1" fmla="*/ 2155 h 658572"/>
                  <a:gd name="connsiteX2" fmla="*/ 29100 w 1147471"/>
                  <a:gd name="connsiteY2" fmla="*/ 2889 h 658572"/>
                  <a:gd name="connsiteX3" fmla="*/ 139076 w 1147471"/>
                  <a:gd name="connsiteY3" fmla="*/ 51705 h 658572"/>
                  <a:gd name="connsiteX4" fmla="*/ 206147 w 1147471"/>
                  <a:gd name="connsiteY4" fmla="*/ 83835 h 658572"/>
                  <a:gd name="connsiteX5" fmla="*/ 558669 w 1147471"/>
                  <a:gd name="connsiteY5" fmla="*/ 171073 h 658572"/>
                  <a:gd name="connsiteX6" fmla="*/ 670693 w 1147471"/>
                  <a:gd name="connsiteY6" fmla="*/ 245459 h 658572"/>
                  <a:gd name="connsiteX7" fmla="*/ 751951 w 1147471"/>
                  <a:gd name="connsiteY7" fmla="*/ 291944 h 658572"/>
                  <a:gd name="connsiteX8" fmla="*/ 750280 w 1147471"/>
                  <a:gd name="connsiteY8" fmla="*/ 290876 h 658572"/>
                  <a:gd name="connsiteX9" fmla="*/ 765818 w 1147471"/>
                  <a:gd name="connsiteY9" fmla="*/ 299871 h 658572"/>
                  <a:gd name="connsiteX10" fmla="*/ 776017 w 1147471"/>
                  <a:gd name="connsiteY10" fmla="*/ 304855 h 658572"/>
                  <a:gd name="connsiteX11" fmla="*/ 1108562 w 1147471"/>
                  <a:gd name="connsiteY11" fmla="*/ 449139 h 658572"/>
                  <a:gd name="connsiteX12" fmla="*/ 1134736 w 1147471"/>
                  <a:gd name="connsiteY12" fmla="*/ 466310 h 658572"/>
                  <a:gd name="connsiteX13" fmla="*/ 1132878 w 1147471"/>
                  <a:gd name="connsiteY13" fmla="*/ 467899 h 658572"/>
                  <a:gd name="connsiteX14" fmla="*/ 1141032 w 1147471"/>
                  <a:gd name="connsiteY14" fmla="*/ 472089 h 658572"/>
                  <a:gd name="connsiteX15" fmla="*/ 1143987 w 1147471"/>
                  <a:gd name="connsiteY15" fmla="*/ 475033 h 658572"/>
                  <a:gd name="connsiteX16" fmla="*/ 1147429 w 1147471"/>
                  <a:gd name="connsiteY16" fmla="*/ 484762 h 658572"/>
                  <a:gd name="connsiteX17" fmla="*/ 1133528 w 1147471"/>
                  <a:gd name="connsiteY17" fmla="*/ 491754 h 658572"/>
                  <a:gd name="connsiteX18" fmla="*/ 1051740 w 1147471"/>
                  <a:gd name="connsiteY18" fmla="*/ 526383 h 658572"/>
                  <a:gd name="connsiteX19" fmla="*/ 988835 w 1147471"/>
                  <a:gd name="connsiteY19" fmla="*/ 586850 h 658572"/>
                  <a:gd name="connsiteX20" fmla="*/ 918748 w 1147471"/>
                  <a:gd name="connsiteY20" fmla="*/ 575862 h 658572"/>
                  <a:gd name="connsiteX21" fmla="*/ 911681 w 1147471"/>
                  <a:gd name="connsiteY21" fmla="*/ 604298 h 658572"/>
                  <a:gd name="connsiteX22" fmla="*/ 862794 w 1147471"/>
                  <a:gd name="connsiteY22" fmla="*/ 658572 h 658572"/>
                  <a:gd name="connsiteX23" fmla="*/ 765714 w 1147471"/>
                  <a:gd name="connsiteY23" fmla="*/ 619881 h 658572"/>
                  <a:gd name="connsiteX24" fmla="*/ 730149 w 1147471"/>
                  <a:gd name="connsiteY24" fmla="*/ 632334 h 658572"/>
                  <a:gd name="connsiteX25" fmla="*/ 637008 w 1147471"/>
                  <a:gd name="connsiteY25" fmla="*/ 606362 h 658572"/>
                  <a:gd name="connsiteX26" fmla="*/ 587889 w 1147471"/>
                  <a:gd name="connsiteY26" fmla="*/ 630270 h 658572"/>
                  <a:gd name="connsiteX27" fmla="*/ 512241 w 1147471"/>
                  <a:gd name="connsiteY27" fmla="*/ 621479 h 658572"/>
                  <a:gd name="connsiteX28" fmla="*/ 520466 w 1147471"/>
                  <a:gd name="connsiteY28" fmla="*/ 405915 h 658572"/>
                  <a:gd name="connsiteX29" fmla="*/ 528228 w 1147471"/>
                  <a:gd name="connsiteY29" fmla="*/ 365758 h 658572"/>
                  <a:gd name="connsiteX30" fmla="*/ 534484 w 1147471"/>
                  <a:gd name="connsiteY30" fmla="*/ 334859 h 658572"/>
                  <a:gd name="connsiteX31" fmla="*/ 406821 w 1147471"/>
                  <a:gd name="connsiteY31" fmla="*/ 464850 h 658572"/>
                  <a:gd name="connsiteX32" fmla="*/ 272323 w 1147471"/>
                  <a:gd name="connsiteY32" fmla="*/ 465716 h 658572"/>
                  <a:gd name="connsiteX33" fmla="*/ 259927 w 1147471"/>
                  <a:gd name="connsiteY33" fmla="*/ 362961 h 658572"/>
                  <a:gd name="connsiteX34" fmla="*/ 129136 w 1147471"/>
                  <a:gd name="connsiteY34" fmla="*/ 353638 h 658572"/>
                  <a:gd name="connsiteX35" fmla="*/ 121953 w 1147471"/>
                  <a:gd name="connsiteY35" fmla="*/ 344182 h 658572"/>
                  <a:gd name="connsiteX36" fmla="*/ 150220 w 1147471"/>
                  <a:gd name="connsiteY36" fmla="*/ 296434 h 658572"/>
                  <a:gd name="connsiteX37" fmla="*/ 134928 w 1147471"/>
                  <a:gd name="connsiteY37" fmla="*/ 242959 h 658572"/>
                  <a:gd name="connsiteX38" fmla="*/ 55457 w 1147471"/>
                  <a:gd name="connsiteY38" fmla="*/ 201538 h 658572"/>
                  <a:gd name="connsiteX39" fmla="*/ 26032 w 1147471"/>
                  <a:gd name="connsiteY39" fmla="*/ 128018 h 658572"/>
                  <a:gd name="connsiteX40" fmla="*/ 0 w 1147471"/>
                  <a:gd name="connsiteY40" fmla="*/ 55336 h 658572"/>
                  <a:gd name="connsiteX41" fmla="*/ 4936 w 1147471"/>
                  <a:gd name="connsiteY41" fmla="*/ 37868 h 658572"/>
                  <a:gd name="connsiteX42" fmla="*/ 12781 w 1147471"/>
                  <a:gd name="connsiteY42" fmla="*/ 973 h 658572"/>
                  <a:gd name="connsiteX43" fmla="*/ 26519 w 1147471"/>
                  <a:gd name="connsiteY43" fmla="*/ 0 h 65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147471" h="658572">
                    <a:moveTo>
                      <a:pt x="26519" y="0"/>
                    </a:moveTo>
                    <a:lnTo>
                      <a:pt x="32520" y="2155"/>
                    </a:lnTo>
                    <a:lnTo>
                      <a:pt x="29100" y="2889"/>
                    </a:lnTo>
                    <a:lnTo>
                      <a:pt x="139076" y="51705"/>
                    </a:lnTo>
                    <a:lnTo>
                      <a:pt x="206147" y="83835"/>
                    </a:lnTo>
                    <a:lnTo>
                      <a:pt x="558669" y="171073"/>
                    </a:lnTo>
                    <a:lnTo>
                      <a:pt x="670693" y="245459"/>
                    </a:lnTo>
                    <a:lnTo>
                      <a:pt x="751951" y="291944"/>
                    </a:lnTo>
                    <a:lnTo>
                      <a:pt x="750280" y="290876"/>
                    </a:lnTo>
                    <a:lnTo>
                      <a:pt x="765818" y="299871"/>
                    </a:lnTo>
                    <a:lnTo>
                      <a:pt x="776017" y="304855"/>
                    </a:lnTo>
                    <a:cubicBezTo>
                      <a:pt x="844735" y="336304"/>
                      <a:pt x="1024623" y="401218"/>
                      <a:pt x="1108562" y="449139"/>
                    </a:cubicBezTo>
                    <a:lnTo>
                      <a:pt x="1134736" y="466310"/>
                    </a:lnTo>
                    <a:lnTo>
                      <a:pt x="1132878" y="467899"/>
                    </a:lnTo>
                    <a:lnTo>
                      <a:pt x="1141032" y="472089"/>
                    </a:lnTo>
                    <a:lnTo>
                      <a:pt x="1143987" y="475033"/>
                    </a:lnTo>
                    <a:cubicBezTo>
                      <a:pt x="1146511" y="478554"/>
                      <a:pt x="1147718" y="481811"/>
                      <a:pt x="1147429" y="484762"/>
                    </a:cubicBezTo>
                    <a:cubicBezTo>
                      <a:pt x="1142795" y="487159"/>
                      <a:pt x="1138161" y="489357"/>
                      <a:pt x="1133528" y="491754"/>
                    </a:cubicBezTo>
                    <a:lnTo>
                      <a:pt x="1051740" y="526383"/>
                    </a:lnTo>
                    <a:lnTo>
                      <a:pt x="988835" y="586850"/>
                    </a:lnTo>
                    <a:lnTo>
                      <a:pt x="918748" y="575862"/>
                    </a:lnTo>
                    <a:cubicBezTo>
                      <a:pt x="916315" y="585319"/>
                      <a:pt x="914114" y="594842"/>
                      <a:pt x="911681" y="604298"/>
                    </a:cubicBezTo>
                    <a:lnTo>
                      <a:pt x="862794" y="658572"/>
                    </a:lnTo>
                    <a:lnTo>
                      <a:pt x="765714" y="619881"/>
                    </a:lnTo>
                    <a:lnTo>
                      <a:pt x="730149" y="632334"/>
                    </a:lnTo>
                    <a:lnTo>
                      <a:pt x="637008" y="606362"/>
                    </a:lnTo>
                    <a:lnTo>
                      <a:pt x="587889" y="630270"/>
                    </a:lnTo>
                    <a:lnTo>
                      <a:pt x="512241" y="621479"/>
                    </a:lnTo>
                    <a:cubicBezTo>
                      <a:pt x="522204" y="554419"/>
                      <a:pt x="510619" y="473041"/>
                      <a:pt x="520466" y="405915"/>
                    </a:cubicBezTo>
                    <a:cubicBezTo>
                      <a:pt x="523942" y="389333"/>
                      <a:pt x="524869" y="382340"/>
                      <a:pt x="528228" y="365758"/>
                    </a:cubicBezTo>
                    <a:cubicBezTo>
                      <a:pt x="522436" y="353905"/>
                      <a:pt x="540276" y="346712"/>
                      <a:pt x="534484" y="334859"/>
                    </a:cubicBezTo>
                    <a:lnTo>
                      <a:pt x="406821" y="464850"/>
                    </a:lnTo>
                    <a:lnTo>
                      <a:pt x="272323" y="465716"/>
                    </a:lnTo>
                    <a:cubicBezTo>
                      <a:pt x="255409" y="430687"/>
                      <a:pt x="276841" y="397990"/>
                      <a:pt x="259927" y="362961"/>
                    </a:cubicBezTo>
                    <a:lnTo>
                      <a:pt x="129136" y="353638"/>
                    </a:lnTo>
                    <a:cubicBezTo>
                      <a:pt x="126819" y="350575"/>
                      <a:pt x="124502" y="347312"/>
                      <a:pt x="121953" y="344182"/>
                    </a:cubicBezTo>
                    <a:lnTo>
                      <a:pt x="150220" y="296434"/>
                    </a:lnTo>
                    <a:cubicBezTo>
                      <a:pt x="145239" y="278653"/>
                      <a:pt x="140025" y="260740"/>
                      <a:pt x="134928" y="242959"/>
                    </a:cubicBezTo>
                    <a:lnTo>
                      <a:pt x="55457" y="201538"/>
                    </a:lnTo>
                    <a:lnTo>
                      <a:pt x="26032" y="128018"/>
                    </a:lnTo>
                    <a:lnTo>
                      <a:pt x="0" y="55336"/>
                    </a:lnTo>
                    <a:lnTo>
                      <a:pt x="4936" y="37868"/>
                    </a:lnTo>
                    <a:cubicBezTo>
                      <a:pt x="6076" y="29130"/>
                      <a:pt x="1273" y="7952"/>
                      <a:pt x="12781" y="973"/>
                    </a:cubicBezTo>
                    <a:lnTo>
                      <a:pt x="26519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: RO">
                <a:extLst>
                  <a:ext uri="{FF2B5EF4-FFF2-40B4-BE49-F238E27FC236}">
                    <a16:creationId xmlns:a16="http://schemas.microsoft.com/office/drawing/2014/main" id="{0C1A34D9-DF11-852D-5513-C54769641A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343" y="2341319"/>
                <a:ext cx="1106674" cy="902012"/>
              </a:xfrm>
              <a:custGeom>
                <a:avLst/>
                <a:gdLst>
                  <a:gd name="connsiteX0" fmla="*/ 517200 w 1106429"/>
                  <a:gd name="connsiteY0" fmla="*/ 0 h 937742"/>
                  <a:gd name="connsiteX1" fmla="*/ 591248 w 1106429"/>
                  <a:gd name="connsiteY1" fmla="*/ 6717 h 937742"/>
                  <a:gd name="connsiteX2" fmla="*/ 593764 w 1106429"/>
                  <a:gd name="connsiteY2" fmla="*/ 8837 h 937742"/>
                  <a:gd name="connsiteX3" fmla="*/ 596666 w 1106429"/>
                  <a:gd name="connsiteY3" fmla="*/ 9100 h 937742"/>
                  <a:gd name="connsiteX4" fmla="*/ 651847 w 1106429"/>
                  <a:gd name="connsiteY4" fmla="*/ 55585 h 937742"/>
                  <a:gd name="connsiteX5" fmla="*/ 652905 w 1106429"/>
                  <a:gd name="connsiteY5" fmla="*/ 55585 h 937742"/>
                  <a:gd name="connsiteX6" fmla="*/ 692398 w 1106429"/>
                  <a:gd name="connsiteY6" fmla="*/ 88854 h 937742"/>
                  <a:gd name="connsiteX7" fmla="*/ 714643 w 1106429"/>
                  <a:gd name="connsiteY7" fmla="*/ 102526 h 937742"/>
                  <a:gd name="connsiteX8" fmla="*/ 719800 w 1106429"/>
                  <a:gd name="connsiteY8" fmla="*/ 107727 h 937742"/>
                  <a:gd name="connsiteX9" fmla="*/ 726245 w 1106429"/>
                  <a:gd name="connsiteY9" fmla="*/ 111688 h 937742"/>
                  <a:gd name="connsiteX10" fmla="*/ 761952 w 1106429"/>
                  <a:gd name="connsiteY10" fmla="*/ 130065 h 937742"/>
                  <a:gd name="connsiteX11" fmla="*/ 785583 w 1106429"/>
                  <a:gd name="connsiteY11" fmla="*/ 136653 h 937742"/>
                  <a:gd name="connsiteX12" fmla="*/ 793138 w 1106429"/>
                  <a:gd name="connsiteY12" fmla="*/ 135507 h 937742"/>
                  <a:gd name="connsiteX13" fmla="*/ 801136 w 1106429"/>
                  <a:gd name="connsiteY13" fmla="*/ 136525 h 937742"/>
                  <a:gd name="connsiteX14" fmla="*/ 830092 w 1106429"/>
                  <a:gd name="connsiteY14" fmla="*/ 130628 h 937742"/>
                  <a:gd name="connsiteX15" fmla="*/ 829905 w 1106429"/>
                  <a:gd name="connsiteY15" fmla="*/ 131699 h 937742"/>
                  <a:gd name="connsiteX16" fmla="*/ 829442 w 1106429"/>
                  <a:gd name="connsiteY16" fmla="*/ 131707 h 937742"/>
                  <a:gd name="connsiteX17" fmla="*/ 819483 w 1106429"/>
                  <a:gd name="connsiteY17" fmla="*/ 188568 h 937742"/>
                  <a:gd name="connsiteX18" fmla="*/ 834052 w 1106429"/>
                  <a:gd name="connsiteY18" fmla="*/ 295952 h 937742"/>
                  <a:gd name="connsiteX19" fmla="*/ 835896 w 1106429"/>
                  <a:gd name="connsiteY19" fmla="*/ 401344 h 937742"/>
                  <a:gd name="connsiteX20" fmla="*/ 819483 w 1106429"/>
                  <a:gd name="connsiteY20" fmla="*/ 501846 h 937742"/>
                  <a:gd name="connsiteX21" fmla="*/ 945068 w 1106429"/>
                  <a:gd name="connsiteY21" fmla="*/ 492792 h 937742"/>
                  <a:gd name="connsiteX22" fmla="*/ 1039118 w 1106429"/>
                  <a:gd name="connsiteY22" fmla="*/ 510900 h 937742"/>
                  <a:gd name="connsiteX23" fmla="*/ 1080559 w 1106429"/>
                  <a:gd name="connsiteY23" fmla="*/ 542375 h 937742"/>
                  <a:gd name="connsiteX24" fmla="*/ 1090838 w 1106429"/>
                  <a:gd name="connsiteY24" fmla="*/ 550443 h 937742"/>
                  <a:gd name="connsiteX25" fmla="*/ 1080787 w 1106429"/>
                  <a:gd name="connsiteY25" fmla="*/ 567771 h 937742"/>
                  <a:gd name="connsiteX26" fmla="*/ 1068708 w 1106429"/>
                  <a:gd name="connsiteY26" fmla="*/ 588595 h 937742"/>
                  <a:gd name="connsiteX27" fmla="*/ 1068485 w 1106429"/>
                  <a:gd name="connsiteY27" fmla="*/ 591083 h 937742"/>
                  <a:gd name="connsiteX28" fmla="*/ 1067518 w 1106429"/>
                  <a:gd name="connsiteY28" fmla="*/ 592751 h 937742"/>
                  <a:gd name="connsiteX29" fmla="*/ 1063645 w 1106429"/>
                  <a:gd name="connsiteY29" fmla="*/ 632952 h 937742"/>
                  <a:gd name="connsiteX30" fmla="*/ 1106429 w 1106429"/>
                  <a:gd name="connsiteY30" fmla="*/ 709189 h 937742"/>
                  <a:gd name="connsiteX31" fmla="*/ 1104299 w 1106429"/>
                  <a:gd name="connsiteY31" fmla="*/ 725666 h 937742"/>
                  <a:gd name="connsiteX32" fmla="*/ 1098053 w 1106429"/>
                  <a:gd name="connsiteY32" fmla="*/ 743016 h 937742"/>
                  <a:gd name="connsiteX33" fmla="*/ 1083092 w 1106429"/>
                  <a:gd name="connsiteY33" fmla="*/ 773665 h 937742"/>
                  <a:gd name="connsiteX34" fmla="*/ 1075900 w 1106429"/>
                  <a:gd name="connsiteY34" fmla="*/ 768594 h 937742"/>
                  <a:gd name="connsiteX35" fmla="*/ 1053033 w 1106429"/>
                  <a:gd name="connsiteY35" fmla="*/ 826360 h 937742"/>
                  <a:gd name="connsiteX36" fmla="*/ 1012278 w 1106429"/>
                  <a:gd name="connsiteY36" fmla="*/ 883402 h 937742"/>
                  <a:gd name="connsiteX37" fmla="*/ 979498 w 1106429"/>
                  <a:gd name="connsiteY37" fmla="*/ 925277 h 937742"/>
                  <a:gd name="connsiteX38" fmla="*/ 968499 w 1106429"/>
                  <a:gd name="connsiteY38" fmla="*/ 936763 h 937742"/>
                  <a:gd name="connsiteX39" fmla="*/ 966970 w 1106429"/>
                  <a:gd name="connsiteY39" fmla="*/ 937722 h 937742"/>
                  <a:gd name="connsiteX40" fmla="*/ 959478 w 1106429"/>
                  <a:gd name="connsiteY40" fmla="*/ 935561 h 937742"/>
                  <a:gd name="connsiteX41" fmla="*/ 957877 w 1106429"/>
                  <a:gd name="connsiteY41" fmla="*/ 936566 h 937742"/>
                  <a:gd name="connsiteX42" fmla="*/ 914752 w 1106429"/>
                  <a:gd name="connsiteY42" fmla="*/ 918740 h 937742"/>
                  <a:gd name="connsiteX43" fmla="*/ 806262 w 1106429"/>
                  <a:gd name="connsiteY43" fmla="*/ 929300 h 937742"/>
                  <a:gd name="connsiteX44" fmla="*/ 747893 w 1106429"/>
                  <a:gd name="connsiteY44" fmla="*/ 861314 h 937742"/>
                  <a:gd name="connsiteX45" fmla="*/ 694648 w 1106429"/>
                  <a:gd name="connsiteY45" fmla="*/ 854242 h 937742"/>
                  <a:gd name="connsiteX46" fmla="*/ 626905 w 1106429"/>
                  <a:gd name="connsiteY46" fmla="*/ 815581 h 937742"/>
                  <a:gd name="connsiteX47" fmla="*/ 602907 w 1106429"/>
                  <a:gd name="connsiteY47" fmla="*/ 787387 h 937742"/>
                  <a:gd name="connsiteX48" fmla="*/ 583159 w 1106429"/>
                  <a:gd name="connsiteY48" fmla="*/ 787387 h 937742"/>
                  <a:gd name="connsiteX49" fmla="*/ 566036 w 1106429"/>
                  <a:gd name="connsiteY49" fmla="*/ 790405 h 937742"/>
                  <a:gd name="connsiteX50" fmla="*/ 522665 w 1106429"/>
                  <a:gd name="connsiteY50" fmla="*/ 756812 h 937742"/>
                  <a:gd name="connsiteX51" fmla="*/ 459723 w 1106429"/>
                  <a:gd name="connsiteY51" fmla="*/ 741085 h 937742"/>
                  <a:gd name="connsiteX52" fmla="*/ 420844 w 1106429"/>
                  <a:gd name="connsiteY52" fmla="*/ 740780 h 937742"/>
                  <a:gd name="connsiteX53" fmla="*/ 372929 w 1106429"/>
                  <a:gd name="connsiteY53" fmla="*/ 709217 h 937742"/>
                  <a:gd name="connsiteX54" fmla="*/ 336058 w 1106429"/>
                  <a:gd name="connsiteY54" fmla="*/ 698373 h 937742"/>
                  <a:gd name="connsiteX55" fmla="*/ 278063 w 1106429"/>
                  <a:gd name="connsiteY55" fmla="*/ 653018 h 937742"/>
                  <a:gd name="connsiteX56" fmla="*/ 234692 w 1106429"/>
                  <a:gd name="connsiteY56" fmla="*/ 541845 h 937742"/>
                  <a:gd name="connsiteX57" fmla="*/ 244441 w 1106429"/>
                  <a:gd name="connsiteY57" fmla="*/ 510728 h 937742"/>
                  <a:gd name="connsiteX58" fmla="*/ 220444 w 1106429"/>
                  <a:gd name="connsiteY58" fmla="*/ 443213 h 937742"/>
                  <a:gd name="connsiteX59" fmla="*/ 240067 w 1106429"/>
                  <a:gd name="connsiteY59" fmla="*/ 371926 h 937742"/>
                  <a:gd name="connsiteX60" fmla="*/ 230443 w 1106429"/>
                  <a:gd name="connsiteY60" fmla="*/ 311106 h 937742"/>
                  <a:gd name="connsiteX61" fmla="*/ 213569 w 1106429"/>
                  <a:gd name="connsiteY61" fmla="*/ 260470 h 937742"/>
                  <a:gd name="connsiteX62" fmla="*/ 170074 w 1106429"/>
                  <a:gd name="connsiteY62" fmla="*/ 279046 h 937742"/>
                  <a:gd name="connsiteX63" fmla="*/ 70208 w 1106429"/>
                  <a:gd name="connsiteY63" fmla="*/ 298188 h 937742"/>
                  <a:gd name="connsiteX64" fmla="*/ 12826 w 1106429"/>
                  <a:gd name="connsiteY64" fmla="*/ 326238 h 937742"/>
                  <a:gd name="connsiteX65" fmla="*/ 4744 w 1106429"/>
                  <a:gd name="connsiteY65" fmla="*/ 322086 h 937742"/>
                  <a:gd name="connsiteX66" fmla="*/ 0 w 1106429"/>
                  <a:gd name="connsiteY66" fmla="*/ 317358 h 937742"/>
                  <a:gd name="connsiteX67" fmla="*/ 22 w 1106429"/>
                  <a:gd name="connsiteY67" fmla="*/ 317339 h 937742"/>
                  <a:gd name="connsiteX68" fmla="*/ 1770 w 1106429"/>
                  <a:gd name="connsiteY68" fmla="*/ 318486 h 937742"/>
                  <a:gd name="connsiteX69" fmla="*/ 2848 w 1106429"/>
                  <a:gd name="connsiteY69" fmla="*/ 319561 h 937742"/>
                  <a:gd name="connsiteX70" fmla="*/ 92993 w 1106429"/>
                  <a:gd name="connsiteY70" fmla="*/ 242492 h 937742"/>
                  <a:gd name="connsiteX71" fmla="*/ 132542 w 1106429"/>
                  <a:gd name="connsiteY71" fmla="*/ 240190 h 937742"/>
                  <a:gd name="connsiteX72" fmla="*/ 179163 w 1106429"/>
                  <a:gd name="connsiteY72" fmla="*/ 258201 h 937742"/>
                  <a:gd name="connsiteX73" fmla="*/ 182395 w 1106429"/>
                  <a:gd name="connsiteY73" fmla="*/ 256853 h 937742"/>
                  <a:gd name="connsiteX74" fmla="*/ 184991 w 1106429"/>
                  <a:gd name="connsiteY74" fmla="*/ 257856 h 937742"/>
                  <a:gd name="connsiteX75" fmla="*/ 251532 w 1106429"/>
                  <a:gd name="connsiteY75" fmla="*/ 230101 h 937742"/>
                  <a:gd name="connsiteX76" fmla="*/ 277653 w 1106429"/>
                  <a:gd name="connsiteY76" fmla="*/ 230101 h 937742"/>
                  <a:gd name="connsiteX77" fmla="*/ 277899 w 1106429"/>
                  <a:gd name="connsiteY77" fmla="*/ 229756 h 937742"/>
                  <a:gd name="connsiteX78" fmla="*/ 283481 w 1106429"/>
                  <a:gd name="connsiteY78" fmla="*/ 229756 h 937742"/>
                  <a:gd name="connsiteX79" fmla="*/ 327102 w 1106429"/>
                  <a:gd name="connsiteY79" fmla="*/ 168559 h 937742"/>
                  <a:gd name="connsiteX80" fmla="*/ 422093 w 1106429"/>
                  <a:gd name="connsiteY80" fmla="*/ 140459 h 937742"/>
                  <a:gd name="connsiteX81" fmla="*/ 453215 w 1106429"/>
                  <a:gd name="connsiteY81" fmla="*/ 111134 h 937742"/>
                  <a:gd name="connsiteX82" fmla="*/ 443216 w 1106429"/>
                  <a:gd name="connsiteY82" fmla="*/ 54840 h 937742"/>
                  <a:gd name="connsiteX83" fmla="*/ 482587 w 1106429"/>
                  <a:gd name="connsiteY83" fmla="*/ 22497 h 937742"/>
                  <a:gd name="connsiteX84" fmla="*/ 503710 w 1106429"/>
                  <a:gd name="connsiteY84" fmla="*/ 12030 h 937742"/>
                  <a:gd name="connsiteX85" fmla="*/ 510944 w 1106429"/>
                  <a:gd name="connsiteY85" fmla="*/ 5618 h 937742"/>
                  <a:gd name="connsiteX86" fmla="*/ 517200 w 1106429"/>
                  <a:gd name="connsiteY86" fmla="*/ 0 h 937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106429" h="937742">
                    <a:moveTo>
                      <a:pt x="517200" y="0"/>
                    </a:moveTo>
                    <a:lnTo>
                      <a:pt x="591248" y="6717"/>
                    </a:lnTo>
                    <a:lnTo>
                      <a:pt x="593764" y="8837"/>
                    </a:lnTo>
                    <a:lnTo>
                      <a:pt x="596666" y="9100"/>
                    </a:lnTo>
                    <a:lnTo>
                      <a:pt x="651847" y="55585"/>
                    </a:lnTo>
                    <a:lnTo>
                      <a:pt x="652905" y="55585"/>
                    </a:lnTo>
                    <a:lnTo>
                      <a:pt x="692398" y="88854"/>
                    </a:lnTo>
                    <a:lnTo>
                      <a:pt x="714643" y="102526"/>
                    </a:lnTo>
                    <a:lnTo>
                      <a:pt x="719800" y="107727"/>
                    </a:lnTo>
                    <a:lnTo>
                      <a:pt x="726245" y="111688"/>
                    </a:lnTo>
                    <a:lnTo>
                      <a:pt x="761952" y="130065"/>
                    </a:lnTo>
                    <a:lnTo>
                      <a:pt x="785583" y="136653"/>
                    </a:lnTo>
                    <a:lnTo>
                      <a:pt x="793138" y="135507"/>
                    </a:lnTo>
                    <a:lnTo>
                      <a:pt x="801136" y="136525"/>
                    </a:lnTo>
                    <a:lnTo>
                      <a:pt x="830092" y="130628"/>
                    </a:lnTo>
                    <a:lnTo>
                      <a:pt x="829905" y="131699"/>
                    </a:lnTo>
                    <a:lnTo>
                      <a:pt x="829442" y="131707"/>
                    </a:lnTo>
                    <a:cubicBezTo>
                      <a:pt x="826122" y="150721"/>
                      <a:pt x="822803" y="169554"/>
                      <a:pt x="819483" y="188568"/>
                    </a:cubicBezTo>
                    <a:cubicBezTo>
                      <a:pt x="824278" y="224423"/>
                      <a:pt x="829073" y="260278"/>
                      <a:pt x="834052" y="295952"/>
                    </a:cubicBezTo>
                    <a:cubicBezTo>
                      <a:pt x="824278" y="324745"/>
                      <a:pt x="845485" y="372551"/>
                      <a:pt x="835896" y="401344"/>
                    </a:cubicBezTo>
                    <a:cubicBezTo>
                      <a:pt x="826491" y="482470"/>
                      <a:pt x="814689" y="489713"/>
                      <a:pt x="819483" y="501846"/>
                    </a:cubicBezTo>
                    <a:lnTo>
                      <a:pt x="945068" y="492792"/>
                    </a:lnTo>
                    <a:lnTo>
                      <a:pt x="1039118" y="510900"/>
                    </a:lnTo>
                    <a:cubicBezTo>
                      <a:pt x="1046863" y="517420"/>
                      <a:pt x="1066746" y="531884"/>
                      <a:pt x="1080559" y="542375"/>
                    </a:cubicBezTo>
                    <a:lnTo>
                      <a:pt x="1090838" y="550443"/>
                    </a:lnTo>
                    <a:lnTo>
                      <a:pt x="1080787" y="567771"/>
                    </a:lnTo>
                    <a:cubicBezTo>
                      <a:pt x="1075577" y="573701"/>
                      <a:pt x="1070368" y="579632"/>
                      <a:pt x="1068708" y="588595"/>
                    </a:cubicBezTo>
                    <a:lnTo>
                      <a:pt x="1068485" y="591083"/>
                    </a:lnTo>
                    <a:lnTo>
                      <a:pt x="1067518" y="592751"/>
                    </a:lnTo>
                    <a:cubicBezTo>
                      <a:pt x="1064014" y="603797"/>
                      <a:pt x="1067518" y="621906"/>
                      <a:pt x="1063645" y="632952"/>
                    </a:cubicBezTo>
                    <a:cubicBezTo>
                      <a:pt x="1075447" y="656855"/>
                      <a:pt x="1094626" y="685286"/>
                      <a:pt x="1106429" y="709189"/>
                    </a:cubicBezTo>
                    <a:lnTo>
                      <a:pt x="1104299" y="725666"/>
                    </a:lnTo>
                    <a:lnTo>
                      <a:pt x="1098053" y="743016"/>
                    </a:lnTo>
                    <a:cubicBezTo>
                      <a:pt x="1092359" y="756326"/>
                      <a:pt x="1085766" y="768414"/>
                      <a:pt x="1083092" y="773665"/>
                    </a:cubicBezTo>
                    <a:cubicBezTo>
                      <a:pt x="1077744" y="784167"/>
                      <a:pt x="1080141" y="757005"/>
                      <a:pt x="1075900" y="768594"/>
                    </a:cubicBezTo>
                    <a:cubicBezTo>
                      <a:pt x="1067417" y="785435"/>
                      <a:pt x="1061516" y="809519"/>
                      <a:pt x="1053033" y="826360"/>
                    </a:cubicBezTo>
                    <a:lnTo>
                      <a:pt x="1012278" y="883402"/>
                    </a:lnTo>
                    <a:lnTo>
                      <a:pt x="979498" y="925277"/>
                    </a:lnTo>
                    <a:lnTo>
                      <a:pt x="968499" y="936763"/>
                    </a:lnTo>
                    <a:lnTo>
                      <a:pt x="966970" y="937722"/>
                    </a:lnTo>
                    <a:cubicBezTo>
                      <a:pt x="964088" y="938006"/>
                      <a:pt x="962359" y="935278"/>
                      <a:pt x="959478" y="935561"/>
                    </a:cubicBezTo>
                    <a:lnTo>
                      <a:pt x="957877" y="936566"/>
                    </a:lnTo>
                    <a:lnTo>
                      <a:pt x="914752" y="918740"/>
                    </a:lnTo>
                    <a:lnTo>
                      <a:pt x="806262" y="929300"/>
                    </a:lnTo>
                    <a:lnTo>
                      <a:pt x="747893" y="861314"/>
                    </a:lnTo>
                    <a:lnTo>
                      <a:pt x="694648" y="854242"/>
                    </a:lnTo>
                    <a:lnTo>
                      <a:pt x="626905" y="815581"/>
                    </a:lnTo>
                    <a:lnTo>
                      <a:pt x="602907" y="787387"/>
                    </a:lnTo>
                    <a:lnTo>
                      <a:pt x="583159" y="787387"/>
                    </a:lnTo>
                    <a:lnTo>
                      <a:pt x="566036" y="790405"/>
                    </a:lnTo>
                    <a:lnTo>
                      <a:pt x="522665" y="756812"/>
                    </a:lnTo>
                    <a:lnTo>
                      <a:pt x="459723" y="741085"/>
                    </a:lnTo>
                    <a:lnTo>
                      <a:pt x="420844" y="740780"/>
                    </a:lnTo>
                    <a:lnTo>
                      <a:pt x="372929" y="709217"/>
                    </a:lnTo>
                    <a:lnTo>
                      <a:pt x="336058" y="698373"/>
                    </a:lnTo>
                    <a:lnTo>
                      <a:pt x="278063" y="653018"/>
                    </a:lnTo>
                    <a:lnTo>
                      <a:pt x="234692" y="541845"/>
                    </a:lnTo>
                    <a:cubicBezTo>
                      <a:pt x="237942" y="531472"/>
                      <a:pt x="241192" y="521194"/>
                      <a:pt x="244441" y="510728"/>
                    </a:cubicBezTo>
                    <a:lnTo>
                      <a:pt x="220444" y="443213"/>
                    </a:lnTo>
                    <a:cubicBezTo>
                      <a:pt x="226943" y="419451"/>
                      <a:pt x="233567" y="395688"/>
                      <a:pt x="240067" y="371926"/>
                    </a:cubicBezTo>
                    <a:cubicBezTo>
                      <a:pt x="236942" y="351653"/>
                      <a:pt x="233567" y="331285"/>
                      <a:pt x="230443" y="311106"/>
                    </a:cubicBezTo>
                    <a:cubicBezTo>
                      <a:pt x="224818" y="294133"/>
                      <a:pt x="219194" y="277349"/>
                      <a:pt x="213569" y="260470"/>
                    </a:cubicBezTo>
                    <a:lnTo>
                      <a:pt x="170074" y="279046"/>
                    </a:lnTo>
                    <a:lnTo>
                      <a:pt x="70208" y="298188"/>
                    </a:lnTo>
                    <a:lnTo>
                      <a:pt x="12826" y="326238"/>
                    </a:lnTo>
                    <a:lnTo>
                      <a:pt x="4744" y="322086"/>
                    </a:lnTo>
                    <a:lnTo>
                      <a:pt x="0" y="317358"/>
                    </a:lnTo>
                    <a:lnTo>
                      <a:pt x="22" y="317339"/>
                    </a:lnTo>
                    <a:lnTo>
                      <a:pt x="1770" y="318486"/>
                    </a:lnTo>
                    <a:lnTo>
                      <a:pt x="2848" y="319561"/>
                    </a:lnTo>
                    <a:lnTo>
                      <a:pt x="92993" y="242492"/>
                    </a:lnTo>
                    <a:lnTo>
                      <a:pt x="132542" y="240190"/>
                    </a:lnTo>
                    <a:lnTo>
                      <a:pt x="179163" y="258201"/>
                    </a:lnTo>
                    <a:lnTo>
                      <a:pt x="182395" y="256853"/>
                    </a:lnTo>
                    <a:lnTo>
                      <a:pt x="184991" y="257856"/>
                    </a:lnTo>
                    <a:lnTo>
                      <a:pt x="251532" y="230101"/>
                    </a:lnTo>
                    <a:lnTo>
                      <a:pt x="277653" y="230101"/>
                    </a:lnTo>
                    <a:lnTo>
                      <a:pt x="277899" y="229756"/>
                    </a:lnTo>
                    <a:lnTo>
                      <a:pt x="283481" y="229756"/>
                    </a:lnTo>
                    <a:lnTo>
                      <a:pt x="327102" y="168559"/>
                    </a:lnTo>
                    <a:lnTo>
                      <a:pt x="422093" y="140459"/>
                    </a:lnTo>
                    <a:lnTo>
                      <a:pt x="453215" y="111134"/>
                    </a:lnTo>
                    <a:cubicBezTo>
                      <a:pt x="449965" y="92369"/>
                      <a:pt x="446591" y="73604"/>
                      <a:pt x="443216" y="54840"/>
                    </a:cubicBezTo>
                    <a:lnTo>
                      <a:pt x="482587" y="22497"/>
                    </a:lnTo>
                    <a:lnTo>
                      <a:pt x="503710" y="12030"/>
                    </a:lnTo>
                    <a:cubicBezTo>
                      <a:pt x="504960" y="7929"/>
                      <a:pt x="507960" y="6774"/>
                      <a:pt x="510944" y="5618"/>
                    </a:cubicBezTo>
                    <a:lnTo>
                      <a:pt x="51720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: MT">
                <a:extLst>
                  <a:ext uri="{FF2B5EF4-FFF2-40B4-BE49-F238E27FC236}">
                    <a16:creationId xmlns:a16="http://schemas.microsoft.com/office/drawing/2014/main" id="{F22DE0C0-F5FD-429B-FB78-1F2550D93D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6470" y="2249621"/>
                <a:ext cx="1864870" cy="1743889"/>
              </a:xfrm>
              <a:custGeom>
                <a:avLst/>
                <a:gdLst>
                  <a:gd name="connsiteX0" fmla="*/ 600279 w 1864457"/>
                  <a:gd name="connsiteY0" fmla="*/ 0 h 1812968"/>
                  <a:gd name="connsiteX1" fmla="*/ 654748 w 1864457"/>
                  <a:gd name="connsiteY1" fmla="*/ 132024 h 1812968"/>
                  <a:gd name="connsiteX2" fmla="*/ 662309 w 1864457"/>
                  <a:gd name="connsiteY2" fmla="*/ 202104 h 1812968"/>
                  <a:gd name="connsiteX3" fmla="*/ 707490 w 1864457"/>
                  <a:gd name="connsiteY3" fmla="*/ 257154 h 1812968"/>
                  <a:gd name="connsiteX4" fmla="*/ 725194 w 1864457"/>
                  <a:gd name="connsiteY4" fmla="*/ 282144 h 1812968"/>
                  <a:gd name="connsiteX5" fmla="*/ 752856 w 1864457"/>
                  <a:gd name="connsiteY5" fmla="*/ 305504 h 1812968"/>
                  <a:gd name="connsiteX6" fmla="*/ 799143 w 1864457"/>
                  <a:gd name="connsiteY6" fmla="*/ 344618 h 1812968"/>
                  <a:gd name="connsiteX7" fmla="*/ 800311 w 1864457"/>
                  <a:gd name="connsiteY7" fmla="*/ 344698 h 1812968"/>
                  <a:gd name="connsiteX8" fmla="*/ 800312 w 1864457"/>
                  <a:gd name="connsiteY8" fmla="*/ 344698 h 1812968"/>
                  <a:gd name="connsiteX9" fmla="*/ 801085 w 1864457"/>
                  <a:gd name="connsiteY9" fmla="*/ 345376 h 1812968"/>
                  <a:gd name="connsiteX10" fmla="*/ 1864456 w 1864457"/>
                  <a:gd name="connsiteY10" fmla="*/ 418387 h 1812968"/>
                  <a:gd name="connsiteX11" fmla="*/ 1864457 w 1864457"/>
                  <a:gd name="connsiteY11" fmla="*/ 418387 h 1812968"/>
                  <a:gd name="connsiteX12" fmla="*/ 1841884 w 1864457"/>
                  <a:gd name="connsiteY12" fmla="*/ 480777 h 1812968"/>
                  <a:gd name="connsiteX13" fmla="*/ 1844099 w 1864457"/>
                  <a:gd name="connsiteY13" fmla="*/ 480778 h 1812968"/>
                  <a:gd name="connsiteX14" fmla="*/ 1844100 w 1864457"/>
                  <a:gd name="connsiteY14" fmla="*/ 480778 h 1812968"/>
                  <a:gd name="connsiteX15" fmla="*/ 1791011 w 1864457"/>
                  <a:gd name="connsiteY15" fmla="*/ 627507 h 1812968"/>
                  <a:gd name="connsiteX16" fmla="*/ 1774414 w 1864457"/>
                  <a:gd name="connsiteY16" fmla="*/ 828512 h 1812968"/>
                  <a:gd name="connsiteX17" fmla="*/ 1799494 w 1864457"/>
                  <a:gd name="connsiteY17" fmla="*/ 913804 h 1812968"/>
                  <a:gd name="connsiteX18" fmla="*/ 1790273 w 1864457"/>
                  <a:gd name="connsiteY18" fmla="*/ 995654 h 1812968"/>
                  <a:gd name="connsiteX19" fmla="*/ 1723700 w 1864457"/>
                  <a:gd name="connsiteY19" fmla="*/ 1179818 h 1812968"/>
                  <a:gd name="connsiteX20" fmla="*/ 1721303 w 1864457"/>
                  <a:gd name="connsiteY20" fmla="*/ 1258952 h 1812968"/>
                  <a:gd name="connsiteX21" fmla="*/ 1667639 w 1864457"/>
                  <a:gd name="connsiteY21" fmla="*/ 1285029 h 1812968"/>
                  <a:gd name="connsiteX22" fmla="*/ 1616372 w 1864457"/>
                  <a:gd name="connsiteY22" fmla="*/ 1314727 h 1812968"/>
                  <a:gd name="connsiteX23" fmla="*/ 1588157 w 1864457"/>
                  <a:gd name="connsiteY23" fmla="*/ 1414324 h 1812968"/>
                  <a:gd name="connsiteX24" fmla="*/ 1511257 w 1864457"/>
                  <a:gd name="connsiteY24" fmla="*/ 1450541 h 1812968"/>
                  <a:gd name="connsiteX25" fmla="*/ 1464970 w 1864457"/>
                  <a:gd name="connsiteY25" fmla="*/ 1506677 h 1812968"/>
                  <a:gd name="connsiteX26" fmla="*/ 1404114 w 1864457"/>
                  <a:gd name="connsiteY26" fmla="*/ 1603015 h 1812968"/>
                  <a:gd name="connsiteX27" fmla="*/ 1342704 w 1864457"/>
                  <a:gd name="connsiteY27" fmla="*/ 1654805 h 1812968"/>
                  <a:gd name="connsiteX28" fmla="*/ 1335236 w 1864457"/>
                  <a:gd name="connsiteY28" fmla="*/ 1768940 h 1812968"/>
                  <a:gd name="connsiteX29" fmla="*/ 1334409 w 1864457"/>
                  <a:gd name="connsiteY29" fmla="*/ 1795593 h 1812968"/>
                  <a:gd name="connsiteX30" fmla="*/ 1275532 w 1864457"/>
                  <a:gd name="connsiteY30" fmla="*/ 1790904 h 1812968"/>
                  <a:gd name="connsiteX31" fmla="*/ 1245521 w 1864457"/>
                  <a:gd name="connsiteY31" fmla="*/ 1785400 h 1812968"/>
                  <a:gd name="connsiteX32" fmla="*/ 1245845 w 1864457"/>
                  <a:gd name="connsiteY32" fmla="*/ 1773344 h 1812968"/>
                  <a:gd name="connsiteX33" fmla="*/ 1271152 w 1864457"/>
                  <a:gd name="connsiteY33" fmla="*/ 1689393 h 1812968"/>
                  <a:gd name="connsiteX34" fmla="*/ 1264685 w 1864457"/>
                  <a:gd name="connsiteY34" fmla="*/ 1687413 h 1812968"/>
                  <a:gd name="connsiteX35" fmla="*/ 1264735 w 1864457"/>
                  <a:gd name="connsiteY35" fmla="*/ 1685542 h 1812968"/>
                  <a:gd name="connsiteX36" fmla="*/ 1221941 w 1864457"/>
                  <a:gd name="connsiteY36" fmla="*/ 1665067 h 1812968"/>
                  <a:gd name="connsiteX37" fmla="*/ 1221481 w 1864457"/>
                  <a:gd name="connsiteY37" fmla="*/ 1674188 h 1812968"/>
                  <a:gd name="connsiteX38" fmla="*/ 1211403 w 1864457"/>
                  <a:gd name="connsiteY38" fmla="*/ 1671103 h 1812968"/>
                  <a:gd name="connsiteX39" fmla="*/ 1215108 w 1864457"/>
                  <a:gd name="connsiteY39" fmla="*/ 1678516 h 1812968"/>
                  <a:gd name="connsiteX40" fmla="*/ 1223729 w 1864457"/>
                  <a:gd name="connsiteY40" fmla="*/ 1680750 h 1812968"/>
                  <a:gd name="connsiteX41" fmla="*/ 1225460 w 1864457"/>
                  <a:gd name="connsiteY41" fmla="*/ 1685719 h 1812968"/>
                  <a:gd name="connsiteX42" fmla="*/ 1229433 w 1864457"/>
                  <a:gd name="connsiteY42" fmla="*/ 1697123 h 1812968"/>
                  <a:gd name="connsiteX43" fmla="*/ 1201344 w 1864457"/>
                  <a:gd name="connsiteY43" fmla="*/ 1718279 h 1812968"/>
                  <a:gd name="connsiteX44" fmla="*/ 1179261 w 1864457"/>
                  <a:gd name="connsiteY44" fmla="*/ 1727793 h 1812968"/>
                  <a:gd name="connsiteX45" fmla="*/ 1092424 w 1864457"/>
                  <a:gd name="connsiteY45" fmla="*/ 1709804 h 1812968"/>
                  <a:gd name="connsiteX46" fmla="*/ 1082084 w 1864457"/>
                  <a:gd name="connsiteY46" fmla="*/ 1715328 h 1812968"/>
                  <a:gd name="connsiteX47" fmla="*/ 1072171 w 1864457"/>
                  <a:gd name="connsiteY47" fmla="*/ 1713477 h 1812968"/>
                  <a:gd name="connsiteX48" fmla="*/ 1041089 w 1864457"/>
                  <a:gd name="connsiteY48" fmla="*/ 1736117 h 1812968"/>
                  <a:gd name="connsiteX49" fmla="*/ 992301 w 1864457"/>
                  <a:gd name="connsiteY49" fmla="*/ 1710374 h 1812968"/>
                  <a:gd name="connsiteX50" fmla="*/ 881858 w 1864457"/>
                  <a:gd name="connsiteY50" fmla="*/ 1644665 h 1812968"/>
                  <a:gd name="connsiteX51" fmla="*/ 865814 w 1864457"/>
                  <a:gd name="connsiteY51" fmla="*/ 1641224 h 1812968"/>
                  <a:gd name="connsiteX52" fmla="*/ 804958 w 1864457"/>
                  <a:gd name="connsiteY52" fmla="*/ 1653357 h 1812968"/>
                  <a:gd name="connsiteX53" fmla="*/ 788027 w 1864457"/>
                  <a:gd name="connsiteY53" fmla="*/ 1672849 h 1812968"/>
                  <a:gd name="connsiteX54" fmla="*/ 784920 w 1864457"/>
                  <a:gd name="connsiteY54" fmla="*/ 1673470 h 1812968"/>
                  <a:gd name="connsiteX55" fmla="*/ 755778 w 1864457"/>
                  <a:gd name="connsiteY55" fmla="*/ 1707248 h 1812968"/>
                  <a:gd name="connsiteX56" fmla="*/ 688225 w 1864457"/>
                  <a:gd name="connsiteY56" fmla="*/ 1756213 h 1812968"/>
                  <a:gd name="connsiteX57" fmla="*/ 683418 w 1864457"/>
                  <a:gd name="connsiteY57" fmla="*/ 1765842 h 1812968"/>
                  <a:gd name="connsiteX58" fmla="*/ 668570 w 1864457"/>
                  <a:gd name="connsiteY58" fmla="*/ 1776672 h 1812968"/>
                  <a:gd name="connsiteX59" fmla="*/ 649299 w 1864457"/>
                  <a:gd name="connsiteY59" fmla="*/ 1812968 h 1812968"/>
                  <a:gd name="connsiteX60" fmla="*/ 644046 w 1864457"/>
                  <a:gd name="connsiteY60" fmla="*/ 1798610 h 1812968"/>
                  <a:gd name="connsiteX61" fmla="*/ 617595 w 1864457"/>
                  <a:gd name="connsiteY61" fmla="*/ 1707139 h 1812968"/>
                  <a:gd name="connsiteX62" fmla="*/ 539404 w 1864457"/>
                  <a:gd name="connsiteY62" fmla="*/ 1671103 h 1812968"/>
                  <a:gd name="connsiteX63" fmla="*/ 514693 w 1864457"/>
                  <a:gd name="connsiteY63" fmla="*/ 1595047 h 1812968"/>
                  <a:gd name="connsiteX64" fmla="*/ 529077 w 1864457"/>
                  <a:gd name="connsiteY64" fmla="*/ 1551768 h 1812968"/>
                  <a:gd name="connsiteX65" fmla="*/ 532396 w 1864457"/>
                  <a:gd name="connsiteY65" fmla="*/ 1502331 h 1812968"/>
                  <a:gd name="connsiteX66" fmla="*/ 256331 w 1864457"/>
                  <a:gd name="connsiteY66" fmla="*/ 1505048 h 1812968"/>
                  <a:gd name="connsiteX67" fmla="*/ 233833 w 1864457"/>
                  <a:gd name="connsiteY67" fmla="*/ 1491647 h 1812968"/>
                  <a:gd name="connsiteX68" fmla="*/ 228116 w 1864457"/>
                  <a:gd name="connsiteY68" fmla="*/ 1376839 h 1812968"/>
                  <a:gd name="connsiteX69" fmla="*/ 175005 w 1864457"/>
                  <a:gd name="connsiteY69" fmla="*/ 1315451 h 1812968"/>
                  <a:gd name="connsiteX70" fmla="*/ 169657 w 1864457"/>
                  <a:gd name="connsiteY70" fmla="*/ 1292634 h 1812968"/>
                  <a:gd name="connsiteX71" fmla="*/ 233279 w 1864457"/>
                  <a:gd name="connsiteY71" fmla="*/ 1287564 h 1812968"/>
                  <a:gd name="connsiteX72" fmla="*/ 205986 w 1864457"/>
                  <a:gd name="connsiteY72" fmla="*/ 1211146 h 1812968"/>
                  <a:gd name="connsiteX73" fmla="*/ 177956 w 1864457"/>
                  <a:gd name="connsiteY73" fmla="*/ 1161528 h 1812968"/>
                  <a:gd name="connsiteX74" fmla="*/ 212256 w 1864457"/>
                  <a:gd name="connsiteY74" fmla="*/ 1104487 h 1812968"/>
                  <a:gd name="connsiteX75" fmla="*/ 134434 w 1864457"/>
                  <a:gd name="connsiteY75" fmla="*/ 1040926 h 1812968"/>
                  <a:gd name="connsiteX76" fmla="*/ 138308 w 1864457"/>
                  <a:gd name="connsiteY76" fmla="*/ 1038496 h 1812968"/>
                  <a:gd name="connsiteX77" fmla="*/ 146053 w 1864457"/>
                  <a:gd name="connsiteY77" fmla="*/ 1041697 h 1812968"/>
                  <a:gd name="connsiteX78" fmla="*/ 148930 w 1864457"/>
                  <a:gd name="connsiteY78" fmla="*/ 1038693 h 1812968"/>
                  <a:gd name="connsiteX79" fmla="*/ 152875 w 1864457"/>
                  <a:gd name="connsiteY79" fmla="*/ 1036217 h 1812968"/>
                  <a:gd name="connsiteX80" fmla="*/ 159929 w 1864457"/>
                  <a:gd name="connsiteY80" fmla="*/ 1027207 h 1812968"/>
                  <a:gd name="connsiteX81" fmla="*/ 171239 w 1864457"/>
                  <a:gd name="connsiteY81" fmla="*/ 1015395 h 1812968"/>
                  <a:gd name="connsiteX82" fmla="*/ 191519 w 1864457"/>
                  <a:gd name="connsiteY82" fmla="*/ 989488 h 1812968"/>
                  <a:gd name="connsiteX83" fmla="*/ 232274 w 1864457"/>
                  <a:gd name="connsiteY83" fmla="*/ 932446 h 1812968"/>
                  <a:gd name="connsiteX84" fmla="*/ 255141 w 1864457"/>
                  <a:gd name="connsiteY84" fmla="*/ 874680 h 1812968"/>
                  <a:gd name="connsiteX85" fmla="*/ 262333 w 1864457"/>
                  <a:gd name="connsiteY85" fmla="*/ 879750 h 1812968"/>
                  <a:gd name="connsiteX86" fmla="*/ 284558 w 1864457"/>
                  <a:gd name="connsiteY86" fmla="*/ 828922 h 1812968"/>
                  <a:gd name="connsiteX87" fmla="*/ 284730 w 1864457"/>
                  <a:gd name="connsiteY87" fmla="*/ 827596 h 1812968"/>
                  <a:gd name="connsiteX88" fmla="*/ 285748 w 1864457"/>
                  <a:gd name="connsiteY88" fmla="*/ 824766 h 1812968"/>
                  <a:gd name="connsiteX89" fmla="*/ 288050 w 1864457"/>
                  <a:gd name="connsiteY89" fmla="*/ 806963 h 1812968"/>
                  <a:gd name="connsiteX90" fmla="*/ 245266 w 1864457"/>
                  <a:gd name="connsiteY90" fmla="*/ 730726 h 1812968"/>
                  <a:gd name="connsiteX91" fmla="*/ 247341 w 1864457"/>
                  <a:gd name="connsiteY91" fmla="*/ 710626 h 1812968"/>
                  <a:gd name="connsiteX92" fmla="*/ 248916 w 1864457"/>
                  <a:gd name="connsiteY92" fmla="*/ 693013 h 1812968"/>
                  <a:gd name="connsiteX93" fmla="*/ 260028 w 1864457"/>
                  <a:gd name="connsiteY93" fmla="*/ 673856 h 1812968"/>
                  <a:gd name="connsiteX94" fmla="*/ 272107 w 1864457"/>
                  <a:gd name="connsiteY94" fmla="*/ 653031 h 1812968"/>
                  <a:gd name="connsiteX95" fmla="*/ 271269 w 1864457"/>
                  <a:gd name="connsiteY95" fmla="*/ 652373 h 1812968"/>
                  <a:gd name="connsiteX96" fmla="*/ 273297 w 1864457"/>
                  <a:gd name="connsiteY96" fmla="*/ 648876 h 1812968"/>
                  <a:gd name="connsiteX97" fmla="*/ 220739 w 1864457"/>
                  <a:gd name="connsiteY97" fmla="*/ 608674 h 1812968"/>
                  <a:gd name="connsiteX98" fmla="*/ 126689 w 1864457"/>
                  <a:gd name="connsiteY98" fmla="*/ 590566 h 1812968"/>
                  <a:gd name="connsiteX99" fmla="*/ 1104 w 1864457"/>
                  <a:gd name="connsiteY99" fmla="*/ 599620 h 1812968"/>
                  <a:gd name="connsiteX100" fmla="*/ 17517 w 1864457"/>
                  <a:gd name="connsiteY100" fmla="*/ 499118 h 1812968"/>
                  <a:gd name="connsiteX101" fmla="*/ 15673 w 1864457"/>
                  <a:gd name="connsiteY101" fmla="*/ 393726 h 1812968"/>
                  <a:gd name="connsiteX102" fmla="*/ 1104 w 1864457"/>
                  <a:gd name="connsiteY102" fmla="*/ 286342 h 1812968"/>
                  <a:gd name="connsiteX103" fmla="*/ 10336 w 1864457"/>
                  <a:gd name="connsiteY103" fmla="*/ 233629 h 1812968"/>
                  <a:gd name="connsiteX104" fmla="*/ 34184 w 1864457"/>
                  <a:gd name="connsiteY104" fmla="*/ 233219 h 1812968"/>
                  <a:gd name="connsiteX105" fmla="*/ 34901 w 1864457"/>
                  <a:gd name="connsiteY105" fmla="*/ 229071 h 1812968"/>
                  <a:gd name="connsiteX106" fmla="*/ 40748 w 1864457"/>
                  <a:gd name="connsiteY106" fmla="*/ 228970 h 1812968"/>
                  <a:gd name="connsiteX107" fmla="*/ 39906 w 1864457"/>
                  <a:gd name="connsiteY107" fmla="*/ 233842 h 1812968"/>
                  <a:gd name="connsiteX108" fmla="*/ 521401 w 1864457"/>
                  <a:gd name="connsiteY108" fmla="*/ 225553 h 1812968"/>
                  <a:gd name="connsiteX109" fmla="*/ 548695 w 1864457"/>
                  <a:gd name="connsiteY109" fmla="*/ 150946 h 1812968"/>
                  <a:gd name="connsiteX110" fmla="*/ 563079 w 1864457"/>
                  <a:gd name="connsiteY110" fmla="*/ 106580 h 1812968"/>
                  <a:gd name="connsiteX111" fmla="*/ 539474 w 1864457"/>
                  <a:gd name="connsiteY111" fmla="*/ 63301 h 1812968"/>
                  <a:gd name="connsiteX112" fmla="*/ 600279 w 1864457"/>
                  <a:gd name="connsiteY112" fmla="*/ 0 h 181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864457" h="1812968">
                    <a:moveTo>
                      <a:pt x="600279" y="0"/>
                    </a:moveTo>
                    <a:lnTo>
                      <a:pt x="654748" y="132024"/>
                    </a:lnTo>
                    <a:cubicBezTo>
                      <a:pt x="657330" y="155384"/>
                      <a:pt x="659728" y="178563"/>
                      <a:pt x="662309" y="202104"/>
                    </a:cubicBezTo>
                    <a:lnTo>
                      <a:pt x="707490" y="257154"/>
                    </a:lnTo>
                    <a:cubicBezTo>
                      <a:pt x="713392" y="265303"/>
                      <a:pt x="719108" y="273814"/>
                      <a:pt x="725194" y="282144"/>
                    </a:cubicBezTo>
                    <a:lnTo>
                      <a:pt x="752856" y="305504"/>
                    </a:lnTo>
                    <a:cubicBezTo>
                      <a:pt x="758757" y="311480"/>
                      <a:pt x="793242" y="338642"/>
                      <a:pt x="799143" y="344618"/>
                    </a:cubicBezTo>
                    <a:lnTo>
                      <a:pt x="800311" y="344698"/>
                    </a:lnTo>
                    <a:lnTo>
                      <a:pt x="800312" y="344698"/>
                    </a:lnTo>
                    <a:lnTo>
                      <a:pt x="801085" y="345376"/>
                    </a:lnTo>
                    <a:lnTo>
                      <a:pt x="1864456" y="418387"/>
                    </a:lnTo>
                    <a:lnTo>
                      <a:pt x="1864457" y="418387"/>
                    </a:lnTo>
                    <a:lnTo>
                      <a:pt x="1841884" y="480777"/>
                    </a:lnTo>
                    <a:lnTo>
                      <a:pt x="1844099" y="480778"/>
                    </a:lnTo>
                    <a:lnTo>
                      <a:pt x="1844100" y="480778"/>
                    </a:lnTo>
                    <a:lnTo>
                      <a:pt x="1791011" y="627507"/>
                    </a:lnTo>
                    <a:lnTo>
                      <a:pt x="1774414" y="828512"/>
                    </a:lnTo>
                    <a:cubicBezTo>
                      <a:pt x="1782712" y="856943"/>
                      <a:pt x="1791195" y="885373"/>
                      <a:pt x="1799494" y="913804"/>
                    </a:cubicBezTo>
                    <a:cubicBezTo>
                      <a:pt x="1785479" y="941147"/>
                      <a:pt x="1804473" y="968310"/>
                      <a:pt x="1790273" y="995654"/>
                    </a:cubicBezTo>
                    <a:cubicBezTo>
                      <a:pt x="1778471" y="1055412"/>
                      <a:pt x="1735503" y="1120060"/>
                      <a:pt x="1723700" y="1179818"/>
                    </a:cubicBezTo>
                    <a:cubicBezTo>
                      <a:pt x="1708579" y="1207705"/>
                      <a:pt x="1736425" y="1231065"/>
                      <a:pt x="1721303" y="1258952"/>
                    </a:cubicBezTo>
                    <a:cubicBezTo>
                      <a:pt x="1715217" y="1256598"/>
                      <a:pt x="1673725" y="1287383"/>
                      <a:pt x="1667639" y="1285029"/>
                    </a:cubicBezTo>
                    <a:cubicBezTo>
                      <a:pt x="1659341" y="1289375"/>
                      <a:pt x="1624671" y="1310381"/>
                      <a:pt x="1616372" y="1314727"/>
                    </a:cubicBezTo>
                    <a:lnTo>
                      <a:pt x="1588157" y="1414324"/>
                    </a:lnTo>
                    <a:cubicBezTo>
                      <a:pt x="1574326" y="1434243"/>
                      <a:pt x="1525088" y="1430621"/>
                      <a:pt x="1511257" y="1450541"/>
                    </a:cubicBezTo>
                    <a:lnTo>
                      <a:pt x="1464970" y="1506677"/>
                    </a:lnTo>
                    <a:lnTo>
                      <a:pt x="1404114" y="1603015"/>
                    </a:lnTo>
                    <a:cubicBezTo>
                      <a:pt x="1397106" y="1630721"/>
                      <a:pt x="1349896" y="1627099"/>
                      <a:pt x="1342704" y="1654805"/>
                    </a:cubicBezTo>
                    <a:cubicBezTo>
                      <a:pt x="1343534" y="1680882"/>
                      <a:pt x="1337725" y="1730895"/>
                      <a:pt x="1335236" y="1768940"/>
                    </a:cubicBezTo>
                    <a:lnTo>
                      <a:pt x="1334409" y="1795593"/>
                    </a:lnTo>
                    <a:lnTo>
                      <a:pt x="1275532" y="1790904"/>
                    </a:lnTo>
                    <a:lnTo>
                      <a:pt x="1245521" y="1785400"/>
                    </a:lnTo>
                    <a:lnTo>
                      <a:pt x="1245845" y="1773344"/>
                    </a:lnTo>
                    <a:lnTo>
                      <a:pt x="1271152" y="1689393"/>
                    </a:lnTo>
                    <a:lnTo>
                      <a:pt x="1264685" y="1687413"/>
                    </a:lnTo>
                    <a:lnTo>
                      <a:pt x="1264735" y="1685542"/>
                    </a:lnTo>
                    <a:lnTo>
                      <a:pt x="1221941" y="1665067"/>
                    </a:lnTo>
                    <a:lnTo>
                      <a:pt x="1221481" y="1674188"/>
                    </a:lnTo>
                    <a:lnTo>
                      <a:pt x="1211403" y="1671103"/>
                    </a:lnTo>
                    <a:cubicBezTo>
                      <a:pt x="1211034" y="1674951"/>
                      <a:pt x="1212590" y="1677147"/>
                      <a:pt x="1215108" y="1678516"/>
                    </a:cubicBezTo>
                    <a:lnTo>
                      <a:pt x="1223729" y="1680750"/>
                    </a:lnTo>
                    <a:lnTo>
                      <a:pt x="1225460" y="1685719"/>
                    </a:lnTo>
                    <a:lnTo>
                      <a:pt x="1229433" y="1697123"/>
                    </a:lnTo>
                    <a:lnTo>
                      <a:pt x="1201344" y="1718279"/>
                    </a:lnTo>
                    <a:lnTo>
                      <a:pt x="1179261" y="1727793"/>
                    </a:lnTo>
                    <a:lnTo>
                      <a:pt x="1092424" y="1709804"/>
                    </a:lnTo>
                    <a:lnTo>
                      <a:pt x="1082084" y="1715328"/>
                    </a:lnTo>
                    <a:lnTo>
                      <a:pt x="1072171" y="1713477"/>
                    </a:lnTo>
                    <a:lnTo>
                      <a:pt x="1041089" y="1736117"/>
                    </a:lnTo>
                    <a:lnTo>
                      <a:pt x="992301" y="1710374"/>
                    </a:lnTo>
                    <a:lnTo>
                      <a:pt x="881858" y="1644665"/>
                    </a:lnTo>
                    <a:cubicBezTo>
                      <a:pt x="876510" y="1643578"/>
                      <a:pt x="871162" y="1642310"/>
                      <a:pt x="865814" y="1641224"/>
                    </a:cubicBezTo>
                    <a:lnTo>
                      <a:pt x="804958" y="1653357"/>
                    </a:lnTo>
                    <a:lnTo>
                      <a:pt x="788027" y="1672849"/>
                    </a:lnTo>
                    <a:lnTo>
                      <a:pt x="784920" y="1673470"/>
                    </a:lnTo>
                    <a:lnTo>
                      <a:pt x="755778" y="1707248"/>
                    </a:lnTo>
                    <a:lnTo>
                      <a:pt x="688225" y="1756213"/>
                    </a:lnTo>
                    <a:lnTo>
                      <a:pt x="683418" y="1765842"/>
                    </a:lnTo>
                    <a:lnTo>
                      <a:pt x="668570" y="1776672"/>
                    </a:lnTo>
                    <a:lnTo>
                      <a:pt x="649299" y="1812968"/>
                    </a:lnTo>
                    <a:lnTo>
                      <a:pt x="644046" y="1798610"/>
                    </a:lnTo>
                    <a:cubicBezTo>
                      <a:pt x="635229" y="1768120"/>
                      <a:pt x="629213" y="1730907"/>
                      <a:pt x="617595" y="1707139"/>
                    </a:cubicBezTo>
                    <a:lnTo>
                      <a:pt x="539404" y="1671103"/>
                    </a:lnTo>
                    <a:cubicBezTo>
                      <a:pt x="531290" y="1645570"/>
                      <a:pt x="522807" y="1620399"/>
                      <a:pt x="514693" y="1595047"/>
                    </a:cubicBezTo>
                    <a:cubicBezTo>
                      <a:pt x="519487" y="1580560"/>
                      <a:pt x="524282" y="1566073"/>
                      <a:pt x="529077" y="1551768"/>
                    </a:cubicBezTo>
                    <a:cubicBezTo>
                      <a:pt x="530368" y="1535289"/>
                      <a:pt x="531290" y="1518810"/>
                      <a:pt x="532396" y="1502331"/>
                    </a:cubicBezTo>
                    <a:lnTo>
                      <a:pt x="256331" y="1505048"/>
                    </a:lnTo>
                    <a:cubicBezTo>
                      <a:pt x="248954" y="1500520"/>
                      <a:pt x="241393" y="1496174"/>
                      <a:pt x="233833" y="1491647"/>
                    </a:cubicBezTo>
                    <a:cubicBezTo>
                      <a:pt x="231988" y="1453438"/>
                      <a:pt x="229960" y="1415048"/>
                      <a:pt x="228116" y="1376839"/>
                    </a:cubicBezTo>
                    <a:lnTo>
                      <a:pt x="175005" y="1315451"/>
                    </a:lnTo>
                    <a:cubicBezTo>
                      <a:pt x="173161" y="1307846"/>
                      <a:pt x="171501" y="1300240"/>
                      <a:pt x="169657" y="1292634"/>
                    </a:cubicBezTo>
                    <a:cubicBezTo>
                      <a:pt x="167813" y="1282131"/>
                      <a:pt x="235123" y="1298067"/>
                      <a:pt x="233279" y="1287564"/>
                    </a:cubicBezTo>
                    <a:cubicBezTo>
                      <a:pt x="224243" y="1262031"/>
                      <a:pt x="215022" y="1236679"/>
                      <a:pt x="205986" y="1211146"/>
                    </a:cubicBezTo>
                    <a:cubicBezTo>
                      <a:pt x="196581" y="1194667"/>
                      <a:pt x="187361" y="1178007"/>
                      <a:pt x="177956" y="1161528"/>
                    </a:cubicBezTo>
                    <a:cubicBezTo>
                      <a:pt x="183857" y="1147947"/>
                      <a:pt x="206355" y="1117887"/>
                      <a:pt x="212256" y="1104487"/>
                    </a:cubicBezTo>
                    <a:lnTo>
                      <a:pt x="134434" y="1040926"/>
                    </a:lnTo>
                    <a:lnTo>
                      <a:pt x="138308" y="1038496"/>
                    </a:lnTo>
                    <a:lnTo>
                      <a:pt x="146053" y="1041697"/>
                    </a:lnTo>
                    <a:lnTo>
                      <a:pt x="148930" y="1038693"/>
                    </a:lnTo>
                    <a:lnTo>
                      <a:pt x="152875" y="1036217"/>
                    </a:lnTo>
                    <a:lnTo>
                      <a:pt x="159929" y="1027207"/>
                    </a:lnTo>
                    <a:lnTo>
                      <a:pt x="171239" y="1015395"/>
                    </a:lnTo>
                    <a:lnTo>
                      <a:pt x="191519" y="989488"/>
                    </a:lnTo>
                    <a:lnTo>
                      <a:pt x="232274" y="932446"/>
                    </a:lnTo>
                    <a:cubicBezTo>
                      <a:pt x="240757" y="915605"/>
                      <a:pt x="246658" y="891521"/>
                      <a:pt x="255141" y="874680"/>
                    </a:cubicBezTo>
                    <a:cubicBezTo>
                      <a:pt x="259382" y="863091"/>
                      <a:pt x="256985" y="890253"/>
                      <a:pt x="262333" y="879750"/>
                    </a:cubicBezTo>
                    <a:cubicBezTo>
                      <a:pt x="266344" y="871874"/>
                      <a:pt x="279172" y="848616"/>
                      <a:pt x="284558" y="828922"/>
                    </a:cubicBezTo>
                    <a:lnTo>
                      <a:pt x="284730" y="827596"/>
                    </a:lnTo>
                    <a:lnTo>
                      <a:pt x="285748" y="824766"/>
                    </a:lnTo>
                    <a:cubicBezTo>
                      <a:pt x="287543" y="818202"/>
                      <a:pt x="288511" y="812034"/>
                      <a:pt x="288050" y="806963"/>
                    </a:cubicBezTo>
                    <a:cubicBezTo>
                      <a:pt x="276247" y="783060"/>
                      <a:pt x="257068" y="754629"/>
                      <a:pt x="245266" y="730726"/>
                    </a:cubicBezTo>
                    <a:cubicBezTo>
                      <a:pt x="247203" y="725203"/>
                      <a:pt x="247295" y="717914"/>
                      <a:pt x="247341" y="710626"/>
                    </a:cubicBezTo>
                    <a:lnTo>
                      <a:pt x="248916" y="693013"/>
                    </a:lnTo>
                    <a:lnTo>
                      <a:pt x="260028" y="673856"/>
                    </a:lnTo>
                    <a:cubicBezTo>
                      <a:pt x="265237" y="667926"/>
                      <a:pt x="270447" y="661995"/>
                      <a:pt x="272107" y="653031"/>
                    </a:cubicBezTo>
                    <a:lnTo>
                      <a:pt x="271269" y="652373"/>
                    </a:lnTo>
                    <a:lnTo>
                      <a:pt x="273297" y="648876"/>
                    </a:lnTo>
                    <a:cubicBezTo>
                      <a:pt x="262970" y="640183"/>
                      <a:pt x="231066" y="617367"/>
                      <a:pt x="220739" y="608674"/>
                    </a:cubicBezTo>
                    <a:lnTo>
                      <a:pt x="126689" y="590566"/>
                    </a:lnTo>
                    <a:lnTo>
                      <a:pt x="1104" y="599620"/>
                    </a:lnTo>
                    <a:cubicBezTo>
                      <a:pt x="-3691" y="587487"/>
                      <a:pt x="8112" y="580244"/>
                      <a:pt x="17517" y="499118"/>
                    </a:cubicBezTo>
                    <a:cubicBezTo>
                      <a:pt x="27106" y="470325"/>
                      <a:pt x="5899" y="422519"/>
                      <a:pt x="15673" y="393726"/>
                    </a:cubicBezTo>
                    <a:cubicBezTo>
                      <a:pt x="10694" y="358052"/>
                      <a:pt x="5899" y="322197"/>
                      <a:pt x="1104" y="286342"/>
                    </a:cubicBezTo>
                    <a:lnTo>
                      <a:pt x="10336" y="233629"/>
                    </a:lnTo>
                    <a:lnTo>
                      <a:pt x="34184" y="233219"/>
                    </a:lnTo>
                    <a:lnTo>
                      <a:pt x="34901" y="229071"/>
                    </a:lnTo>
                    <a:lnTo>
                      <a:pt x="40748" y="228970"/>
                    </a:lnTo>
                    <a:lnTo>
                      <a:pt x="39906" y="233842"/>
                    </a:lnTo>
                    <a:lnTo>
                      <a:pt x="521401" y="225553"/>
                    </a:lnTo>
                    <a:cubicBezTo>
                      <a:pt x="526565" y="199115"/>
                      <a:pt x="543531" y="177385"/>
                      <a:pt x="548695" y="150946"/>
                    </a:cubicBezTo>
                    <a:cubicBezTo>
                      <a:pt x="553489" y="136097"/>
                      <a:pt x="558100" y="121429"/>
                      <a:pt x="563079" y="106580"/>
                    </a:cubicBezTo>
                    <a:cubicBezTo>
                      <a:pt x="564001" y="94629"/>
                      <a:pt x="538552" y="75252"/>
                      <a:pt x="539474" y="63301"/>
                    </a:cubicBezTo>
                    <a:lnTo>
                      <a:pt x="600279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tângulo 36">
                <a:extLst>
                  <a:ext uri="{FF2B5EF4-FFF2-40B4-BE49-F238E27FC236}">
                    <a16:creationId xmlns:a16="http://schemas.microsoft.com/office/drawing/2014/main" id="{7D249CDD-1DB1-073E-5797-37CE5BA1F6D6}"/>
                  </a:ext>
                </a:extLst>
              </p:cNvPr>
              <p:cNvSpPr/>
              <p:nvPr/>
            </p:nvSpPr>
            <p:spPr>
              <a:xfrm>
                <a:off x="6470238" y="3546158"/>
                <a:ext cx="193505" cy="173610"/>
              </a:xfrm>
              <a:prstGeom prst="rect">
                <a:avLst/>
              </a:prstGeom>
              <a:solidFill>
                <a:srgbClr val="ED7D31"/>
              </a:solidFill>
              <a:ln w="12700" cap="sq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: RS">
                <a:extLst>
                  <a:ext uri="{FF2B5EF4-FFF2-40B4-BE49-F238E27FC236}">
                    <a16:creationId xmlns:a16="http://schemas.microsoft.com/office/drawing/2014/main" id="{773AED0F-674E-E25F-CE1A-046A2582454D}"/>
                  </a:ext>
                </a:extLst>
              </p:cNvPr>
              <p:cNvSpPr/>
              <p:nvPr/>
            </p:nvSpPr>
            <p:spPr>
              <a:xfrm>
                <a:off x="5008414" y="5459565"/>
                <a:ext cx="1260455" cy="1100881"/>
              </a:xfrm>
              <a:custGeom>
                <a:avLst/>
                <a:gdLst>
                  <a:gd name="connsiteX0" fmla="*/ 434425 w 861950"/>
                  <a:gd name="connsiteY0" fmla="*/ 0 h 923593"/>
                  <a:gd name="connsiteX1" fmla="*/ 423862 w 861950"/>
                  <a:gd name="connsiteY1" fmla="*/ 21125 h 923593"/>
                  <a:gd name="connsiteX2" fmla="*/ 509587 w 861950"/>
                  <a:gd name="connsiteY2" fmla="*/ 4457 h 923593"/>
                  <a:gd name="connsiteX3" fmla="*/ 590550 w 861950"/>
                  <a:gd name="connsiteY3" fmla="*/ 28269 h 923593"/>
                  <a:gd name="connsiteX4" fmla="*/ 609600 w 861950"/>
                  <a:gd name="connsiteY4" fmla="*/ 28269 h 923593"/>
                  <a:gd name="connsiteX5" fmla="*/ 616744 w 861950"/>
                  <a:gd name="connsiteY5" fmla="*/ 56844 h 923593"/>
                  <a:gd name="connsiteX6" fmla="*/ 654844 w 861950"/>
                  <a:gd name="connsiteY6" fmla="*/ 52082 h 923593"/>
                  <a:gd name="connsiteX7" fmla="*/ 773906 w 861950"/>
                  <a:gd name="connsiteY7" fmla="*/ 187813 h 923593"/>
                  <a:gd name="connsiteX8" fmla="*/ 816769 w 861950"/>
                  <a:gd name="connsiteY8" fmla="*/ 187813 h 923593"/>
                  <a:gd name="connsiteX9" fmla="*/ 852487 w 861950"/>
                  <a:gd name="connsiteY9" fmla="*/ 197338 h 923593"/>
                  <a:gd name="connsiteX10" fmla="*/ 859631 w 861950"/>
                  <a:gd name="connsiteY10" fmla="*/ 218769 h 923593"/>
                  <a:gd name="connsiteX11" fmla="*/ 840581 w 861950"/>
                  <a:gd name="connsiteY11" fmla="*/ 230675 h 923593"/>
                  <a:gd name="connsiteX12" fmla="*/ 842962 w 861950"/>
                  <a:gd name="connsiteY12" fmla="*/ 249725 h 923593"/>
                  <a:gd name="connsiteX13" fmla="*/ 842962 w 861950"/>
                  <a:gd name="connsiteY13" fmla="*/ 275919 h 923593"/>
                  <a:gd name="connsiteX14" fmla="*/ 831056 w 861950"/>
                  <a:gd name="connsiteY14" fmla="*/ 292588 h 923593"/>
                  <a:gd name="connsiteX15" fmla="*/ 857250 w 861950"/>
                  <a:gd name="connsiteY15" fmla="*/ 311638 h 923593"/>
                  <a:gd name="connsiteX16" fmla="*/ 861950 w 861950"/>
                  <a:gd name="connsiteY16" fmla="*/ 302238 h 923593"/>
                  <a:gd name="connsiteX17" fmla="*/ 769144 w 861950"/>
                  <a:gd name="connsiteY17" fmla="*/ 528306 h 923593"/>
                  <a:gd name="connsiteX18" fmla="*/ 657225 w 861950"/>
                  <a:gd name="connsiteY18" fmla="*/ 649749 h 923593"/>
                  <a:gd name="connsiteX19" fmla="*/ 583406 w 861950"/>
                  <a:gd name="connsiteY19" fmla="*/ 706899 h 923593"/>
                  <a:gd name="connsiteX20" fmla="*/ 557212 w 861950"/>
                  <a:gd name="connsiteY20" fmla="*/ 766431 h 923593"/>
                  <a:gd name="connsiteX21" fmla="*/ 519112 w 861950"/>
                  <a:gd name="connsiteY21" fmla="*/ 880731 h 923593"/>
                  <a:gd name="connsiteX22" fmla="*/ 457200 w 861950"/>
                  <a:gd name="connsiteY22" fmla="*/ 923593 h 923593"/>
                  <a:gd name="connsiteX23" fmla="*/ 459581 w 861950"/>
                  <a:gd name="connsiteY23" fmla="*/ 868824 h 923593"/>
                  <a:gd name="connsiteX24" fmla="*/ 469106 w 861950"/>
                  <a:gd name="connsiteY24" fmla="*/ 837868 h 923593"/>
                  <a:gd name="connsiteX25" fmla="*/ 500062 w 861950"/>
                  <a:gd name="connsiteY25" fmla="*/ 790243 h 923593"/>
                  <a:gd name="connsiteX26" fmla="*/ 447675 w 861950"/>
                  <a:gd name="connsiteY26" fmla="*/ 747381 h 923593"/>
                  <a:gd name="connsiteX27" fmla="*/ 416719 w 861950"/>
                  <a:gd name="connsiteY27" fmla="*/ 680706 h 923593"/>
                  <a:gd name="connsiteX28" fmla="*/ 350044 w 861950"/>
                  <a:gd name="connsiteY28" fmla="*/ 640224 h 923593"/>
                  <a:gd name="connsiteX29" fmla="*/ 333375 w 861950"/>
                  <a:gd name="connsiteY29" fmla="*/ 602124 h 923593"/>
                  <a:gd name="connsiteX30" fmla="*/ 285750 w 861950"/>
                  <a:gd name="connsiteY30" fmla="*/ 587837 h 923593"/>
                  <a:gd name="connsiteX31" fmla="*/ 278606 w 861950"/>
                  <a:gd name="connsiteY31" fmla="*/ 587837 h 923593"/>
                  <a:gd name="connsiteX32" fmla="*/ 216694 w 861950"/>
                  <a:gd name="connsiteY32" fmla="*/ 523543 h 923593"/>
                  <a:gd name="connsiteX33" fmla="*/ 180975 w 861950"/>
                  <a:gd name="connsiteY33" fmla="*/ 556881 h 923593"/>
                  <a:gd name="connsiteX34" fmla="*/ 176212 w 861950"/>
                  <a:gd name="connsiteY34" fmla="*/ 521162 h 923593"/>
                  <a:gd name="connsiteX35" fmla="*/ 80962 w 861950"/>
                  <a:gd name="connsiteY35" fmla="*/ 409243 h 923593"/>
                  <a:gd name="connsiteX36" fmla="*/ 42862 w 861950"/>
                  <a:gd name="connsiteY36" fmla="*/ 421149 h 923593"/>
                  <a:gd name="connsiteX37" fmla="*/ 30956 w 861950"/>
                  <a:gd name="connsiteY37" fmla="*/ 449724 h 923593"/>
                  <a:gd name="connsiteX38" fmla="*/ 0 w 861950"/>
                  <a:gd name="connsiteY38" fmla="*/ 444962 h 923593"/>
                  <a:gd name="connsiteX39" fmla="*/ 16669 w 861950"/>
                  <a:gd name="connsiteY39" fmla="*/ 411624 h 923593"/>
                  <a:gd name="connsiteX40" fmla="*/ 38100 w 861950"/>
                  <a:gd name="connsiteY40" fmla="*/ 380668 h 923593"/>
                  <a:gd name="connsiteX41" fmla="*/ 111919 w 861950"/>
                  <a:gd name="connsiteY41" fmla="*/ 299706 h 923593"/>
                  <a:gd name="connsiteX42" fmla="*/ 126206 w 861950"/>
                  <a:gd name="connsiteY42" fmla="*/ 261606 h 923593"/>
                  <a:gd name="connsiteX43" fmla="*/ 183356 w 861950"/>
                  <a:gd name="connsiteY43" fmla="*/ 192549 h 923593"/>
                  <a:gd name="connsiteX44" fmla="*/ 207169 w 861950"/>
                  <a:gd name="connsiteY44" fmla="*/ 194931 h 923593"/>
                  <a:gd name="connsiteX45" fmla="*/ 211931 w 861950"/>
                  <a:gd name="connsiteY45" fmla="*/ 154449 h 923593"/>
                  <a:gd name="connsiteX46" fmla="*/ 259556 w 861950"/>
                  <a:gd name="connsiteY46" fmla="*/ 123493 h 923593"/>
                  <a:gd name="connsiteX47" fmla="*/ 288131 w 861950"/>
                  <a:gd name="connsiteY47" fmla="*/ 102062 h 923593"/>
                  <a:gd name="connsiteX48" fmla="*/ 302419 w 861950"/>
                  <a:gd name="connsiteY48" fmla="*/ 73487 h 923593"/>
                  <a:gd name="connsiteX49" fmla="*/ 359569 w 861950"/>
                  <a:gd name="connsiteY49" fmla="*/ 49674 h 923593"/>
                  <a:gd name="connsiteX50" fmla="*/ 376237 w 861950"/>
                  <a:gd name="connsiteY50" fmla="*/ 33006 h 923593"/>
                  <a:gd name="connsiteX51" fmla="*/ 410007 w 861950"/>
                  <a:gd name="connsiteY51" fmla="*/ 10493 h 923593"/>
                  <a:gd name="connsiteX52" fmla="*/ 409575 w 861950"/>
                  <a:gd name="connsiteY52" fmla="*/ 2049 h 923593"/>
                  <a:gd name="connsiteX53" fmla="*/ 434425 w 861950"/>
                  <a:gd name="connsiteY53" fmla="*/ 0 h 923593"/>
                  <a:gd name="connsiteX0" fmla="*/ 434425 w 861950"/>
                  <a:gd name="connsiteY0" fmla="*/ 0 h 923593"/>
                  <a:gd name="connsiteX1" fmla="*/ 423862 w 861950"/>
                  <a:gd name="connsiteY1" fmla="*/ 21125 h 923593"/>
                  <a:gd name="connsiteX2" fmla="*/ 509587 w 861950"/>
                  <a:gd name="connsiteY2" fmla="*/ 4457 h 923593"/>
                  <a:gd name="connsiteX3" fmla="*/ 590550 w 861950"/>
                  <a:gd name="connsiteY3" fmla="*/ 28269 h 923593"/>
                  <a:gd name="connsiteX4" fmla="*/ 609600 w 861950"/>
                  <a:gd name="connsiteY4" fmla="*/ 28269 h 923593"/>
                  <a:gd name="connsiteX5" fmla="*/ 616744 w 861950"/>
                  <a:gd name="connsiteY5" fmla="*/ 56844 h 923593"/>
                  <a:gd name="connsiteX6" fmla="*/ 654844 w 861950"/>
                  <a:gd name="connsiteY6" fmla="*/ 52082 h 923593"/>
                  <a:gd name="connsiteX7" fmla="*/ 773906 w 861950"/>
                  <a:gd name="connsiteY7" fmla="*/ 187813 h 923593"/>
                  <a:gd name="connsiteX8" fmla="*/ 816769 w 861950"/>
                  <a:gd name="connsiteY8" fmla="*/ 187813 h 923593"/>
                  <a:gd name="connsiteX9" fmla="*/ 852487 w 861950"/>
                  <a:gd name="connsiteY9" fmla="*/ 197338 h 923593"/>
                  <a:gd name="connsiteX10" fmla="*/ 859631 w 861950"/>
                  <a:gd name="connsiteY10" fmla="*/ 218769 h 923593"/>
                  <a:gd name="connsiteX11" fmla="*/ 840581 w 861950"/>
                  <a:gd name="connsiteY11" fmla="*/ 230675 h 923593"/>
                  <a:gd name="connsiteX12" fmla="*/ 842962 w 861950"/>
                  <a:gd name="connsiteY12" fmla="*/ 249725 h 923593"/>
                  <a:gd name="connsiteX13" fmla="*/ 842962 w 861950"/>
                  <a:gd name="connsiteY13" fmla="*/ 275919 h 923593"/>
                  <a:gd name="connsiteX14" fmla="*/ 831056 w 861950"/>
                  <a:gd name="connsiteY14" fmla="*/ 292588 h 923593"/>
                  <a:gd name="connsiteX15" fmla="*/ 857250 w 861950"/>
                  <a:gd name="connsiteY15" fmla="*/ 311638 h 923593"/>
                  <a:gd name="connsiteX16" fmla="*/ 861950 w 861950"/>
                  <a:gd name="connsiteY16" fmla="*/ 302238 h 923593"/>
                  <a:gd name="connsiteX17" fmla="*/ 769144 w 861950"/>
                  <a:gd name="connsiteY17" fmla="*/ 528306 h 923593"/>
                  <a:gd name="connsiteX18" fmla="*/ 657225 w 861950"/>
                  <a:gd name="connsiteY18" fmla="*/ 649749 h 923593"/>
                  <a:gd name="connsiteX19" fmla="*/ 583406 w 861950"/>
                  <a:gd name="connsiteY19" fmla="*/ 706899 h 923593"/>
                  <a:gd name="connsiteX20" fmla="*/ 557212 w 861950"/>
                  <a:gd name="connsiteY20" fmla="*/ 766431 h 923593"/>
                  <a:gd name="connsiteX21" fmla="*/ 519112 w 861950"/>
                  <a:gd name="connsiteY21" fmla="*/ 880731 h 923593"/>
                  <a:gd name="connsiteX22" fmla="*/ 457200 w 861950"/>
                  <a:gd name="connsiteY22" fmla="*/ 923593 h 923593"/>
                  <a:gd name="connsiteX23" fmla="*/ 459581 w 861950"/>
                  <a:gd name="connsiteY23" fmla="*/ 868824 h 923593"/>
                  <a:gd name="connsiteX24" fmla="*/ 436531 w 861950"/>
                  <a:gd name="connsiteY24" fmla="*/ 835954 h 923593"/>
                  <a:gd name="connsiteX25" fmla="*/ 500062 w 861950"/>
                  <a:gd name="connsiteY25" fmla="*/ 790243 h 923593"/>
                  <a:gd name="connsiteX26" fmla="*/ 447675 w 861950"/>
                  <a:gd name="connsiteY26" fmla="*/ 747381 h 923593"/>
                  <a:gd name="connsiteX27" fmla="*/ 416719 w 861950"/>
                  <a:gd name="connsiteY27" fmla="*/ 680706 h 923593"/>
                  <a:gd name="connsiteX28" fmla="*/ 350044 w 861950"/>
                  <a:gd name="connsiteY28" fmla="*/ 640224 h 923593"/>
                  <a:gd name="connsiteX29" fmla="*/ 333375 w 861950"/>
                  <a:gd name="connsiteY29" fmla="*/ 602124 h 923593"/>
                  <a:gd name="connsiteX30" fmla="*/ 285750 w 861950"/>
                  <a:gd name="connsiteY30" fmla="*/ 587837 h 923593"/>
                  <a:gd name="connsiteX31" fmla="*/ 278606 w 861950"/>
                  <a:gd name="connsiteY31" fmla="*/ 587837 h 923593"/>
                  <a:gd name="connsiteX32" fmla="*/ 216694 w 861950"/>
                  <a:gd name="connsiteY32" fmla="*/ 523543 h 923593"/>
                  <a:gd name="connsiteX33" fmla="*/ 180975 w 861950"/>
                  <a:gd name="connsiteY33" fmla="*/ 556881 h 923593"/>
                  <a:gd name="connsiteX34" fmla="*/ 176212 w 861950"/>
                  <a:gd name="connsiteY34" fmla="*/ 521162 h 923593"/>
                  <a:gd name="connsiteX35" fmla="*/ 80962 w 861950"/>
                  <a:gd name="connsiteY35" fmla="*/ 409243 h 923593"/>
                  <a:gd name="connsiteX36" fmla="*/ 42862 w 861950"/>
                  <a:gd name="connsiteY36" fmla="*/ 421149 h 923593"/>
                  <a:gd name="connsiteX37" fmla="*/ 30956 w 861950"/>
                  <a:gd name="connsiteY37" fmla="*/ 449724 h 923593"/>
                  <a:gd name="connsiteX38" fmla="*/ 0 w 861950"/>
                  <a:gd name="connsiteY38" fmla="*/ 444962 h 923593"/>
                  <a:gd name="connsiteX39" fmla="*/ 16669 w 861950"/>
                  <a:gd name="connsiteY39" fmla="*/ 411624 h 923593"/>
                  <a:gd name="connsiteX40" fmla="*/ 38100 w 861950"/>
                  <a:gd name="connsiteY40" fmla="*/ 380668 h 923593"/>
                  <a:gd name="connsiteX41" fmla="*/ 111919 w 861950"/>
                  <a:gd name="connsiteY41" fmla="*/ 299706 h 923593"/>
                  <a:gd name="connsiteX42" fmla="*/ 126206 w 861950"/>
                  <a:gd name="connsiteY42" fmla="*/ 261606 h 923593"/>
                  <a:gd name="connsiteX43" fmla="*/ 183356 w 861950"/>
                  <a:gd name="connsiteY43" fmla="*/ 192549 h 923593"/>
                  <a:gd name="connsiteX44" fmla="*/ 207169 w 861950"/>
                  <a:gd name="connsiteY44" fmla="*/ 194931 h 923593"/>
                  <a:gd name="connsiteX45" fmla="*/ 211931 w 861950"/>
                  <a:gd name="connsiteY45" fmla="*/ 154449 h 923593"/>
                  <a:gd name="connsiteX46" fmla="*/ 259556 w 861950"/>
                  <a:gd name="connsiteY46" fmla="*/ 123493 h 923593"/>
                  <a:gd name="connsiteX47" fmla="*/ 288131 w 861950"/>
                  <a:gd name="connsiteY47" fmla="*/ 102062 h 923593"/>
                  <a:gd name="connsiteX48" fmla="*/ 302419 w 861950"/>
                  <a:gd name="connsiteY48" fmla="*/ 73487 h 923593"/>
                  <a:gd name="connsiteX49" fmla="*/ 359569 w 861950"/>
                  <a:gd name="connsiteY49" fmla="*/ 49674 h 923593"/>
                  <a:gd name="connsiteX50" fmla="*/ 376237 w 861950"/>
                  <a:gd name="connsiteY50" fmla="*/ 33006 h 923593"/>
                  <a:gd name="connsiteX51" fmla="*/ 410007 w 861950"/>
                  <a:gd name="connsiteY51" fmla="*/ 10493 h 923593"/>
                  <a:gd name="connsiteX52" fmla="*/ 409575 w 861950"/>
                  <a:gd name="connsiteY52" fmla="*/ 2049 h 923593"/>
                  <a:gd name="connsiteX53" fmla="*/ 434425 w 861950"/>
                  <a:gd name="connsiteY53" fmla="*/ 0 h 923593"/>
                  <a:gd name="connsiteX0" fmla="*/ 434425 w 861950"/>
                  <a:gd name="connsiteY0" fmla="*/ 0 h 923593"/>
                  <a:gd name="connsiteX1" fmla="*/ 423862 w 861950"/>
                  <a:gd name="connsiteY1" fmla="*/ 21125 h 923593"/>
                  <a:gd name="connsiteX2" fmla="*/ 509587 w 861950"/>
                  <a:gd name="connsiteY2" fmla="*/ 4457 h 923593"/>
                  <a:gd name="connsiteX3" fmla="*/ 590550 w 861950"/>
                  <a:gd name="connsiteY3" fmla="*/ 28269 h 923593"/>
                  <a:gd name="connsiteX4" fmla="*/ 609600 w 861950"/>
                  <a:gd name="connsiteY4" fmla="*/ 28269 h 923593"/>
                  <a:gd name="connsiteX5" fmla="*/ 616744 w 861950"/>
                  <a:gd name="connsiteY5" fmla="*/ 56844 h 923593"/>
                  <a:gd name="connsiteX6" fmla="*/ 654844 w 861950"/>
                  <a:gd name="connsiteY6" fmla="*/ 52082 h 923593"/>
                  <a:gd name="connsiteX7" fmla="*/ 773906 w 861950"/>
                  <a:gd name="connsiteY7" fmla="*/ 187813 h 923593"/>
                  <a:gd name="connsiteX8" fmla="*/ 816769 w 861950"/>
                  <a:gd name="connsiteY8" fmla="*/ 187813 h 923593"/>
                  <a:gd name="connsiteX9" fmla="*/ 852487 w 861950"/>
                  <a:gd name="connsiteY9" fmla="*/ 197338 h 923593"/>
                  <a:gd name="connsiteX10" fmla="*/ 859631 w 861950"/>
                  <a:gd name="connsiteY10" fmla="*/ 218769 h 923593"/>
                  <a:gd name="connsiteX11" fmla="*/ 840581 w 861950"/>
                  <a:gd name="connsiteY11" fmla="*/ 230675 h 923593"/>
                  <a:gd name="connsiteX12" fmla="*/ 842962 w 861950"/>
                  <a:gd name="connsiteY12" fmla="*/ 249725 h 923593"/>
                  <a:gd name="connsiteX13" fmla="*/ 842962 w 861950"/>
                  <a:gd name="connsiteY13" fmla="*/ 275919 h 923593"/>
                  <a:gd name="connsiteX14" fmla="*/ 831056 w 861950"/>
                  <a:gd name="connsiteY14" fmla="*/ 292588 h 923593"/>
                  <a:gd name="connsiteX15" fmla="*/ 857250 w 861950"/>
                  <a:gd name="connsiteY15" fmla="*/ 311638 h 923593"/>
                  <a:gd name="connsiteX16" fmla="*/ 861950 w 861950"/>
                  <a:gd name="connsiteY16" fmla="*/ 302238 h 923593"/>
                  <a:gd name="connsiteX17" fmla="*/ 769144 w 861950"/>
                  <a:gd name="connsiteY17" fmla="*/ 528306 h 923593"/>
                  <a:gd name="connsiteX18" fmla="*/ 657225 w 861950"/>
                  <a:gd name="connsiteY18" fmla="*/ 649749 h 923593"/>
                  <a:gd name="connsiteX19" fmla="*/ 583406 w 861950"/>
                  <a:gd name="connsiteY19" fmla="*/ 706899 h 923593"/>
                  <a:gd name="connsiteX20" fmla="*/ 557212 w 861950"/>
                  <a:gd name="connsiteY20" fmla="*/ 766431 h 923593"/>
                  <a:gd name="connsiteX21" fmla="*/ 519112 w 861950"/>
                  <a:gd name="connsiteY21" fmla="*/ 880731 h 923593"/>
                  <a:gd name="connsiteX22" fmla="*/ 457200 w 861950"/>
                  <a:gd name="connsiteY22" fmla="*/ 923593 h 923593"/>
                  <a:gd name="connsiteX23" fmla="*/ 459581 w 861950"/>
                  <a:gd name="connsiteY23" fmla="*/ 868824 h 923593"/>
                  <a:gd name="connsiteX24" fmla="*/ 436531 w 861950"/>
                  <a:gd name="connsiteY24" fmla="*/ 835954 h 923593"/>
                  <a:gd name="connsiteX25" fmla="*/ 487032 w 861950"/>
                  <a:gd name="connsiteY25" fmla="*/ 776847 h 923593"/>
                  <a:gd name="connsiteX26" fmla="*/ 447675 w 861950"/>
                  <a:gd name="connsiteY26" fmla="*/ 747381 h 923593"/>
                  <a:gd name="connsiteX27" fmla="*/ 416719 w 861950"/>
                  <a:gd name="connsiteY27" fmla="*/ 680706 h 923593"/>
                  <a:gd name="connsiteX28" fmla="*/ 350044 w 861950"/>
                  <a:gd name="connsiteY28" fmla="*/ 640224 h 923593"/>
                  <a:gd name="connsiteX29" fmla="*/ 333375 w 861950"/>
                  <a:gd name="connsiteY29" fmla="*/ 602124 h 923593"/>
                  <a:gd name="connsiteX30" fmla="*/ 285750 w 861950"/>
                  <a:gd name="connsiteY30" fmla="*/ 587837 h 923593"/>
                  <a:gd name="connsiteX31" fmla="*/ 278606 w 861950"/>
                  <a:gd name="connsiteY31" fmla="*/ 587837 h 923593"/>
                  <a:gd name="connsiteX32" fmla="*/ 216694 w 861950"/>
                  <a:gd name="connsiteY32" fmla="*/ 523543 h 923593"/>
                  <a:gd name="connsiteX33" fmla="*/ 180975 w 861950"/>
                  <a:gd name="connsiteY33" fmla="*/ 556881 h 923593"/>
                  <a:gd name="connsiteX34" fmla="*/ 176212 w 861950"/>
                  <a:gd name="connsiteY34" fmla="*/ 521162 h 923593"/>
                  <a:gd name="connsiteX35" fmla="*/ 80962 w 861950"/>
                  <a:gd name="connsiteY35" fmla="*/ 409243 h 923593"/>
                  <a:gd name="connsiteX36" fmla="*/ 42862 w 861950"/>
                  <a:gd name="connsiteY36" fmla="*/ 421149 h 923593"/>
                  <a:gd name="connsiteX37" fmla="*/ 30956 w 861950"/>
                  <a:gd name="connsiteY37" fmla="*/ 449724 h 923593"/>
                  <a:gd name="connsiteX38" fmla="*/ 0 w 861950"/>
                  <a:gd name="connsiteY38" fmla="*/ 444962 h 923593"/>
                  <a:gd name="connsiteX39" fmla="*/ 16669 w 861950"/>
                  <a:gd name="connsiteY39" fmla="*/ 411624 h 923593"/>
                  <a:gd name="connsiteX40" fmla="*/ 38100 w 861950"/>
                  <a:gd name="connsiteY40" fmla="*/ 380668 h 923593"/>
                  <a:gd name="connsiteX41" fmla="*/ 111919 w 861950"/>
                  <a:gd name="connsiteY41" fmla="*/ 299706 h 923593"/>
                  <a:gd name="connsiteX42" fmla="*/ 126206 w 861950"/>
                  <a:gd name="connsiteY42" fmla="*/ 261606 h 923593"/>
                  <a:gd name="connsiteX43" fmla="*/ 183356 w 861950"/>
                  <a:gd name="connsiteY43" fmla="*/ 192549 h 923593"/>
                  <a:gd name="connsiteX44" fmla="*/ 207169 w 861950"/>
                  <a:gd name="connsiteY44" fmla="*/ 194931 h 923593"/>
                  <a:gd name="connsiteX45" fmla="*/ 211931 w 861950"/>
                  <a:gd name="connsiteY45" fmla="*/ 154449 h 923593"/>
                  <a:gd name="connsiteX46" fmla="*/ 259556 w 861950"/>
                  <a:gd name="connsiteY46" fmla="*/ 123493 h 923593"/>
                  <a:gd name="connsiteX47" fmla="*/ 288131 w 861950"/>
                  <a:gd name="connsiteY47" fmla="*/ 102062 h 923593"/>
                  <a:gd name="connsiteX48" fmla="*/ 302419 w 861950"/>
                  <a:gd name="connsiteY48" fmla="*/ 73487 h 923593"/>
                  <a:gd name="connsiteX49" fmla="*/ 359569 w 861950"/>
                  <a:gd name="connsiteY49" fmla="*/ 49674 h 923593"/>
                  <a:gd name="connsiteX50" fmla="*/ 376237 w 861950"/>
                  <a:gd name="connsiteY50" fmla="*/ 33006 h 923593"/>
                  <a:gd name="connsiteX51" fmla="*/ 410007 w 861950"/>
                  <a:gd name="connsiteY51" fmla="*/ 10493 h 923593"/>
                  <a:gd name="connsiteX52" fmla="*/ 409575 w 861950"/>
                  <a:gd name="connsiteY52" fmla="*/ 2049 h 923593"/>
                  <a:gd name="connsiteX53" fmla="*/ 434425 w 861950"/>
                  <a:gd name="connsiteY53" fmla="*/ 0 h 923593"/>
                  <a:gd name="connsiteX0" fmla="*/ 434425 w 861950"/>
                  <a:gd name="connsiteY0" fmla="*/ 0 h 923593"/>
                  <a:gd name="connsiteX1" fmla="*/ 423862 w 861950"/>
                  <a:gd name="connsiteY1" fmla="*/ 21125 h 923593"/>
                  <a:gd name="connsiteX2" fmla="*/ 509587 w 861950"/>
                  <a:gd name="connsiteY2" fmla="*/ 4457 h 923593"/>
                  <a:gd name="connsiteX3" fmla="*/ 590550 w 861950"/>
                  <a:gd name="connsiteY3" fmla="*/ 28269 h 923593"/>
                  <a:gd name="connsiteX4" fmla="*/ 609600 w 861950"/>
                  <a:gd name="connsiteY4" fmla="*/ 28269 h 923593"/>
                  <a:gd name="connsiteX5" fmla="*/ 616744 w 861950"/>
                  <a:gd name="connsiteY5" fmla="*/ 56844 h 923593"/>
                  <a:gd name="connsiteX6" fmla="*/ 654844 w 861950"/>
                  <a:gd name="connsiteY6" fmla="*/ 52082 h 923593"/>
                  <a:gd name="connsiteX7" fmla="*/ 773906 w 861950"/>
                  <a:gd name="connsiteY7" fmla="*/ 187813 h 923593"/>
                  <a:gd name="connsiteX8" fmla="*/ 816769 w 861950"/>
                  <a:gd name="connsiteY8" fmla="*/ 187813 h 923593"/>
                  <a:gd name="connsiteX9" fmla="*/ 852487 w 861950"/>
                  <a:gd name="connsiteY9" fmla="*/ 197338 h 923593"/>
                  <a:gd name="connsiteX10" fmla="*/ 859631 w 861950"/>
                  <a:gd name="connsiteY10" fmla="*/ 218769 h 923593"/>
                  <a:gd name="connsiteX11" fmla="*/ 840581 w 861950"/>
                  <a:gd name="connsiteY11" fmla="*/ 230675 h 923593"/>
                  <a:gd name="connsiteX12" fmla="*/ 842962 w 861950"/>
                  <a:gd name="connsiteY12" fmla="*/ 249725 h 923593"/>
                  <a:gd name="connsiteX13" fmla="*/ 842962 w 861950"/>
                  <a:gd name="connsiteY13" fmla="*/ 275919 h 923593"/>
                  <a:gd name="connsiteX14" fmla="*/ 831056 w 861950"/>
                  <a:gd name="connsiteY14" fmla="*/ 292588 h 923593"/>
                  <a:gd name="connsiteX15" fmla="*/ 857250 w 861950"/>
                  <a:gd name="connsiteY15" fmla="*/ 311638 h 923593"/>
                  <a:gd name="connsiteX16" fmla="*/ 861950 w 861950"/>
                  <a:gd name="connsiteY16" fmla="*/ 302238 h 923593"/>
                  <a:gd name="connsiteX17" fmla="*/ 769144 w 861950"/>
                  <a:gd name="connsiteY17" fmla="*/ 528306 h 923593"/>
                  <a:gd name="connsiteX18" fmla="*/ 657225 w 861950"/>
                  <a:gd name="connsiteY18" fmla="*/ 649749 h 923593"/>
                  <a:gd name="connsiteX19" fmla="*/ 583406 w 861950"/>
                  <a:gd name="connsiteY19" fmla="*/ 706899 h 923593"/>
                  <a:gd name="connsiteX20" fmla="*/ 557212 w 861950"/>
                  <a:gd name="connsiteY20" fmla="*/ 766431 h 923593"/>
                  <a:gd name="connsiteX21" fmla="*/ 519112 w 861950"/>
                  <a:gd name="connsiteY21" fmla="*/ 880731 h 923593"/>
                  <a:gd name="connsiteX22" fmla="*/ 457200 w 861950"/>
                  <a:gd name="connsiteY22" fmla="*/ 923593 h 923593"/>
                  <a:gd name="connsiteX23" fmla="*/ 438407 w 861950"/>
                  <a:gd name="connsiteY23" fmla="*/ 866910 h 923593"/>
                  <a:gd name="connsiteX24" fmla="*/ 436531 w 861950"/>
                  <a:gd name="connsiteY24" fmla="*/ 835954 h 923593"/>
                  <a:gd name="connsiteX25" fmla="*/ 487032 w 861950"/>
                  <a:gd name="connsiteY25" fmla="*/ 776847 h 923593"/>
                  <a:gd name="connsiteX26" fmla="*/ 447675 w 861950"/>
                  <a:gd name="connsiteY26" fmla="*/ 747381 h 923593"/>
                  <a:gd name="connsiteX27" fmla="*/ 416719 w 861950"/>
                  <a:gd name="connsiteY27" fmla="*/ 680706 h 923593"/>
                  <a:gd name="connsiteX28" fmla="*/ 350044 w 861950"/>
                  <a:gd name="connsiteY28" fmla="*/ 640224 h 923593"/>
                  <a:gd name="connsiteX29" fmla="*/ 333375 w 861950"/>
                  <a:gd name="connsiteY29" fmla="*/ 602124 h 923593"/>
                  <a:gd name="connsiteX30" fmla="*/ 285750 w 861950"/>
                  <a:gd name="connsiteY30" fmla="*/ 587837 h 923593"/>
                  <a:gd name="connsiteX31" fmla="*/ 278606 w 861950"/>
                  <a:gd name="connsiteY31" fmla="*/ 587837 h 923593"/>
                  <a:gd name="connsiteX32" fmla="*/ 216694 w 861950"/>
                  <a:gd name="connsiteY32" fmla="*/ 523543 h 923593"/>
                  <a:gd name="connsiteX33" fmla="*/ 180975 w 861950"/>
                  <a:gd name="connsiteY33" fmla="*/ 556881 h 923593"/>
                  <a:gd name="connsiteX34" fmla="*/ 176212 w 861950"/>
                  <a:gd name="connsiteY34" fmla="*/ 521162 h 923593"/>
                  <a:gd name="connsiteX35" fmla="*/ 80962 w 861950"/>
                  <a:gd name="connsiteY35" fmla="*/ 409243 h 923593"/>
                  <a:gd name="connsiteX36" fmla="*/ 42862 w 861950"/>
                  <a:gd name="connsiteY36" fmla="*/ 421149 h 923593"/>
                  <a:gd name="connsiteX37" fmla="*/ 30956 w 861950"/>
                  <a:gd name="connsiteY37" fmla="*/ 449724 h 923593"/>
                  <a:gd name="connsiteX38" fmla="*/ 0 w 861950"/>
                  <a:gd name="connsiteY38" fmla="*/ 444962 h 923593"/>
                  <a:gd name="connsiteX39" fmla="*/ 16669 w 861950"/>
                  <a:gd name="connsiteY39" fmla="*/ 411624 h 923593"/>
                  <a:gd name="connsiteX40" fmla="*/ 38100 w 861950"/>
                  <a:gd name="connsiteY40" fmla="*/ 380668 h 923593"/>
                  <a:gd name="connsiteX41" fmla="*/ 111919 w 861950"/>
                  <a:gd name="connsiteY41" fmla="*/ 299706 h 923593"/>
                  <a:gd name="connsiteX42" fmla="*/ 126206 w 861950"/>
                  <a:gd name="connsiteY42" fmla="*/ 261606 h 923593"/>
                  <a:gd name="connsiteX43" fmla="*/ 183356 w 861950"/>
                  <a:gd name="connsiteY43" fmla="*/ 192549 h 923593"/>
                  <a:gd name="connsiteX44" fmla="*/ 207169 w 861950"/>
                  <a:gd name="connsiteY44" fmla="*/ 194931 h 923593"/>
                  <a:gd name="connsiteX45" fmla="*/ 211931 w 861950"/>
                  <a:gd name="connsiteY45" fmla="*/ 154449 h 923593"/>
                  <a:gd name="connsiteX46" fmla="*/ 259556 w 861950"/>
                  <a:gd name="connsiteY46" fmla="*/ 123493 h 923593"/>
                  <a:gd name="connsiteX47" fmla="*/ 288131 w 861950"/>
                  <a:gd name="connsiteY47" fmla="*/ 102062 h 923593"/>
                  <a:gd name="connsiteX48" fmla="*/ 302419 w 861950"/>
                  <a:gd name="connsiteY48" fmla="*/ 73487 h 923593"/>
                  <a:gd name="connsiteX49" fmla="*/ 359569 w 861950"/>
                  <a:gd name="connsiteY49" fmla="*/ 49674 h 923593"/>
                  <a:gd name="connsiteX50" fmla="*/ 376237 w 861950"/>
                  <a:gd name="connsiteY50" fmla="*/ 33006 h 923593"/>
                  <a:gd name="connsiteX51" fmla="*/ 410007 w 861950"/>
                  <a:gd name="connsiteY51" fmla="*/ 10493 h 923593"/>
                  <a:gd name="connsiteX52" fmla="*/ 409575 w 861950"/>
                  <a:gd name="connsiteY52" fmla="*/ 2049 h 923593"/>
                  <a:gd name="connsiteX53" fmla="*/ 434425 w 861950"/>
                  <a:gd name="connsiteY53" fmla="*/ 0 h 923593"/>
                  <a:gd name="connsiteX0" fmla="*/ 434425 w 861950"/>
                  <a:gd name="connsiteY0" fmla="*/ 0 h 919765"/>
                  <a:gd name="connsiteX1" fmla="*/ 423862 w 861950"/>
                  <a:gd name="connsiteY1" fmla="*/ 21125 h 919765"/>
                  <a:gd name="connsiteX2" fmla="*/ 509587 w 861950"/>
                  <a:gd name="connsiteY2" fmla="*/ 4457 h 919765"/>
                  <a:gd name="connsiteX3" fmla="*/ 590550 w 861950"/>
                  <a:gd name="connsiteY3" fmla="*/ 28269 h 919765"/>
                  <a:gd name="connsiteX4" fmla="*/ 609600 w 861950"/>
                  <a:gd name="connsiteY4" fmla="*/ 28269 h 919765"/>
                  <a:gd name="connsiteX5" fmla="*/ 616744 w 861950"/>
                  <a:gd name="connsiteY5" fmla="*/ 56844 h 919765"/>
                  <a:gd name="connsiteX6" fmla="*/ 654844 w 861950"/>
                  <a:gd name="connsiteY6" fmla="*/ 52082 h 919765"/>
                  <a:gd name="connsiteX7" fmla="*/ 773906 w 861950"/>
                  <a:gd name="connsiteY7" fmla="*/ 187813 h 919765"/>
                  <a:gd name="connsiteX8" fmla="*/ 816769 w 861950"/>
                  <a:gd name="connsiteY8" fmla="*/ 187813 h 919765"/>
                  <a:gd name="connsiteX9" fmla="*/ 852487 w 861950"/>
                  <a:gd name="connsiteY9" fmla="*/ 197338 h 919765"/>
                  <a:gd name="connsiteX10" fmla="*/ 859631 w 861950"/>
                  <a:gd name="connsiteY10" fmla="*/ 218769 h 919765"/>
                  <a:gd name="connsiteX11" fmla="*/ 840581 w 861950"/>
                  <a:gd name="connsiteY11" fmla="*/ 230675 h 919765"/>
                  <a:gd name="connsiteX12" fmla="*/ 842962 w 861950"/>
                  <a:gd name="connsiteY12" fmla="*/ 249725 h 919765"/>
                  <a:gd name="connsiteX13" fmla="*/ 842962 w 861950"/>
                  <a:gd name="connsiteY13" fmla="*/ 275919 h 919765"/>
                  <a:gd name="connsiteX14" fmla="*/ 831056 w 861950"/>
                  <a:gd name="connsiteY14" fmla="*/ 292588 h 919765"/>
                  <a:gd name="connsiteX15" fmla="*/ 857250 w 861950"/>
                  <a:gd name="connsiteY15" fmla="*/ 311638 h 919765"/>
                  <a:gd name="connsiteX16" fmla="*/ 861950 w 861950"/>
                  <a:gd name="connsiteY16" fmla="*/ 302238 h 919765"/>
                  <a:gd name="connsiteX17" fmla="*/ 769144 w 861950"/>
                  <a:gd name="connsiteY17" fmla="*/ 528306 h 919765"/>
                  <a:gd name="connsiteX18" fmla="*/ 657225 w 861950"/>
                  <a:gd name="connsiteY18" fmla="*/ 649749 h 919765"/>
                  <a:gd name="connsiteX19" fmla="*/ 583406 w 861950"/>
                  <a:gd name="connsiteY19" fmla="*/ 706899 h 919765"/>
                  <a:gd name="connsiteX20" fmla="*/ 557212 w 861950"/>
                  <a:gd name="connsiteY20" fmla="*/ 766431 h 919765"/>
                  <a:gd name="connsiteX21" fmla="*/ 519112 w 861950"/>
                  <a:gd name="connsiteY21" fmla="*/ 880731 h 919765"/>
                  <a:gd name="connsiteX22" fmla="*/ 450685 w 861950"/>
                  <a:gd name="connsiteY22" fmla="*/ 919765 h 919765"/>
                  <a:gd name="connsiteX23" fmla="*/ 438407 w 861950"/>
                  <a:gd name="connsiteY23" fmla="*/ 866910 h 919765"/>
                  <a:gd name="connsiteX24" fmla="*/ 436531 w 861950"/>
                  <a:gd name="connsiteY24" fmla="*/ 835954 h 919765"/>
                  <a:gd name="connsiteX25" fmla="*/ 487032 w 861950"/>
                  <a:gd name="connsiteY25" fmla="*/ 776847 h 919765"/>
                  <a:gd name="connsiteX26" fmla="*/ 447675 w 861950"/>
                  <a:gd name="connsiteY26" fmla="*/ 747381 h 919765"/>
                  <a:gd name="connsiteX27" fmla="*/ 416719 w 861950"/>
                  <a:gd name="connsiteY27" fmla="*/ 680706 h 919765"/>
                  <a:gd name="connsiteX28" fmla="*/ 350044 w 861950"/>
                  <a:gd name="connsiteY28" fmla="*/ 640224 h 919765"/>
                  <a:gd name="connsiteX29" fmla="*/ 333375 w 861950"/>
                  <a:gd name="connsiteY29" fmla="*/ 602124 h 919765"/>
                  <a:gd name="connsiteX30" fmla="*/ 285750 w 861950"/>
                  <a:gd name="connsiteY30" fmla="*/ 587837 h 919765"/>
                  <a:gd name="connsiteX31" fmla="*/ 278606 w 861950"/>
                  <a:gd name="connsiteY31" fmla="*/ 587837 h 919765"/>
                  <a:gd name="connsiteX32" fmla="*/ 216694 w 861950"/>
                  <a:gd name="connsiteY32" fmla="*/ 523543 h 919765"/>
                  <a:gd name="connsiteX33" fmla="*/ 180975 w 861950"/>
                  <a:gd name="connsiteY33" fmla="*/ 556881 h 919765"/>
                  <a:gd name="connsiteX34" fmla="*/ 176212 w 861950"/>
                  <a:gd name="connsiteY34" fmla="*/ 521162 h 919765"/>
                  <a:gd name="connsiteX35" fmla="*/ 80962 w 861950"/>
                  <a:gd name="connsiteY35" fmla="*/ 409243 h 919765"/>
                  <a:gd name="connsiteX36" fmla="*/ 42862 w 861950"/>
                  <a:gd name="connsiteY36" fmla="*/ 421149 h 919765"/>
                  <a:gd name="connsiteX37" fmla="*/ 30956 w 861950"/>
                  <a:gd name="connsiteY37" fmla="*/ 449724 h 919765"/>
                  <a:gd name="connsiteX38" fmla="*/ 0 w 861950"/>
                  <a:gd name="connsiteY38" fmla="*/ 444962 h 919765"/>
                  <a:gd name="connsiteX39" fmla="*/ 16669 w 861950"/>
                  <a:gd name="connsiteY39" fmla="*/ 411624 h 919765"/>
                  <a:gd name="connsiteX40" fmla="*/ 38100 w 861950"/>
                  <a:gd name="connsiteY40" fmla="*/ 380668 h 919765"/>
                  <a:gd name="connsiteX41" fmla="*/ 111919 w 861950"/>
                  <a:gd name="connsiteY41" fmla="*/ 299706 h 919765"/>
                  <a:gd name="connsiteX42" fmla="*/ 126206 w 861950"/>
                  <a:gd name="connsiteY42" fmla="*/ 261606 h 919765"/>
                  <a:gd name="connsiteX43" fmla="*/ 183356 w 861950"/>
                  <a:gd name="connsiteY43" fmla="*/ 192549 h 919765"/>
                  <a:gd name="connsiteX44" fmla="*/ 207169 w 861950"/>
                  <a:gd name="connsiteY44" fmla="*/ 194931 h 919765"/>
                  <a:gd name="connsiteX45" fmla="*/ 211931 w 861950"/>
                  <a:gd name="connsiteY45" fmla="*/ 154449 h 919765"/>
                  <a:gd name="connsiteX46" fmla="*/ 259556 w 861950"/>
                  <a:gd name="connsiteY46" fmla="*/ 123493 h 919765"/>
                  <a:gd name="connsiteX47" fmla="*/ 288131 w 861950"/>
                  <a:gd name="connsiteY47" fmla="*/ 102062 h 919765"/>
                  <a:gd name="connsiteX48" fmla="*/ 302419 w 861950"/>
                  <a:gd name="connsiteY48" fmla="*/ 73487 h 919765"/>
                  <a:gd name="connsiteX49" fmla="*/ 359569 w 861950"/>
                  <a:gd name="connsiteY49" fmla="*/ 49674 h 919765"/>
                  <a:gd name="connsiteX50" fmla="*/ 376237 w 861950"/>
                  <a:gd name="connsiteY50" fmla="*/ 33006 h 919765"/>
                  <a:gd name="connsiteX51" fmla="*/ 410007 w 861950"/>
                  <a:gd name="connsiteY51" fmla="*/ 10493 h 919765"/>
                  <a:gd name="connsiteX52" fmla="*/ 409575 w 861950"/>
                  <a:gd name="connsiteY52" fmla="*/ 2049 h 919765"/>
                  <a:gd name="connsiteX53" fmla="*/ 434425 w 861950"/>
                  <a:gd name="connsiteY53" fmla="*/ 0 h 919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861950" h="919765">
                    <a:moveTo>
                      <a:pt x="434425" y="0"/>
                    </a:moveTo>
                    <a:lnTo>
                      <a:pt x="423862" y="21125"/>
                    </a:lnTo>
                    <a:lnTo>
                      <a:pt x="509587" y="4457"/>
                    </a:lnTo>
                    <a:lnTo>
                      <a:pt x="590550" y="28269"/>
                    </a:lnTo>
                    <a:lnTo>
                      <a:pt x="609600" y="28269"/>
                    </a:lnTo>
                    <a:lnTo>
                      <a:pt x="616744" y="56844"/>
                    </a:lnTo>
                    <a:lnTo>
                      <a:pt x="654844" y="52082"/>
                    </a:lnTo>
                    <a:lnTo>
                      <a:pt x="773906" y="187813"/>
                    </a:lnTo>
                    <a:lnTo>
                      <a:pt x="816769" y="187813"/>
                    </a:lnTo>
                    <a:lnTo>
                      <a:pt x="852487" y="197338"/>
                    </a:lnTo>
                    <a:lnTo>
                      <a:pt x="859631" y="218769"/>
                    </a:lnTo>
                    <a:lnTo>
                      <a:pt x="840581" y="230675"/>
                    </a:lnTo>
                    <a:lnTo>
                      <a:pt x="842962" y="249725"/>
                    </a:lnTo>
                    <a:lnTo>
                      <a:pt x="842962" y="275919"/>
                    </a:lnTo>
                    <a:lnTo>
                      <a:pt x="831056" y="292588"/>
                    </a:lnTo>
                    <a:lnTo>
                      <a:pt x="857250" y="311638"/>
                    </a:lnTo>
                    <a:lnTo>
                      <a:pt x="861950" y="302238"/>
                    </a:lnTo>
                    <a:lnTo>
                      <a:pt x="769144" y="528306"/>
                    </a:lnTo>
                    <a:lnTo>
                      <a:pt x="657225" y="649749"/>
                    </a:lnTo>
                    <a:lnTo>
                      <a:pt x="583406" y="706899"/>
                    </a:lnTo>
                    <a:lnTo>
                      <a:pt x="557212" y="766431"/>
                    </a:lnTo>
                    <a:lnTo>
                      <a:pt x="519112" y="880731"/>
                    </a:lnTo>
                    <a:lnTo>
                      <a:pt x="450685" y="919765"/>
                    </a:lnTo>
                    <a:cubicBezTo>
                      <a:pt x="451479" y="901509"/>
                      <a:pt x="437613" y="885166"/>
                      <a:pt x="438407" y="866910"/>
                    </a:cubicBezTo>
                    <a:lnTo>
                      <a:pt x="436531" y="835954"/>
                    </a:lnTo>
                    <a:lnTo>
                      <a:pt x="487032" y="776847"/>
                    </a:lnTo>
                    <a:lnTo>
                      <a:pt x="447675" y="747381"/>
                    </a:lnTo>
                    <a:lnTo>
                      <a:pt x="416719" y="680706"/>
                    </a:lnTo>
                    <a:lnTo>
                      <a:pt x="350044" y="640224"/>
                    </a:lnTo>
                    <a:lnTo>
                      <a:pt x="333375" y="602124"/>
                    </a:lnTo>
                    <a:lnTo>
                      <a:pt x="285750" y="587837"/>
                    </a:lnTo>
                    <a:lnTo>
                      <a:pt x="278606" y="587837"/>
                    </a:lnTo>
                    <a:lnTo>
                      <a:pt x="216694" y="523543"/>
                    </a:lnTo>
                    <a:lnTo>
                      <a:pt x="180975" y="556881"/>
                    </a:lnTo>
                    <a:lnTo>
                      <a:pt x="176212" y="521162"/>
                    </a:lnTo>
                    <a:lnTo>
                      <a:pt x="80962" y="409243"/>
                    </a:lnTo>
                    <a:lnTo>
                      <a:pt x="42862" y="421149"/>
                    </a:lnTo>
                    <a:lnTo>
                      <a:pt x="30956" y="449724"/>
                    </a:lnTo>
                    <a:lnTo>
                      <a:pt x="0" y="444962"/>
                    </a:lnTo>
                    <a:lnTo>
                      <a:pt x="16669" y="411624"/>
                    </a:lnTo>
                    <a:lnTo>
                      <a:pt x="38100" y="380668"/>
                    </a:lnTo>
                    <a:lnTo>
                      <a:pt x="111919" y="299706"/>
                    </a:lnTo>
                    <a:lnTo>
                      <a:pt x="126206" y="261606"/>
                    </a:lnTo>
                    <a:lnTo>
                      <a:pt x="183356" y="192549"/>
                    </a:lnTo>
                    <a:lnTo>
                      <a:pt x="207169" y="194931"/>
                    </a:lnTo>
                    <a:lnTo>
                      <a:pt x="211931" y="154449"/>
                    </a:lnTo>
                    <a:lnTo>
                      <a:pt x="259556" y="123493"/>
                    </a:lnTo>
                    <a:lnTo>
                      <a:pt x="288131" y="102062"/>
                    </a:lnTo>
                    <a:lnTo>
                      <a:pt x="302419" y="73487"/>
                    </a:lnTo>
                    <a:lnTo>
                      <a:pt x="359569" y="49674"/>
                    </a:lnTo>
                    <a:lnTo>
                      <a:pt x="376237" y="33006"/>
                    </a:lnTo>
                    <a:lnTo>
                      <a:pt x="410007" y="10493"/>
                    </a:lnTo>
                    <a:lnTo>
                      <a:pt x="409575" y="2049"/>
                    </a:lnTo>
                    <a:lnTo>
                      <a:pt x="434425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5A934C7D-81B0-F71F-26E7-090A7A461364}"/>
              </a:ext>
            </a:extLst>
          </p:cNvPr>
          <p:cNvSpPr txBox="1"/>
          <p:nvPr/>
        </p:nvSpPr>
        <p:spPr>
          <a:xfrm>
            <a:off x="9317767" y="4025064"/>
            <a:ext cx="2222500" cy="817245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>
            <a:defPPr>
              <a:defRPr lang="pt-BR"/>
            </a:defPPr>
            <a:lvl1pPr algn="ctr" defTabSz="457200">
              <a:defRPr b="1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Bahia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srgbClr val="ED7D31"/>
                </a:solidFill>
                <a:latin typeface="+mn-lt"/>
              </a:rPr>
              <a:t>Lei nº 14.905, 20/05/2025 </a:t>
            </a:r>
            <a:endParaRPr lang="pt-BR" sz="1400" dirty="0">
              <a:solidFill>
                <a:srgbClr val="4472C4"/>
              </a:solidFill>
              <a:latin typeface="+mn-lt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40F8AE3F-3007-5F3D-0068-1D7BEC417EEE}"/>
              </a:ext>
            </a:extLst>
          </p:cNvPr>
          <p:cNvSpPr txBox="1"/>
          <p:nvPr/>
        </p:nvSpPr>
        <p:spPr>
          <a:xfrm>
            <a:off x="8794039" y="910156"/>
            <a:ext cx="2222500" cy="1055608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>
            <a:defPPr>
              <a:defRPr lang="pt-BR"/>
            </a:defPPr>
            <a:lvl1pPr algn="ctr" defTabSz="457200">
              <a:defRPr sz="1400" b="1">
                <a:solidFill>
                  <a:srgbClr val="4472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Maranhã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srgbClr val="ED7D31"/>
                </a:solidFill>
                <a:latin typeface="+mn-lt"/>
              </a:rPr>
              <a:t>Lei nº 12.394, de 13/09/2024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DCA25F36-DCCA-18DB-986A-C5DB8BCF24BF}"/>
              </a:ext>
            </a:extLst>
          </p:cNvPr>
          <p:cNvSpPr txBox="1"/>
          <p:nvPr/>
        </p:nvSpPr>
        <p:spPr>
          <a:xfrm>
            <a:off x="649323" y="2179795"/>
            <a:ext cx="2108200" cy="817245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Goiá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srgbClr val="ED7D31"/>
                </a:solidFill>
                <a:cs typeface="Calibri" panose="020F0502020204030204" pitchFamily="34" charset="0"/>
              </a:rPr>
              <a:t>Lei nº 22.975, de 05/09/2024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ea typeface="+mn-ea"/>
              <a:cs typeface="Calibri" panose="020F0502020204030204" pitchFamily="34" charset="0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818BC77-4278-A4F6-6DD7-F27DAF5E7166}"/>
              </a:ext>
            </a:extLst>
          </p:cNvPr>
          <p:cNvSpPr txBox="1"/>
          <p:nvPr/>
        </p:nvSpPr>
        <p:spPr>
          <a:xfrm>
            <a:off x="2389117" y="5161424"/>
            <a:ext cx="2398410" cy="817245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cs typeface="Calibri" panose="020F0502020204030204" pitchFamily="34" charset="0"/>
              </a:rPr>
              <a:t>Minas Gerai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cs typeface="Calibri" panose="020F0502020204030204" pitchFamily="34" charset="0"/>
              </a:rPr>
              <a:t>Lei nº 24.936, de 26/0</a:t>
            </a:r>
            <a:r>
              <a:rPr lang="pt-BR" sz="1400" b="1" dirty="0">
                <a:solidFill>
                  <a:srgbClr val="ED7D31"/>
                </a:solidFill>
                <a:cs typeface="Calibri" panose="020F0502020204030204" pitchFamily="34" charset="0"/>
              </a:rPr>
              <a:t>7/2024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F9CE0373-64A7-3BB8-476F-37F35827AB43}"/>
              </a:ext>
            </a:extLst>
          </p:cNvPr>
          <p:cNvCxnSpPr>
            <a:cxnSpLocks/>
            <a:endCxn id="41" idx="3"/>
          </p:cNvCxnSpPr>
          <p:nvPr/>
        </p:nvCxnSpPr>
        <p:spPr>
          <a:xfrm flipH="1" flipV="1">
            <a:off x="2757523" y="2588418"/>
            <a:ext cx="3986019" cy="1425581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51" name="Gráfico 50" descr="Marcador com preenchimento sólido">
            <a:extLst>
              <a:ext uri="{FF2B5EF4-FFF2-40B4-BE49-F238E27FC236}">
                <a16:creationId xmlns:a16="http://schemas.microsoft.com/office/drawing/2014/main" id="{5ECD7A8D-1CCB-C43F-6306-D20D1E5879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95810" y="3547449"/>
            <a:ext cx="432000" cy="432000"/>
          </a:xfrm>
          <a:prstGeom prst="rect">
            <a:avLst/>
          </a:prstGeom>
        </p:spPr>
      </p:pic>
      <p:pic>
        <p:nvPicPr>
          <p:cNvPr id="52" name="Gráfico 51" descr="Marcador com preenchimento sólido">
            <a:extLst>
              <a:ext uri="{FF2B5EF4-FFF2-40B4-BE49-F238E27FC236}">
                <a16:creationId xmlns:a16="http://schemas.microsoft.com/office/drawing/2014/main" id="{EBCF4C36-8899-B5F7-63E9-F564C3AE4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79227" y="2267116"/>
            <a:ext cx="432000" cy="432000"/>
          </a:xfrm>
          <a:prstGeom prst="rect">
            <a:avLst/>
          </a:prstGeom>
        </p:spPr>
      </p:pic>
      <p:pic>
        <p:nvPicPr>
          <p:cNvPr id="54" name="Gráfico 53" descr="Marcador com preenchimento sólido">
            <a:extLst>
              <a:ext uri="{FF2B5EF4-FFF2-40B4-BE49-F238E27FC236}">
                <a16:creationId xmlns:a16="http://schemas.microsoft.com/office/drawing/2014/main" id="{483E660B-A4A4-8C7D-1DAD-71E8CA66ED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72872" y="4277314"/>
            <a:ext cx="432000" cy="432000"/>
          </a:xfrm>
          <a:prstGeom prst="rect">
            <a:avLst/>
          </a:prstGeom>
        </p:spPr>
      </p:pic>
      <p:pic>
        <p:nvPicPr>
          <p:cNvPr id="55" name="Gráfico 54" descr="Marcador com preenchimento sólido">
            <a:extLst>
              <a:ext uri="{FF2B5EF4-FFF2-40B4-BE49-F238E27FC236}">
                <a16:creationId xmlns:a16="http://schemas.microsoft.com/office/drawing/2014/main" id="{ADB38874-02FD-B6DC-219E-5B41F5FD90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31396" y="3636260"/>
            <a:ext cx="432000" cy="432000"/>
          </a:xfrm>
          <a:prstGeom prst="rect">
            <a:avLst/>
          </a:prstGeom>
        </p:spPr>
      </p:pic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id="{6C339D32-8AD1-9FCB-3663-1F4C1B64A3E8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4787527" y="4537490"/>
            <a:ext cx="2647782" cy="1032557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A1994618-77F0-870F-F19C-6BB7A01E4252}"/>
              </a:ext>
            </a:extLst>
          </p:cNvPr>
          <p:cNvCxnSpPr>
            <a:cxnSpLocks/>
            <a:stCxn id="40" idx="1"/>
          </p:cNvCxnSpPr>
          <p:nvPr/>
        </p:nvCxnSpPr>
        <p:spPr>
          <a:xfrm flipH="1">
            <a:off x="7258693" y="1437960"/>
            <a:ext cx="1535346" cy="942950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1F857AEE-C3C2-FF32-37A2-53FBC7827E8C}"/>
              </a:ext>
            </a:extLst>
          </p:cNvPr>
          <p:cNvCxnSpPr>
            <a:cxnSpLocks/>
            <a:stCxn id="39" idx="1"/>
          </p:cNvCxnSpPr>
          <p:nvPr/>
        </p:nvCxnSpPr>
        <p:spPr>
          <a:xfrm flipH="1" flipV="1">
            <a:off x="8013362" y="3816121"/>
            <a:ext cx="1304405" cy="617566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60" name="Picture 2" descr="Trilho do trem - ícones de sinalização grátis">
            <a:extLst>
              <a:ext uri="{FF2B5EF4-FFF2-40B4-BE49-F238E27FC236}">
                <a16:creationId xmlns:a16="http://schemas.microsoft.com/office/drawing/2014/main" id="{5C6A8E66-4375-FD33-97C5-36A95484D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8399" y="5538112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CaixaDeTexto 60">
            <a:extLst>
              <a:ext uri="{FF2B5EF4-FFF2-40B4-BE49-F238E27FC236}">
                <a16:creationId xmlns:a16="http://schemas.microsoft.com/office/drawing/2014/main" id="{986D6509-7130-CE39-56A2-AA442B9B180D}"/>
              </a:ext>
            </a:extLst>
          </p:cNvPr>
          <p:cNvSpPr txBox="1"/>
          <p:nvPr/>
        </p:nvSpPr>
        <p:spPr>
          <a:xfrm>
            <a:off x="9263663" y="2459824"/>
            <a:ext cx="1990281" cy="1055608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>
            <a:defPPr>
              <a:defRPr lang="pt-BR"/>
            </a:defPPr>
            <a:lvl1pPr algn="ctr" defTabSz="457200">
              <a:defRPr sz="1400" b="1">
                <a:solidFill>
                  <a:srgbClr val="4472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+mn-lt"/>
              </a:rPr>
              <a:t>Tocanti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+mn-lt"/>
              </a:rPr>
              <a:t>PLL 882/2024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+mn-lt"/>
              </a:rPr>
              <a:t>Em tramitação na ALETO</a:t>
            </a:r>
            <a:endParaRPr lang="pt-BR" dirty="0">
              <a:latin typeface="+mn-lt"/>
            </a:endParaRPr>
          </a:p>
        </p:txBody>
      </p:sp>
      <p:pic>
        <p:nvPicPr>
          <p:cNvPr id="62" name="Gráfico 61" descr="Marcador com preenchimento sólido">
            <a:extLst>
              <a:ext uri="{FF2B5EF4-FFF2-40B4-BE49-F238E27FC236}">
                <a16:creationId xmlns:a16="http://schemas.microsoft.com/office/drawing/2014/main" id="{4FC72FCE-C0FB-8DFE-F096-24DC179B69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74750" y="2926247"/>
            <a:ext cx="432000" cy="432000"/>
          </a:xfrm>
          <a:prstGeom prst="rect">
            <a:avLst/>
          </a:prstGeom>
        </p:spPr>
      </p:pic>
      <p:cxnSp>
        <p:nvCxnSpPr>
          <p:cNvPr id="63" name="Conector reto 62">
            <a:extLst>
              <a:ext uri="{FF2B5EF4-FFF2-40B4-BE49-F238E27FC236}">
                <a16:creationId xmlns:a16="http://schemas.microsoft.com/office/drawing/2014/main" id="{5270C099-9EE0-93BF-23CD-BABB09ED7C90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6953974" y="2987628"/>
            <a:ext cx="2309689" cy="139822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4" name="Conector reto 63">
            <a:extLst>
              <a:ext uri="{FF2B5EF4-FFF2-40B4-BE49-F238E27FC236}">
                <a16:creationId xmlns:a16="http://schemas.microsoft.com/office/drawing/2014/main" id="{E9F937BD-9D96-3324-6795-5EA77FF461EC}"/>
              </a:ext>
            </a:extLst>
          </p:cNvPr>
          <p:cNvCxnSpPr>
            <a:cxnSpLocks/>
            <a:stCxn id="66" idx="1"/>
          </p:cNvCxnSpPr>
          <p:nvPr/>
        </p:nvCxnSpPr>
        <p:spPr>
          <a:xfrm flipH="1" flipV="1">
            <a:off x="8082179" y="4627928"/>
            <a:ext cx="908393" cy="1236793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65" name="Gráfico 64" descr="Marcador com preenchimento sólido">
            <a:extLst>
              <a:ext uri="{FF2B5EF4-FFF2-40B4-BE49-F238E27FC236}">
                <a16:creationId xmlns:a16="http://schemas.microsoft.com/office/drawing/2014/main" id="{5C38EAB6-0F09-B077-1A87-7C35088A0D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58941" y="4393069"/>
            <a:ext cx="432000" cy="432000"/>
          </a:xfrm>
          <a:prstGeom prst="rect">
            <a:avLst/>
          </a:prstGeom>
        </p:spPr>
      </p:pic>
      <p:sp>
        <p:nvSpPr>
          <p:cNvPr id="66" name="CaixaDeTexto 65">
            <a:extLst>
              <a:ext uri="{FF2B5EF4-FFF2-40B4-BE49-F238E27FC236}">
                <a16:creationId xmlns:a16="http://schemas.microsoft.com/office/drawing/2014/main" id="{70D1BE6F-880C-25DE-B0A1-DB59306CD01A}"/>
              </a:ext>
            </a:extLst>
          </p:cNvPr>
          <p:cNvSpPr txBox="1"/>
          <p:nvPr/>
        </p:nvSpPr>
        <p:spPr>
          <a:xfrm>
            <a:off x="8990572" y="5456098"/>
            <a:ext cx="2222500" cy="817245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>
            <a:defPPr>
              <a:defRPr lang="pt-BR"/>
            </a:defPPr>
            <a:lvl1pPr algn="ctr" defTabSz="457200">
              <a:defRPr b="1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+mn-lt"/>
              </a:rPr>
              <a:t>Espírito Sant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srgbClr val="4472C4"/>
                </a:solidFill>
                <a:latin typeface="+mn-lt"/>
              </a:rPr>
              <a:t>PL 255/2024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srgbClr val="4472C4"/>
                </a:solidFill>
                <a:latin typeface="+mn-lt"/>
              </a:rPr>
              <a:t>Em tramitação na ALES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E33443B6-D901-400A-6173-F4DADC585B8D}"/>
              </a:ext>
            </a:extLst>
          </p:cNvPr>
          <p:cNvSpPr txBox="1"/>
          <p:nvPr/>
        </p:nvSpPr>
        <p:spPr>
          <a:xfrm>
            <a:off x="2308009" y="3803946"/>
            <a:ext cx="2039951" cy="817245"/>
          </a:xfrm>
          <a:prstGeom prst="roundRect">
            <a:avLst/>
          </a:prstGeom>
          <a:noFill/>
          <a:ln w="9525">
            <a:solidFill>
              <a:srgbClr val="4472C4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cs typeface="Calibri" panose="020F0502020204030204" pitchFamily="34" charset="0"/>
              </a:rPr>
              <a:t>Distrito Federal</a:t>
            </a:r>
          </a:p>
          <a:p>
            <a:pPr algn="ctr" defTabSz="457200">
              <a:defRPr/>
            </a:pPr>
            <a:r>
              <a:rPr lang="pt-BR" sz="1400" b="1" dirty="0">
                <a:solidFill>
                  <a:srgbClr val="ED7D31"/>
                </a:solidFill>
                <a:cs typeface="Calibri" panose="020F0502020204030204" pitchFamily="34" charset="0"/>
              </a:rPr>
              <a:t>Lei nº 7.714, 17/06/2025</a:t>
            </a:r>
          </a:p>
        </p:txBody>
      </p:sp>
      <p:cxnSp>
        <p:nvCxnSpPr>
          <p:cNvPr id="68" name="Conector reto 67">
            <a:extLst>
              <a:ext uri="{FF2B5EF4-FFF2-40B4-BE49-F238E27FC236}">
                <a16:creationId xmlns:a16="http://schemas.microsoft.com/office/drawing/2014/main" id="{F7616C5D-7C48-3F0F-7BB0-E5CA2FD3F7D2}"/>
              </a:ext>
            </a:extLst>
          </p:cNvPr>
          <p:cNvCxnSpPr>
            <a:cxnSpLocks/>
            <a:stCxn id="37" idx="2"/>
            <a:endCxn id="67" idx="3"/>
          </p:cNvCxnSpPr>
          <p:nvPr/>
        </p:nvCxnSpPr>
        <p:spPr>
          <a:xfrm flipH="1">
            <a:off x="4347960" y="4123329"/>
            <a:ext cx="2514842" cy="89240"/>
          </a:xfrm>
          <a:prstGeom prst="line">
            <a:avLst/>
          </a:prstGeom>
          <a:ln w="12700" cap="flat" cmpd="sng" algn="ctr">
            <a:solidFill>
              <a:srgbClr val="FF33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69" name="Gráfico 68" descr="Marcador com preenchimento sólido">
            <a:extLst>
              <a:ext uri="{FF2B5EF4-FFF2-40B4-BE49-F238E27FC236}">
                <a16:creationId xmlns:a16="http://schemas.microsoft.com/office/drawing/2014/main" id="{C172AB4E-514B-8D27-C327-E4658F088D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74750" y="3744317"/>
            <a:ext cx="432000" cy="432000"/>
          </a:xfrm>
          <a:prstGeom prst="rect">
            <a:avLst/>
          </a:prstGeom>
        </p:spPr>
      </p:pic>
      <p:pic>
        <p:nvPicPr>
          <p:cNvPr id="70" name="Picture 2" descr="Trilho do trem - ícones de sinalização grátis">
            <a:extLst>
              <a:ext uri="{FF2B5EF4-FFF2-40B4-BE49-F238E27FC236}">
                <a16:creationId xmlns:a16="http://schemas.microsoft.com/office/drawing/2014/main" id="{EDE43230-83EA-4B3B-A9C3-429A28626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3945" y="5676118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Trilho do trem - ícones de sinalização grátis">
            <a:extLst>
              <a:ext uri="{FF2B5EF4-FFF2-40B4-BE49-F238E27FC236}">
                <a16:creationId xmlns:a16="http://schemas.microsoft.com/office/drawing/2014/main" id="{BA8EEC6B-585B-A9C9-808E-D755CE28D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0" y="2379688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 descr="Trilho do trem - ícones de sinalização grátis">
            <a:extLst>
              <a:ext uri="{FF2B5EF4-FFF2-40B4-BE49-F238E27FC236}">
                <a16:creationId xmlns:a16="http://schemas.microsoft.com/office/drawing/2014/main" id="{1316EA25-E95A-98CC-E072-6AF010939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7566" y="2764061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Trilho do trem - ícones de sinalização grátis">
            <a:extLst>
              <a:ext uri="{FF2B5EF4-FFF2-40B4-BE49-F238E27FC236}">
                <a16:creationId xmlns:a16="http://schemas.microsoft.com/office/drawing/2014/main" id="{417C5D3F-48C2-110B-C758-D9B14BDA8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8021" y="1187178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 descr="Trilho do trem - ícones de sinalização grátis">
            <a:extLst>
              <a:ext uri="{FF2B5EF4-FFF2-40B4-BE49-F238E27FC236}">
                <a16:creationId xmlns:a16="http://schemas.microsoft.com/office/drawing/2014/main" id="{0CE7CC59-BEF1-BD0F-4CE6-BBF4B335E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666" y="4049264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 descr="Trilho do trem - ícones de sinalização grátis">
            <a:extLst>
              <a:ext uri="{FF2B5EF4-FFF2-40B4-BE49-F238E27FC236}">
                <a16:creationId xmlns:a16="http://schemas.microsoft.com/office/drawing/2014/main" id="{49858C6A-473C-B204-89F6-A4BAE5E2B3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4734" y="4235006"/>
            <a:ext cx="600282" cy="5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ítulo 3">
            <a:extLst>
              <a:ext uri="{FF2B5EF4-FFF2-40B4-BE49-F238E27FC236}">
                <a16:creationId xmlns:a16="http://schemas.microsoft.com/office/drawing/2014/main" id="{33BAD2A2-B5D8-25AE-1867-F7511F2A7968}"/>
              </a:ext>
            </a:extLst>
          </p:cNvPr>
          <p:cNvSpPr txBox="1">
            <a:spLocks/>
          </p:cNvSpPr>
          <p:nvPr/>
        </p:nvSpPr>
        <p:spPr>
          <a:xfrm>
            <a:off x="156839" y="-147370"/>
            <a:ext cx="11522074" cy="971550"/>
          </a:xfrm>
          <a:prstGeom prst="rect">
            <a:avLst/>
          </a:prstGeom>
          <a:noFill/>
        </p:spPr>
        <p:txBody>
          <a:bodyPr vert="horz" lIns="0" tIns="36000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pt-BR" sz="24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OLÍTICAS ESTADUAIS CONSCIENTIZAÇÃO E CONVIVÊNCIA HARMÔNICA</a:t>
            </a:r>
            <a:b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</a:b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ENÁRIO DAS PROPOSIÇÕES LEGISLATIVAS</a:t>
            </a:r>
          </a:p>
        </p:txBody>
      </p:sp>
    </p:spTree>
    <p:extLst>
      <p:ext uri="{BB962C8B-B14F-4D97-AF65-F5344CB8AC3E}">
        <p14:creationId xmlns:p14="http://schemas.microsoft.com/office/powerpoint/2010/main" val="343243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6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125E-6 1.11111E-6 L 1.27149 -2.19167 " pathEditMode="relative" rAng="0" ptsTypes="AA">
                                      <p:cBhvr>
                                        <p:cTn id="9" dur="2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568" y="-1095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2E02B8D5-F5E7-3F70-6F35-52C1C5DB5D17}"/>
              </a:ext>
            </a:extLst>
          </p:cNvPr>
          <p:cNvSpPr/>
          <p:nvPr/>
        </p:nvSpPr>
        <p:spPr>
          <a:xfrm>
            <a:off x="0" y="-48126"/>
            <a:ext cx="12192000" cy="6906126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94B6B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ítulo 3">
            <a:extLst>
              <a:ext uri="{FF2B5EF4-FFF2-40B4-BE49-F238E27FC236}">
                <a16:creationId xmlns:a16="http://schemas.microsoft.com/office/drawing/2014/main" id="{C4D6789E-DAD5-BC9F-84DA-E846170FA6E3}"/>
              </a:ext>
            </a:extLst>
          </p:cNvPr>
          <p:cNvSpPr txBox="1">
            <a:spLocks/>
          </p:cNvSpPr>
          <p:nvPr/>
        </p:nvSpPr>
        <p:spPr>
          <a:xfrm>
            <a:off x="156839" y="-147370"/>
            <a:ext cx="11522074" cy="971550"/>
          </a:xfrm>
          <a:prstGeom prst="rect">
            <a:avLst/>
          </a:prstGeom>
          <a:noFill/>
        </p:spPr>
        <p:txBody>
          <a:bodyPr vert="horz" lIns="0" tIns="36000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pt-BR" sz="24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ONVIVÊNCIA HARMÔNICA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AA87AF56-8E37-4431-15A7-147C61C753EA}"/>
              </a:ext>
            </a:extLst>
          </p:cNvPr>
          <p:cNvSpPr/>
          <p:nvPr/>
        </p:nvSpPr>
        <p:spPr>
          <a:xfrm>
            <a:off x="3938016" y="1167384"/>
            <a:ext cx="2075688" cy="171907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Campanhas educativas, formação específica para condutores, motoristas de ônibus e operadores ferroviários</a:t>
            </a:r>
            <a:r>
              <a:rPr lang="pt-BR" sz="1200" kern="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1689566-9D02-A361-C322-7CC9D1EC828F}"/>
              </a:ext>
            </a:extLst>
          </p:cNvPr>
          <p:cNvSpPr/>
          <p:nvPr/>
        </p:nvSpPr>
        <p:spPr>
          <a:xfrm>
            <a:off x="4078224" y="1051560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EDUCAÇÃO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B377B0E5-CA45-01B9-30FE-56AAE3260BFD}"/>
              </a:ext>
            </a:extLst>
          </p:cNvPr>
          <p:cNvSpPr/>
          <p:nvPr/>
        </p:nvSpPr>
        <p:spPr>
          <a:xfrm>
            <a:off x="6678168" y="1167384"/>
            <a:ext cx="2075688" cy="171907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Valorizar a malha ferroviária como vetor de desenvolvimento regional</a:t>
            </a:r>
            <a:r>
              <a:rPr lang="pt-BR" sz="1200" kern="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D39EDD67-0E12-F91C-6F8E-E53F091FE10C}"/>
              </a:ext>
            </a:extLst>
          </p:cNvPr>
          <p:cNvSpPr/>
          <p:nvPr/>
        </p:nvSpPr>
        <p:spPr>
          <a:xfrm>
            <a:off x="6818376" y="1051560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DESENVOLVIMEN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14B0C22E-0BFB-8EDC-85D3-C25C493B5044}"/>
              </a:ext>
            </a:extLst>
          </p:cNvPr>
          <p:cNvSpPr/>
          <p:nvPr/>
        </p:nvSpPr>
        <p:spPr>
          <a:xfrm>
            <a:off x="9328404" y="1167384"/>
            <a:ext cx="2075688" cy="171907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Sinalização, acessibilidade para pedestres e ciclistas, e fiscalização rigorosa nas zonas onde ferrovias cruzam rodovias e ciclovias</a:t>
            </a:r>
            <a:r>
              <a:rPr lang="pt-BR" sz="1200" kern="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B94BAFFE-FC98-37D6-1530-DC6494E73798}"/>
              </a:ext>
            </a:extLst>
          </p:cNvPr>
          <p:cNvSpPr/>
          <p:nvPr/>
        </p:nvSpPr>
        <p:spPr>
          <a:xfrm>
            <a:off x="9468612" y="1051560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INFRAESTRUTURA</a:t>
            </a:r>
          </a:p>
        </p:txBody>
      </p: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244C4B54-119F-C6C5-A4B2-A58342F01C94}"/>
              </a:ext>
            </a:extLst>
          </p:cNvPr>
          <p:cNvCxnSpPr>
            <a:stCxn id="6" idx="1"/>
            <a:endCxn id="5" idx="3"/>
          </p:cNvCxnSpPr>
          <p:nvPr/>
        </p:nvCxnSpPr>
        <p:spPr>
          <a:xfrm rot="10800000" flipV="1">
            <a:off x="2670048" y="2026920"/>
            <a:ext cx="1267968" cy="1612392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1C4E2902-B838-BFD7-E74B-EDA4F21872AC}"/>
              </a:ext>
            </a:extLst>
          </p:cNvPr>
          <p:cNvCxnSpPr>
            <a:stCxn id="6" idx="3"/>
            <a:endCxn id="14" idx="1"/>
          </p:cNvCxnSpPr>
          <p:nvPr/>
        </p:nvCxnSpPr>
        <p:spPr>
          <a:xfrm>
            <a:off x="6013704" y="2026920"/>
            <a:ext cx="6644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C909C2AE-06DD-F0EE-B064-6F298ABE8318}"/>
              </a:ext>
            </a:extLst>
          </p:cNvPr>
          <p:cNvCxnSpPr>
            <a:stCxn id="14" idx="3"/>
            <a:endCxn id="18" idx="1"/>
          </p:cNvCxnSpPr>
          <p:nvPr/>
        </p:nvCxnSpPr>
        <p:spPr>
          <a:xfrm>
            <a:off x="8753856" y="2026920"/>
            <a:ext cx="5745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Imagem 35" descr="Imagem em preto e branco&#10;&#10;O conteúdo gerado por IA pode estar incorreto.">
            <a:extLst>
              <a:ext uri="{FF2B5EF4-FFF2-40B4-BE49-F238E27FC236}">
                <a16:creationId xmlns:a16="http://schemas.microsoft.com/office/drawing/2014/main" id="{48DA3639-1CF0-CE0B-72CA-DB4D822D753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1000"/>
          </a:blip>
          <a:srcRect r="17098"/>
          <a:stretch/>
        </p:blipFill>
        <p:spPr>
          <a:xfrm>
            <a:off x="1" y="2034990"/>
            <a:ext cx="12192000" cy="4738640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AF360F8C-01B4-FF54-608E-C159EC1E19C1}"/>
              </a:ext>
            </a:extLst>
          </p:cNvPr>
          <p:cNvSpPr/>
          <p:nvPr/>
        </p:nvSpPr>
        <p:spPr>
          <a:xfrm>
            <a:off x="3938016" y="4163568"/>
            <a:ext cx="2075688" cy="171907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Cooperação Institucional entre DETRAN, DER e Secretaria de Mobilidade. </a:t>
            </a:r>
            <a:endParaRPr lang="pt-BR" sz="1200" kern="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A0729EC5-50ED-384A-9432-1049B51D4D74}"/>
              </a:ext>
            </a:extLst>
          </p:cNvPr>
          <p:cNvSpPr/>
          <p:nvPr/>
        </p:nvSpPr>
        <p:spPr>
          <a:xfrm>
            <a:off x="4078224" y="4017264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TRANSFORMAÇÃO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8197A589-EFC6-1817-CAB3-4DD9FC8B27E2}"/>
              </a:ext>
            </a:extLst>
          </p:cNvPr>
          <p:cNvSpPr/>
          <p:nvPr/>
        </p:nvSpPr>
        <p:spPr>
          <a:xfrm>
            <a:off x="6678168" y="4163568"/>
            <a:ext cx="2075688" cy="171907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Redução de acidentes e conflitos viários. </a:t>
            </a:r>
            <a:endParaRPr lang="pt-BR" sz="1200" kern="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699BBEEB-4C84-3F52-DF6D-284C779C8500}"/>
              </a:ext>
            </a:extLst>
          </p:cNvPr>
          <p:cNvSpPr/>
          <p:nvPr/>
        </p:nvSpPr>
        <p:spPr>
          <a:xfrm>
            <a:off x="6818376" y="4017264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OPORTUNIDADES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A5AD5E1-C660-986F-0AE2-DC256B50C437}"/>
              </a:ext>
            </a:extLst>
          </p:cNvPr>
          <p:cNvSpPr/>
          <p:nvPr/>
        </p:nvSpPr>
        <p:spPr>
          <a:xfrm>
            <a:off x="9328404" y="4163568"/>
            <a:ext cx="2075688" cy="171907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defRPr/>
            </a:pPr>
            <a:r>
              <a:rPr lang="pt-BR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Limpeza de resíduos domésticos nas proximidades das ferrovias e manutenção do asfalto nas passagens em nível. </a:t>
            </a:r>
            <a:endParaRPr lang="pt-BR" sz="1200" kern="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38E59F54-7025-DD05-28D2-CE3196B24A46}"/>
              </a:ext>
            </a:extLst>
          </p:cNvPr>
          <p:cNvSpPr/>
          <p:nvPr/>
        </p:nvSpPr>
        <p:spPr>
          <a:xfrm>
            <a:off x="9468612" y="4017264"/>
            <a:ext cx="1819656" cy="2926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CUIDADOS</a:t>
            </a:r>
          </a:p>
        </p:txBody>
      </p:sp>
      <p:cxnSp>
        <p:nvCxnSpPr>
          <p:cNvPr id="27" name="Conector: Angulado 26">
            <a:extLst>
              <a:ext uri="{FF2B5EF4-FFF2-40B4-BE49-F238E27FC236}">
                <a16:creationId xmlns:a16="http://schemas.microsoft.com/office/drawing/2014/main" id="{2DBE2EAB-7A70-4B1C-8184-768E3E398797}"/>
              </a:ext>
            </a:extLst>
          </p:cNvPr>
          <p:cNvCxnSpPr>
            <a:stCxn id="7" idx="1"/>
            <a:endCxn id="5" idx="3"/>
          </p:cNvCxnSpPr>
          <p:nvPr/>
        </p:nvCxnSpPr>
        <p:spPr>
          <a:xfrm rot="10800000">
            <a:off x="2670048" y="3639312"/>
            <a:ext cx="1267968" cy="1383792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97A7219B-58DE-5A50-DBFD-8A3BAC76D673}"/>
              </a:ext>
            </a:extLst>
          </p:cNvPr>
          <p:cNvCxnSpPr>
            <a:stCxn id="7" idx="3"/>
            <a:endCxn id="15" idx="1"/>
          </p:cNvCxnSpPr>
          <p:nvPr/>
        </p:nvCxnSpPr>
        <p:spPr>
          <a:xfrm>
            <a:off x="6013704" y="5023104"/>
            <a:ext cx="6644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EB5E6CC8-8063-FCEB-4517-014636FF733A}"/>
              </a:ext>
            </a:extLst>
          </p:cNvPr>
          <p:cNvCxnSpPr>
            <a:stCxn id="15" idx="3"/>
            <a:endCxn id="19" idx="1"/>
          </p:cNvCxnSpPr>
          <p:nvPr/>
        </p:nvCxnSpPr>
        <p:spPr>
          <a:xfrm>
            <a:off x="8753856" y="5023104"/>
            <a:ext cx="5745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tângulo 4">
            <a:extLst>
              <a:ext uri="{FF2B5EF4-FFF2-40B4-BE49-F238E27FC236}">
                <a16:creationId xmlns:a16="http://schemas.microsoft.com/office/drawing/2014/main" id="{A225E819-D749-ACEA-2F81-E612037297B5}"/>
              </a:ext>
            </a:extLst>
          </p:cNvPr>
          <p:cNvSpPr/>
          <p:nvPr/>
        </p:nvSpPr>
        <p:spPr>
          <a:xfrm>
            <a:off x="594360" y="2779776"/>
            <a:ext cx="2075688" cy="171907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defRPr/>
            </a:pPr>
            <a:r>
              <a:rPr lang="pt-BR" sz="1400" kern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zir acidentes, garantir segurança viária e promover o respeito mútuo entre todos os atores do trânsito.</a:t>
            </a:r>
            <a:endParaRPr lang="pt-BR" sz="1400" kern="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465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DA75278E-7EF0-2262-0A88-34F0BD3AE9CE}"/>
              </a:ext>
            </a:extLst>
          </p:cNvPr>
          <p:cNvSpPr txBox="1"/>
          <p:nvPr/>
        </p:nvSpPr>
        <p:spPr>
          <a:xfrm>
            <a:off x="1078992" y="1463040"/>
            <a:ext cx="91714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ELIAS REZENDE</a:t>
            </a:r>
          </a:p>
          <a:p>
            <a:r>
              <a:rPr lang="pt-BR" dirty="0"/>
              <a:t>Gerente de Relações Institucionais e Governamentais</a:t>
            </a:r>
          </a:p>
          <a:p>
            <a:r>
              <a:rPr lang="pt-BR" dirty="0">
                <a:hlinkClick r:id="rId2"/>
              </a:rPr>
              <a:t>elias.rezende@vli-logística.com.br</a:t>
            </a:r>
            <a:endParaRPr lang="pt-BR" dirty="0"/>
          </a:p>
          <a:p>
            <a:r>
              <a:rPr lang="pt-BR" dirty="0"/>
              <a:t>(61) 99643-4263</a:t>
            </a:r>
          </a:p>
        </p:txBody>
      </p:sp>
      <p:pic>
        <p:nvPicPr>
          <p:cNvPr id="4" name="Imagem 3" descr="Código QR&#10;&#10;O conteúdo gerado por IA pode estar incorreto.">
            <a:extLst>
              <a:ext uri="{FF2B5EF4-FFF2-40B4-BE49-F238E27FC236}">
                <a16:creationId xmlns:a16="http://schemas.microsoft.com/office/drawing/2014/main" id="{22D2E3A8-6D3B-0957-A13F-DA95A8143E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992" y="3502152"/>
            <a:ext cx="3118104" cy="3118104"/>
          </a:xfrm>
          <a:prstGeom prst="rect">
            <a:avLst/>
          </a:prstGeom>
        </p:spPr>
      </p:pic>
      <p:pic>
        <p:nvPicPr>
          <p:cNvPr id="1026" name="Picture 2" descr="LinkedIn">
            <a:extLst>
              <a:ext uri="{FF2B5EF4-FFF2-40B4-BE49-F238E27FC236}">
                <a16:creationId xmlns:a16="http://schemas.microsoft.com/office/drawing/2014/main" id="{C2A7738A-DA1B-339C-87AC-1867DC6D9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23" y="3355848"/>
            <a:ext cx="498538" cy="498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455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grama, ao ar livre, edifício, trem&#10;&#10;Descrição gerada automaticamente">
            <a:extLst>
              <a:ext uri="{FF2B5EF4-FFF2-40B4-BE49-F238E27FC236}">
                <a16:creationId xmlns:a16="http://schemas.microsoft.com/office/drawing/2014/main" id="{6BD45B88-C82E-489E-98B7-B2FC348060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Retângulo 21">
            <a:extLst>
              <a:ext uri="{FF2B5EF4-FFF2-40B4-BE49-F238E27FC236}">
                <a16:creationId xmlns:a16="http://schemas.microsoft.com/office/drawing/2014/main" id="{2446368D-5FF0-4025-9374-56BBB626ACDD}"/>
              </a:ext>
            </a:extLst>
          </p:cNvPr>
          <p:cNvSpPr/>
          <p:nvPr/>
        </p:nvSpPr>
        <p:spPr>
          <a:xfrm>
            <a:off x="0" y="2648857"/>
            <a:ext cx="12192000" cy="4209143"/>
          </a:xfrm>
          <a:prstGeom prst="rect">
            <a:avLst/>
          </a:prstGeom>
          <a:gradFill>
            <a:gsLst>
              <a:gs pos="29000">
                <a:schemeClr val="bg1">
                  <a:alpha val="0"/>
                  <a:lumMod val="0"/>
                </a:schemeClr>
              </a:gs>
              <a:gs pos="100000">
                <a:schemeClr val="tx1">
                  <a:lumMod val="95000"/>
                  <a:lumOff val="5000"/>
                  <a:alpha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50800" dir="5400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2D848A86-48D0-43C4-8E72-1934E7118FD4}"/>
              </a:ext>
            </a:extLst>
          </p:cNvPr>
          <p:cNvSpPr txBox="1"/>
          <p:nvPr/>
        </p:nvSpPr>
        <p:spPr>
          <a:xfrm>
            <a:off x="6791004" y="6210234"/>
            <a:ext cx="210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b="1">
                <a:solidFill>
                  <a:srgbClr val="F37A19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vli-logistica.com.br</a:t>
            </a: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id="{4378721E-A9BD-4347-A093-6257E6A45E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490" y="6262236"/>
            <a:ext cx="203772" cy="203772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0378223F-6784-4810-9A62-1F962E190D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370" y="6262236"/>
            <a:ext cx="203772" cy="203772"/>
          </a:xfrm>
          <a:prstGeom prst="rect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0C2AACED-EEE5-496F-AE1C-109333F4F3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250" y="6275567"/>
            <a:ext cx="177110" cy="177110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id="{FEEB2D7C-58FD-437D-829F-5FFB96D99D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9468" y="6258428"/>
            <a:ext cx="211389" cy="211389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id="{3E73BF0A-1231-449E-9791-83ADE43062D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7" b="33482"/>
          <a:stretch/>
        </p:blipFill>
        <p:spPr>
          <a:xfrm>
            <a:off x="11274966" y="6286732"/>
            <a:ext cx="220224" cy="154780"/>
          </a:xfrm>
          <a:prstGeom prst="rect">
            <a:avLst/>
          </a:prstGeom>
        </p:spPr>
      </p:pic>
      <p:grpSp>
        <p:nvGrpSpPr>
          <p:cNvPr id="4" name="Agrupar 3">
            <a:extLst>
              <a:ext uri="{FF2B5EF4-FFF2-40B4-BE49-F238E27FC236}">
                <a16:creationId xmlns:a16="http://schemas.microsoft.com/office/drawing/2014/main" id="{1F7AF5CF-29FC-45F6-B521-0B566E72EA1C}"/>
              </a:ext>
            </a:extLst>
          </p:cNvPr>
          <p:cNvGrpSpPr/>
          <p:nvPr/>
        </p:nvGrpSpPr>
        <p:grpSpPr>
          <a:xfrm>
            <a:off x="-102592" y="775133"/>
            <a:ext cx="3708254" cy="2917467"/>
            <a:chOff x="1457707" y="775133"/>
            <a:chExt cx="3708254" cy="2917467"/>
          </a:xfrm>
        </p:grpSpPr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CA8E47EE-A1AA-4700-8822-B62098E29AA4}"/>
                </a:ext>
              </a:extLst>
            </p:cNvPr>
            <p:cNvGrpSpPr/>
            <p:nvPr/>
          </p:nvGrpSpPr>
          <p:grpSpPr>
            <a:xfrm rot="5400000">
              <a:off x="1853100" y="379740"/>
              <a:ext cx="2917467" cy="3708254"/>
              <a:chOff x="1296902" y="304808"/>
              <a:chExt cx="2917467" cy="3708254"/>
            </a:xfrm>
          </p:grpSpPr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D01CE7C4-6F53-4CA8-ACD4-6EAF5D7FE638}"/>
                  </a:ext>
                </a:extLst>
              </p:cNvPr>
              <p:cNvSpPr/>
              <p:nvPr/>
            </p:nvSpPr>
            <p:spPr>
              <a:xfrm rot="16200000">
                <a:off x="1645730" y="1444422"/>
                <a:ext cx="2219816" cy="2917463"/>
              </a:xfrm>
              <a:prstGeom prst="rect">
                <a:avLst/>
              </a:prstGeom>
              <a:gradFill>
                <a:gsLst>
                  <a:gs pos="0">
                    <a:srgbClr val="0074C0">
                      <a:alpha val="0"/>
                    </a:srgbClr>
                  </a:gs>
                  <a:gs pos="100000">
                    <a:srgbClr val="0074C0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18" name="Gráfico 17">
                <a:extLst>
                  <a:ext uri="{FF2B5EF4-FFF2-40B4-BE49-F238E27FC236}">
                    <a16:creationId xmlns:a16="http://schemas.microsoft.com/office/drawing/2014/main" id="{3AEB8321-4D92-40A8-901A-5DA43A95B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5400000">
                <a:off x="1296903" y="304807"/>
                <a:ext cx="2917462" cy="2917463"/>
              </a:xfrm>
              <a:prstGeom prst="rect">
                <a:avLst/>
              </a:prstGeom>
            </p:spPr>
          </p:pic>
        </p:grpSp>
        <p:sp>
          <p:nvSpPr>
            <p:cNvPr id="59" name="Retângulo 58">
              <a:extLst>
                <a:ext uri="{FF2B5EF4-FFF2-40B4-BE49-F238E27FC236}">
                  <a16:creationId xmlns:a16="http://schemas.microsoft.com/office/drawing/2014/main" id="{883FB868-3FBE-4469-A74A-9D0825F7A78E}"/>
                </a:ext>
              </a:extLst>
            </p:cNvPr>
            <p:cNvSpPr/>
            <p:nvPr/>
          </p:nvSpPr>
          <p:spPr>
            <a:xfrm>
              <a:off x="2586848" y="1617642"/>
              <a:ext cx="2229852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828800">
                <a:defRPr sz="2300" b="0">
                  <a:solidFill>
                    <a:srgbClr val="595959"/>
                  </a:solidFill>
                  <a:latin typeface="Calibri Light"/>
                  <a:ea typeface="Calibri Light"/>
                  <a:cs typeface="Calibri Light"/>
                  <a:sym typeface="Calibri Light"/>
                </a:defRPr>
              </a:pPr>
              <a:r>
                <a:rPr lang="pt-BR" sz="2800">
                  <a:solidFill>
                    <a:schemeClr val="bg1"/>
                  </a:solidFill>
                  <a:latin typeface="Manrope"/>
                </a:rPr>
                <a:t>Conexões que geram  </a:t>
              </a:r>
              <a:r>
                <a:rPr lang="pt-BR" sz="2800">
                  <a:solidFill>
                    <a:srgbClr val="0074C0"/>
                  </a:solidFill>
                  <a:latin typeface="Manrope ExtraBold" pitchFamily="2" charset="0"/>
                </a:rPr>
                <a:t>valor</a:t>
              </a:r>
            </a:p>
          </p:txBody>
        </p:sp>
      </p:grpSp>
      <p:pic>
        <p:nvPicPr>
          <p:cNvPr id="3" name="Imagem 2" descr="Homem de uniforme e chapéu&#10;&#10;Descrição gerada automaticamente">
            <a:extLst>
              <a:ext uri="{FF2B5EF4-FFF2-40B4-BE49-F238E27FC236}">
                <a16:creationId xmlns:a16="http://schemas.microsoft.com/office/drawing/2014/main" id="{8F40DF8F-AD85-B8FA-00B9-EC125B112E9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03" y="66040"/>
            <a:ext cx="65714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44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">
            <a:extLst>
              <a:ext uri="{FF2B5EF4-FFF2-40B4-BE49-F238E27FC236}">
                <a16:creationId xmlns:a16="http://schemas.microsoft.com/office/drawing/2014/main" id="{BFA0ED99-2497-4D75-9D79-DE27178DA39B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3D5E0CC3-74D3-4447-9C70-71F0AC00DC49}"/>
              </a:ext>
            </a:extLst>
          </p:cNvPr>
          <p:cNvGrpSpPr/>
          <p:nvPr/>
        </p:nvGrpSpPr>
        <p:grpSpPr>
          <a:xfrm rot="10800000">
            <a:off x="676275" y="334435"/>
            <a:ext cx="11892569" cy="5317200"/>
            <a:chOff x="-1844675" y="1155367"/>
            <a:chExt cx="10226675" cy="4572373"/>
          </a:xfrm>
        </p:grpSpPr>
        <p:sp>
          <p:nvSpPr>
            <p:cNvPr id="21" name="Gráfico 6">
              <a:extLst>
                <a:ext uri="{FF2B5EF4-FFF2-40B4-BE49-F238E27FC236}">
                  <a16:creationId xmlns:a16="http://schemas.microsoft.com/office/drawing/2014/main" id="{69CAFA4A-8E50-44CA-B586-DD745350C7EC}"/>
                </a:ext>
              </a:extLst>
            </p:cNvPr>
            <p:cNvSpPr/>
            <p:nvPr/>
          </p:nvSpPr>
          <p:spPr>
            <a:xfrm>
              <a:off x="-1844675" y="1155367"/>
              <a:ext cx="7942747" cy="4572373"/>
            </a:xfrm>
            <a:custGeom>
              <a:avLst/>
              <a:gdLst>
                <a:gd name="connsiteX0" fmla="*/ 0 w 12194072"/>
                <a:gd name="connsiteY0" fmla="*/ 0 h 4522535"/>
                <a:gd name="connsiteX1" fmla="*/ 12194073 w 12194072"/>
                <a:gd name="connsiteY1" fmla="*/ 0 h 4522535"/>
                <a:gd name="connsiteX2" fmla="*/ 12194073 w 12194072"/>
                <a:gd name="connsiteY2" fmla="*/ 4522535 h 4522535"/>
                <a:gd name="connsiteX3" fmla="*/ 0 w 12194072"/>
                <a:gd name="connsiteY3" fmla="*/ 4522535 h 452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4072" h="4522535">
                  <a:moveTo>
                    <a:pt x="0" y="0"/>
                  </a:moveTo>
                  <a:lnTo>
                    <a:pt x="12194073" y="0"/>
                  </a:lnTo>
                  <a:lnTo>
                    <a:pt x="12194073" y="4522535"/>
                  </a:lnTo>
                  <a:lnTo>
                    <a:pt x="0" y="4522535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074C0"/>
                </a:gs>
                <a:gs pos="0">
                  <a:srgbClr val="0074C0">
                    <a:alpha val="0"/>
                  </a:srgbClr>
                </a:gs>
              </a:gsLst>
              <a:lin ang="0" scaled="0"/>
              <a:tileRect/>
            </a:gradFill>
            <a:ln w="73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E802F534-93A3-4E8C-BF48-1E8832CCF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10000" y="1155552"/>
              <a:ext cx="4572000" cy="4572000"/>
            </a:xfrm>
            <a:prstGeom prst="rect">
              <a:avLst/>
            </a:prstGeom>
          </p:spPr>
        </p:pic>
      </p:grpSp>
      <p:pic>
        <p:nvPicPr>
          <p:cNvPr id="12" name="Imagem 11">
            <a:extLst>
              <a:ext uri="{FF2B5EF4-FFF2-40B4-BE49-F238E27FC236}">
                <a16:creationId xmlns:a16="http://schemas.microsoft.com/office/drawing/2014/main" id="{3FE75FF6-8A41-4FAE-B436-7CC161A92FC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30" t="21355" r="494" b="484"/>
          <a:stretch/>
        </p:blipFill>
        <p:spPr>
          <a:xfrm rot="289513">
            <a:off x="-266829" y="-500620"/>
            <a:ext cx="12725661" cy="7859241"/>
          </a:xfrm>
          <a:custGeom>
            <a:avLst/>
            <a:gdLst>
              <a:gd name="connsiteX0" fmla="*/ 0 w 12725661"/>
              <a:gd name="connsiteY0" fmla="*/ 1025547 h 7859241"/>
              <a:gd name="connsiteX1" fmla="*/ 12148791 w 12725661"/>
              <a:gd name="connsiteY1" fmla="*/ 0 h 7859241"/>
              <a:gd name="connsiteX2" fmla="*/ 12725661 w 12725661"/>
              <a:gd name="connsiteY2" fmla="*/ 6833694 h 7859241"/>
              <a:gd name="connsiteX3" fmla="*/ 576870 w 12725661"/>
              <a:gd name="connsiteY3" fmla="*/ 7859241 h 7859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25661" h="7859241">
                <a:moveTo>
                  <a:pt x="0" y="1025547"/>
                </a:moveTo>
                <a:lnTo>
                  <a:pt x="12148791" y="0"/>
                </a:lnTo>
                <a:lnTo>
                  <a:pt x="12725661" y="6833694"/>
                </a:lnTo>
                <a:lnTo>
                  <a:pt x="576870" y="7859241"/>
                </a:lnTo>
                <a:close/>
              </a:path>
            </a:pathLst>
          </a:custGeom>
        </p:spPr>
      </p:pic>
      <p:sp>
        <p:nvSpPr>
          <p:cNvPr id="24" name="TextBox 11">
            <a:extLst>
              <a:ext uri="{FF2B5EF4-FFF2-40B4-BE49-F238E27FC236}">
                <a16:creationId xmlns:a16="http://schemas.microsoft.com/office/drawing/2014/main" id="{6C8710FE-B551-4D4F-9A87-37E4CC269E8D}"/>
              </a:ext>
            </a:extLst>
          </p:cNvPr>
          <p:cNvSpPr txBox="1"/>
          <p:nvPr/>
        </p:nvSpPr>
        <p:spPr>
          <a:xfrm>
            <a:off x="1576816" y="1191983"/>
            <a:ext cx="2210733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cap="all" spc="200">
                <a:solidFill>
                  <a:srgbClr val="0074C0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Nosso</a:t>
            </a:r>
            <a:endParaRPr lang="pt-BR" sz="4100" cap="all" spc="200">
              <a:solidFill>
                <a:srgbClr val="0074C0"/>
              </a:solidFill>
              <a:latin typeface="Manrope ExtraBold" pitchFamily="2" charset="0"/>
              <a:ea typeface="Open Sans ExtraBold" panose="020B0906030804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9D6134D2-6C2C-472B-8AA7-349910B957A6}"/>
              </a:ext>
            </a:extLst>
          </p:cNvPr>
          <p:cNvSpPr txBox="1"/>
          <p:nvPr/>
        </p:nvSpPr>
        <p:spPr>
          <a:xfrm>
            <a:off x="1576816" y="2415314"/>
            <a:ext cx="3817555" cy="2321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A visão estratégica da VLI tem como objetivo </a:t>
            </a:r>
            <a:r>
              <a:rPr lang="pt-BR" sz="140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conectar e inovar soluções logísticas multimodais e sustentáveis, atendendo as necessidades dos nossos clientes</a:t>
            </a:r>
            <a:r>
              <a:rPr lang="pt-BR" sz="140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. Estamos sempre em busca de aumentar a competitividade, eficiência e gerar valor para transformar a logística do Brasil.</a:t>
            </a:r>
          </a:p>
        </p:txBody>
      </p:sp>
      <p:sp>
        <p:nvSpPr>
          <p:cNvPr id="27" name="TextBox 11">
            <a:extLst>
              <a:ext uri="{FF2B5EF4-FFF2-40B4-BE49-F238E27FC236}">
                <a16:creationId xmlns:a16="http://schemas.microsoft.com/office/drawing/2014/main" id="{D1BB0C30-A2FC-4FE4-9E86-4F1E21554494}"/>
              </a:ext>
            </a:extLst>
          </p:cNvPr>
          <p:cNvSpPr txBox="1"/>
          <p:nvPr/>
        </p:nvSpPr>
        <p:spPr>
          <a:xfrm>
            <a:off x="1576816" y="1793224"/>
            <a:ext cx="4416224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cap="all" spc="200">
                <a:solidFill>
                  <a:srgbClr val="0074C0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diferencial</a:t>
            </a:r>
            <a:endParaRPr lang="pt-BR" sz="4100" cap="all" spc="200">
              <a:solidFill>
                <a:srgbClr val="0074C0"/>
              </a:solidFill>
              <a:latin typeface="Manrope ExtraBold" pitchFamily="2" charset="0"/>
              <a:ea typeface="Open Sans ExtraBold" panose="020B09060308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9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Imagem 51" hidden="1">
            <a:extLst>
              <a:ext uri="{FF2B5EF4-FFF2-40B4-BE49-F238E27FC236}">
                <a16:creationId xmlns:a16="http://schemas.microsoft.com/office/drawing/2014/main" id="{DC820D39-17CC-48A9-8F3D-537AE3EC1B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071" y="3391"/>
            <a:ext cx="12192000" cy="6858000"/>
          </a:xfrm>
          <a:prstGeom prst="rect">
            <a:avLst/>
          </a:prstGeom>
        </p:spPr>
      </p:pic>
      <p:sp>
        <p:nvSpPr>
          <p:cNvPr id="59" name="Retângulo 58" hidden="1">
            <a:extLst>
              <a:ext uri="{FF2B5EF4-FFF2-40B4-BE49-F238E27FC236}">
                <a16:creationId xmlns:a16="http://schemas.microsoft.com/office/drawing/2014/main" id="{97A2864A-C524-42E8-8919-C134A97DD1C2}"/>
              </a:ext>
            </a:extLst>
          </p:cNvPr>
          <p:cNvSpPr/>
          <p:nvPr/>
        </p:nvSpPr>
        <p:spPr>
          <a:xfrm>
            <a:off x="-96253" y="0"/>
            <a:ext cx="12296324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6" name="Rectangle 1">
            <a:extLst>
              <a:ext uri="{FF2B5EF4-FFF2-40B4-BE49-F238E27FC236}">
                <a16:creationId xmlns:a16="http://schemas.microsoft.com/office/drawing/2014/main" id="{56413EC7-5C6E-4F7B-A935-5437059C1849}"/>
              </a:ext>
            </a:extLst>
          </p:cNvPr>
          <p:cNvSpPr/>
          <p:nvPr/>
        </p:nvSpPr>
        <p:spPr>
          <a:xfrm>
            <a:off x="2264123" y="4548675"/>
            <a:ext cx="2042309" cy="1857936"/>
          </a:xfrm>
          <a:prstGeom prst="roundRect">
            <a:avLst>
              <a:gd name="adj" fmla="val 4949"/>
            </a:avLst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2DB87D96-509C-43F4-BC61-75281A76249E}"/>
              </a:ext>
            </a:extLst>
          </p:cNvPr>
          <p:cNvSpPr/>
          <p:nvPr/>
        </p:nvSpPr>
        <p:spPr>
          <a:xfrm>
            <a:off x="-1539785" y="2522776"/>
            <a:ext cx="2033407" cy="1857936"/>
          </a:xfrm>
          <a:prstGeom prst="roundRect">
            <a:avLst>
              <a:gd name="adj" fmla="val 5730"/>
            </a:avLst>
          </a:prstGeom>
          <a:solidFill>
            <a:srgbClr val="F37A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9" name="Rectangle 1">
            <a:extLst>
              <a:ext uri="{FF2B5EF4-FFF2-40B4-BE49-F238E27FC236}">
                <a16:creationId xmlns:a16="http://schemas.microsoft.com/office/drawing/2014/main" id="{2ACCE9F0-FBE4-41E5-8695-CECD6F4EBB60}"/>
              </a:ext>
            </a:extLst>
          </p:cNvPr>
          <p:cNvSpPr/>
          <p:nvPr/>
        </p:nvSpPr>
        <p:spPr>
          <a:xfrm>
            <a:off x="3780123" y="520187"/>
            <a:ext cx="2033407" cy="1857936"/>
          </a:xfrm>
          <a:prstGeom prst="roundRect">
            <a:avLst>
              <a:gd name="adj" fmla="val 6511"/>
            </a:avLst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CD2C0E9D-4007-4D94-978A-D8B8D33D5E80}"/>
              </a:ext>
            </a:extLst>
          </p:cNvPr>
          <p:cNvSpPr txBox="1"/>
          <p:nvPr/>
        </p:nvSpPr>
        <p:spPr>
          <a:xfrm>
            <a:off x="3980794" y="1535515"/>
            <a:ext cx="15885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7 mil</a:t>
            </a:r>
          </a:p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empregados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6095EED8-F7A6-4C90-8EE9-2418072BC3E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1853" y="1050456"/>
            <a:ext cx="439854" cy="432000"/>
          </a:xfrm>
          <a:prstGeom prst="rect">
            <a:avLst/>
          </a:prstGeom>
        </p:spPr>
      </p:pic>
      <p:sp>
        <p:nvSpPr>
          <p:cNvPr id="46" name="Rectangle 1">
            <a:extLst>
              <a:ext uri="{FF2B5EF4-FFF2-40B4-BE49-F238E27FC236}">
                <a16:creationId xmlns:a16="http://schemas.microsoft.com/office/drawing/2014/main" id="{08F4BB13-5885-49CB-A329-83C2B57EB7B0}"/>
              </a:ext>
            </a:extLst>
          </p:cNvPr>
          <p:cNvSpPr/>
          <p:nvPr/>
        </p:nvSpPr>
        <p:spPr>
          <a:xfrm>
            <a:off x="4441339" y="4548675"/>
            <a:ext cx="3877067" cy="1857936"/>
          </a:xfrm>
          <a:prstGeom prst="roundRect">
            <a:avLst>
              <a:gd name="adj" fmla="val 4949"/>
            </a:avLst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805915AC-BF0C-4B5F-BD46-69BAAC3739C0}"/>
              </a:ext>
            </a:extLst>
          </p:cNvPr>
          <p:cNvSpPr/>
          <p:nvPr/>
        </p:nvSpPr>
        <p:spPr>
          <a:xfrm>
            <a:off x="668278" y="2522776"/>
            <a:ext cx="8119233" cy="1857936"/>
          </a:xfrm>
          <a:prstGeom prst="roundRect">
            <a:avLst>
              <a:gd name="adj" fmla="val 6511"/>
            </a:avLst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7AB5801E-1B2A-45DE-8351-DBDB9F8B668E}"/>
              </a:ext>
            </a:extLst>
          </p:cNvPr>
          <p:cNvSpPr txBox="1"/>
          <p:nvPr/>
        </p:nvSpPr>
        <p:spPr>
          <a:xfrm>
            <a:off x="792985" y="3116638"/>
            <a:ext cx="26051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Operação em</a:t>
            </a:r>
          </a:p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4 ferrovias: </a:t>
            </a:r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Centro Atlântica, Norte-Sul, Vitória a Minas e Carajás </a:t>
            </a:r>
          </a:p>
        </p:txBody>
      </p:sp>
      <p:pic>
        <p:nvPicPr>
          <p:cNvPr id="22" name="Gráfico 21">
            <a:extLst>
              <a:ext uri="{FF2B5EF4-FFF2-40B4-BE49-F238E27FC236}">
                <a16:creationId xmlns:a16="http://schemas.microsoft.com/office/drawing/2014/main" id="{28404DEE-B51F-4EB1-BD8F-92E523E4A7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067" y="2633661"/>
            <a:ext cx="348071" cy="465993"/>
          </a:xfrm>
          <a:prstGeom prst="rect">
            <a:avLst/>
          </a:prstGeom>
        </p:spPr>
      </p:pic>
      <p:sp>
        <p:nvSpPr>
          <p:cNvPr id="38" name="Rectangle 1">
            <a:extLst>
              <a:ext uri="{FF2B5EF4-FFF2-40B4-BE49-F238E27FC236}">
                <a16:creationId xmlns:a16="http://schemas.microsoft.com/office/drawing/2014/main" id="{69B734B8-7369-4E85-9FB0-6DF07ABD360E}"/>
              </a:ext>
            </a:extLst>
          </p:cNvPr>
          <p:cNvSpPr/>
          <p:nvPr/>
        </p:nvSpPr>
        <p:spPr>
          <a:xfrm>
            <a:off x="8383158" y="520187"/>
            <a:ext cx="1718223" cy="1857936"/>
          </a:xfrm>
          <a:prstGeom prst="roundRect">
            <a:avLst>
              <a:gd name="adj" fmla="val 4949"/>
            </a:avLst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CBEC700-6259-4EB7-A4B5-46EAFDCD7E13}"/>
              </a:ext>
            </a:extLst>
          </p:cNvPr>
          <p:cNvSpPr txBox="1"/>
          <p:nvPr/>
        </p:nvSpPr>
        <p:spPr>
          <a:xfrm>
            <a:off x="3249017" y="2606385"/>
            <a:ext cx="232032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Volume de ferrovias em 2024: </a:t>
            </a:r>
            <a:r>
              <a:rPr lang="pt-BR" sz="2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41,8 bilhões de TKU </a:t>
            </a:r>
            <a:r>
              <a:rPr lang="pt-BR" sz="16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(equivalente a 60 milhões de toneladas)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C8E08937-92B1-40EE-8B12-4796C5C26454}"/>
              </a:ext>
            </a:extLst>
          </p:cNvPr>
          <p:cNvSpPr txBox="1"/>
          <p:nvPr/>
        </p:nvSpPr>
        <p:spPr>
          <a:xfrm>
            <a:off x="6862459" y="3283493"/>
            <a:ext cx="19250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Aproximadamente</a:t>
            </a:r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 600 </a:t>
            </a:r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locomotivas e </a:t>
            </a:r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21 mil vagões 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A919A520-4D71-40AB-8926-735D178E0BF4}"/>
              </a:ext>
            </a:extLst>
          </p:cNvPr>
          <p:cNvSpPr txBox="1"/>
          <p:nvPr/>
        </p:nvSpPr>
        <p:spPr>
          <a:xfrm>
            <a:off x="5649650" y="3319860"/>
            <a:ext cx="14436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Cerca de</a:t>
            </a:r>
          </a:p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8.000 km</a:t>
            </a:r>
          </a:p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de ferrovia</a:t>
            </a:r>
          </a:p>
        </p:txBody>
      </p:sp>
      <p:sp>
        <p:nvSpPr>
          <p:cNvPr id="55" name="Rectangle 1">
            <a:extLst>
              <a:ext uri="{FF2B5EF4-FFF2-40B4-BE49-F238E27FC236}">
                <a16:creationId xmlns:a16="http://schemas.microsoft.com/office/drawing/2014/main" id="{97816B3F-1946-4EAE-A5A9-D6E117C6AF50}"/>
              </a:ext>
            </a:extLst>
          </p:cNvPr>
          <p:cNvSpPr/>
          <p:nvPr/>
        </p:nvSpPr>
        <p:spPr>
          <a:xfrm>
            <a:off x="-1539784" y="525466"/>
            <a:ext cx="5164338" cy="1857936"/>
          </a:xfrm>
          <a:prstGeom prst="roundRect">
            <a:avLst>
              <a:gd name="adj" fmla="val 5730"/>
            </a:avLst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TextBox 11">
            <a:extLst>
              <a:ext uri="{FF2B5EF4-FFF2-40B4-BE49-F238E27FC236}">
                <a16:creationId xmlns:a16="http://schemas.microsoft.com/office/drawing/2014/main" id="{30793BD2-E4EB-4BF2-B7AA-7F305C3C0F34}"/>
              </a:ext>
            </a:extLst>
          </p:cNvPr>
          <p:cNvSpPr txBox="1"/>
          <p:nvPr/>
        </p:nvSpPr>
        <p:spPr>
          <a:xfrm>
            <a:off x="507601" y="802287"/>
            <a:ext cx="31292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cap="all" spc="2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VLI em números</a:t>
            </a:r>
          </a:p>
        </p:txBody>
      </p:sp>
      <p:sp>
        <p:nvSpPr>
          <p:cNvPr id="72" name="Rectangle 1">
            <a:extLst>
              <a:ext uri="{FF2B5EF4-FFF2-40B4-BE49-F238E27FC236}">
                <a16:creationId xmlns:a16="http://schemas.microsoft.com/office/drawing/2014/main" id="{EB11BE8B-B64F-4AB7-BAF7-F758F4910F8D}"/>
              </a:ext>
            </a:extLst>
          </p:cNvPr>
          <p:cNvSpPr/>
          <p:nvPr/>
        </p:nvSpPr>
        <p:spPr>
          <a:xfrm>
            <a:off x="8867820" y="2530024"/>
            <a:ext cx="3825643" cy="1857936"/>
          </a:xfrm>
          <a:prstGeom prst="roundRect">
            <a:avLst>
              <a:gd name="adj" fmla="val 4949"/>
            </a:avLst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73" name="Rectangle 1">
            <a:extLst>
              <a:ext uri="{FF2B5EF4-FFF2-40B4-BE49-F238E27FC236}">
                <a16:creationId xmlns:a16="http://schemas.microsoft.com/office/drawing/2014/main" id="{AD9226BF-CECC-437E-93D2-65F1FCCDDB82}"/>
              </a:ext>
            </a:extLst>
          </p:cNvPr>
          <p:cNvSpPr/>
          <p:nvPr/>
        </p:nvSpPr>
        <p:spPr>
          <a:xfrm>
            <a:off x="5969099" y="520187"/>
            <a:ext cx="2169870" cy="1857936"/>
          </a:xfrm>
          <a:prstGeom prst="roundRect">
            <a:avLst>
              <a:gd name="adj" fmla="val 4949"/>
            </a:avLst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03A52FEC-8CD8-4F07-ACF8-4B95582ACFCF}"/>
              </a:ext>
            </a:extLst>
          </p:cNvPr>
          <p:cNvSpPr txBox="1"/>
          <p:nvPr/>
        </p:nvSpPr>
        <p:spPr>
          <a:xfrm>
            <a:off x="8543446" y="1479477"/>
            <a:ext cx="1484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9 terminais </a:t>
            </a:r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intermodais</a:t>
            </a: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3591E402-ACC6-4DCA-A772-ED0075E295F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62" y="1106851"/>
            <a:ext cx="512947" cy="358483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id="{CA6BEF72-7383-415D-9C11-93B113A274E3}"/>
              </a:ext>
            </a:extLst>
          </p:cNvPr>
          <p:cNvSpPr txBox="1"/>
          <p:nvPr/>
        </p:nvSpPr>
        <p:spPr>
          <a:xfrm>
            <a:off x="8913271" y="3301304"/>
            <a:ext cx="19875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7 estruturas</a:t>
            </a:r>
          </a:p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de operações</a:t>
            </a:r>
          </a:p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portuárias 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D60C800D-78C6-4631-9ED5-3E4506AC605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1191" y="2764202"/>
            <a:ext cx="480185" cy="439650"/>
          </a:xfrm>
          <a:prstGeom prst="rect">
            <a:avLst/>
          </a:prstGeom>
        </p:spPr>
      </p:pic>
      <p:sp>
        <p:nvSpPr>
          <p:cNvPr id="15" name="TextBox 11">
            <a:extLst>
              <a:ext uri="{FF2B5EF4-FFF2-40B4-BE49-F238E27FC236}">
                <a16:creationId xmlns:a16="http://schemas.microsoft.com/office/drawing/2014/main" id="{3B17E502-7966-4B5E-AE5E-DBC602824826}"/>
              </a:ext>
            </a:extLst>
          </p:cNvPr>
          <p:cNvSpPr txBox="1"/>
          <p:nvPr/>
        </p:nvSpPr>
        <p:spPr>
          <a:xfrm>
            <a:off x="10140023" y="2638353"/>
            <a:ext cx="210495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Volume de</a:t>
            </a:r>
          </a:p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portos em 2024: </a:t>
            </a:r>
            <a:r>
              <a:rPr lang="pt-BR" sz="2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43 milhões de toneladas (TU)</a:t>
            </a:r>
          </a:p>
        </p:txBody>
      </p:sp>
      <p:sp>
        <p:nvSpPr>
          <p:cNvPr id="41" name="TextBox 11">
            <a:extLst>
              <a:ext uri="{FF2B5EF4-FFF2-40B4-BE49-F238E27FC236}">
                <a16:creationId xmlns:a16="http://schemas.microsoft.com/office/drawing/2014/main" id="{1F0EC253-841D-44D1-AD08-DABB5C7BE31F}"/>
              </a:ext>
            </a:extLst>
          </p:cNvPr>
          <p:cNvSpPr txBox="1"/>
          <p:nvPr/>
        </p:nvSpPr>
        <p:spPr>
          <a:xfrm>
            <a:off x="1972272" y="5407362"/>
            <a:ext cx="2592028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00" b="1" dirty="0">
                <a:solidFill>
                  <a:schemeClr val="bg1"/>
                </a:solidFill>
                <a:latin typeface="Manrope"/>
                <a:ea typeface="Open Sans ExtraBold" panose="020B0906030804020204" pitchFamily="34" charset="0"/>
                <a:cs typeface="Arial" panose="020B0604020202020204" pitchFamily="34" charset="0"/>
              </a:rPr>
              <a:t>~ R$ 22 bilhões </a:t>
            </a:r>
          </a:p>
          <a:p>
            <a:pPr algn="ctr"/>
            <a:r>
              <a:rPr lang="pt-BR" sz="1400" dirty="0">
                <a:solidFill>
                  <a:schemeClr val="bg1"/>
                </a:solidFill>
                <a:latin typeface="Manrope"/>
                <a:ea typeface="Open Sans ExtraBold" panose="020B0906030804020204" pitchFamily="34" charset="0"/>
                <a:cs typeface="Arial" panose="020B0604020202020204" pitchFamily="34" charset="0"/>
              </a:rPr>
              <a:t>em ativos totais</a:t>
            </a:r>
          </a:p>
        </p:txBody>
      </p:sp>
      <p:pic>
        <p:nvPicPr>
          <p:cNvPr id="42" name="Imagem 41" descr="Ícone&#10;&#10;Descrição gerada automaticamente">
            <a:extLst>
              <a:ext uri="{FF2B5EF4-FFF2-40B4-BE49-F238E27FC236}">
                <a16:creationId xmlns:a16="http://schemas.microsoft.com/office/drawing/2014/main" id="{3AA4C846-A3F2-4A36-A968-1A33DFF52D9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1301" y="4515558"/>
            <a:ext cx="1044904" cy="1044904"/>
          </a:xfrm>
          <a:prstGeom prst="rect">
            <a:avLst/>
          </a:prstGeom>
        </p:spPr>
      </p:pic>
      <p:pic>
        <p:nvPicPr>
          <p:cNvPr id="43" name="Gráfico 42">
            <a:extLst>
              <a:ext uri="{FF2B5EF4-FFF2-40B4-BE49-F238E27FC236}">
                <a16:creationId xmlns:a16="http://schemas.microsoft.com/office/drawing/2014/main" id="{392340E7-EF42-4D27-9EB5-BB8D76EF459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94463" y="5232690"/>
            <a:ext cx="655544" cy="655544"/>
          </a:xfrm>
          <a:prstGeom prst="rect">
            <a:avLst/>
          </a:prstGeom>
        </p:spPr>
      </p:pic>
      <p:sp>
        <p:nvSpPr>
          <p:cNvPr id="45" name="TextBox 11">
            <a:extLst>
              <a:ext uri="{FF2B5EF4-FFF2-40B4-BE49-F238E27FC236}">
                <a16:creationId xmlns:a16="http://schemas.microsoft.com/office/drawing/2014/main" id="{17B6C60F-AC41-4657-BD80-234B9C9210E0}"/>
              </a:ext>
            </a:extLst>
          </p:cNvPr>
          <p:cNvSpPr txBox="1"/>
          <p:nvPr/>
        </p:nvSpPr>
        <p:spPr>
          <a:xfrm>
            <a:off x="5881731" y="4990839"/>
            <a:ext cx="210495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anrope"/>
                <a:ea typeface="Open Sans ExtraBold" panose="020B0906030804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pt-BR" sz="2400" b="1" dirty="0">
                <a:solidFill>
                  <a:schemeClr val="bg1"/>
                </a:solidFill>
                <a:latin typeface="Manrope"/>
                <a:ea typeface="Open Sans ExtraBold" panose="020B0906030804020204" pitchFamily="34" charset="0"/>
                <a:cs typeface="Arial" panose="020B0604020202020204" pitchFamily="34" charset="0"/>
              </a:rPr>
              <a:t>~R$ 5 bilhões de EBITDA</a:t>
            </a:r>
          </a:p>
        </p:txBody>
      </p:sp>
      <p:sp>
        <p:nvSpPr>
          <p:cNvPr id="47" name="Rectangle 1">
            <a:extLst>
              <a:ext uri="{FF2B5EF4-FFF2-40B4-BE49-F238E27FC236}">
                <a16:creationId xmlns:a16="http://schemas.microsoft.com/office/drawing/2014/main" id="{DBAD879D-F209-4659-939C-1F83973C044B}"/>
              </a:ext>
            </a:extLst>
          </p:cNvPr>
          <p:cNvSpPr/>
          <p:nvPr/>
        </p:nvSpPr>
        <p:spPr>
          <a:xfrm>
            <a:off x="-533443" y="4549114"/>
            <a:ext cx="2690445" cy="1857936"/>
          </a:xfrm>
          <a:prstGeom prst="roundRect">
            <a:avLst>
              <a:gd name="adj" fmla="val 4949"/>
            </a:avLst>
          </a:prstGeom>
          <a:solidFill>
            <a:srgbClr val="0074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7" name="Rectangle 1">
            <a:extLst>
              <a:ext uri="{FF2B5EF4-FFF2-40B4-BE49-F238E27FC236}">
                <a16:creationId xmlns:a16="http://schemas.microsoft.com/office/drawing/2014/main" id="{4182695B-3A25-4260-967E-528BB31C9A94}"/>
              </a:ext>
            </a:extLst>
          </p:cNvPr>
          <p:cNvSpPr/>
          <p:nvPr/>
        </p:nvSpPr>
        <p:spPr>
          <a:xfrm>
            <a:off x="8444632" y="4540154"/>
            <a:ext cx="1662003" cy="1857936"/>
          </a:xfrm>
          <a:prstGeom prst="roundRect">
            <a:avLst>
              <a:gd name="adj" fmla="val 5730"/>
            </a:avLst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4" name="TextBox 11">
            <a:extLst>
              <a:ext uri="{FF2B5EF4-FFF2-40B4-BE49-F238E27FC236}">
                <a16:creationId xmlns:a16="http://schemas.microsoft.com/office/drawing/2014/main" id="{DE882007-AE5E-433B-BCFC-1D0042D39BF1}"/>
              </a:ext>
            </a:extLst>
          </p:cNvPr>
          <p:cNvSpPr txBox="1"/>
          <p:nvPr/>
        </p:nvSpPr>
        <p:spPr>
          <a:xfrm>
            <a:off x="6025319" y="1272672"/>
            <a:ext cx="20701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Presente em cerca de</a:t>
            </a:r>
            <a:endParaRPr lang="pt-BR" sz="1400" dirty="0">
              <a:solidFill>
                <a:schemeClr val="bg1"/>
              </a:solidFill>
              <a:latin typeface="Manrope ExtraBold" pitchFamily="2" charset="0"/>
              <a:ea typeface="Open Sans ExtraBold" panose="020B0906030804020204" pitchFamily="34" charset="0"/>
              <a:cs typeface="Arial" panose="020B0604020202020204" pitchFamily="34" charset="0"/>
            </a:endParaRPr>
          </a:p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300 municípios,</a:t>
            </a:r>
          </a:p>
          <a:p>
            <a:r>
              <a:rPr lang="pt-BR" sz="14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10 estados </a:t>
            </a:r>
            <a:r>
              <a:rPr lang="pt-BR" sz="14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e no Distrito Federal</a:t>
            </a:r>
          </a:p>
        </p:txBody>
      </p:sp>
      <p:pic>
        <p:nvPicPr>
          <p:cNvPr id="48" name="Gráfico 47">
            <a:extLst>
              <a:ext uri="{FF2B5EF4-FFF2-40B4-BE49-F238E27FC236}">
                <a16:creationId xmlns:a16="http://schemas.microsoft.com/office/drawing/2014/main" id="{694997B9-D6DF-4E0B-8425-DE38666E66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12085" y="802287"/>
            <a:ext cx="432000" cy="432000"/>
          </a:xfrm>
          <a:prstGeom prst="rect">
            <a:avLst/>
          </a:prstGeom>
        </p:spPr>
      </p:pic>
      <p:sp>
        <p:nvSpPr>
          <p:cNvPr id="49" name="TextBox 11">
            <a:extLst>
              <a:ext uri="{FF2B5EF4-FFF2-40B4-BE49-F238E27FC236}">
                <a16:creationId xmlns:a16="http://schemas.microsoft.com/office/drawing/2014/main" id="{7C18C588-3CF0-446E-998A-9F1499F9E0C0}"/>
              </a:ext>
            </a:extLst>
          </p:cNvPr>
          <p:cNvSpPr txBox="1"/>
          <p:nvPr/>
        </p:nvSpPr>
        <p:spPr>
          <a:xfrm>
            <a:off x="8484079" y="5148849"/>
            <a:ext cx="188598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+ De</a:t>
            </a:r>
          </a:p>
          <a:p>
            <a:r>
              <a:rPr lang="pt-BR" sz="20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R$ 17 </a:t>
            </a:r>
            <a:r>
              <a:rPr lang="pt-BR" sz="1600" dirty="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bilhões </a:t>
            </a:r>
            <a:r>
              <a:rPr lang="pt-BR" sz="1600" dirty="0">
                <a:solidFill>
                  <a:schemeClr val="bg1"/>
                </a:solidFill>
                <a:latin typeface="Manrope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investidos entre 2014 a 2024</a:t>
            </a:r>
          </a:p>
        </p:txBody>
      </p:sp>
      <p:pic>
        <p:nvPicPr>
          <p:cNvPr id="54" name="Gráfico 53">
            <a:extLst>
              <a:ext uri="{FF2B5EF4-FFF2-40B4-BE49-F238E27FC236}">
                <a16:creationId xmlns:a16="http://schemas.microsoft.com/office/drawing/2014/main" id="{38137F18-BC76-4A9B-8046-87C76C525C8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38090" y="4700348"/>
            <a:ext cx="386687" cy="386687"/>
          </a:xfrm>
          <a:prstGeom prst="rect">
            <a:avLst/>
          </a:prstGeom>
        </p:spPr>
      </p:pic>
      <p:pic>
        <p:nvPicPr>
          <p:cNvPr id="61" name="Imagem 60">
            <a:extLst>
              <a:ext uri="{FF2B5EF4-FFF2-40B4-BE49-F238E27FC236}">
                <a16:creationId xmlns:a16="http://schemas.microsoft.com/office/drawing/2014/main" id="{C82D801C-AED8-412F-853A-BB2B47749D8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64" t="11464" r="-41764" b="1388"/>
          <a:stretch/>
        </p:blipFill>
        <p:spPr>
          <a:xfrm>
            <a:off x="10409232" y="520187"/>
            <a:ext cx="3157464" cy="1834188"/>
          </a:xfrm>
          <a:prstGeom prst="roundRect">
            <a:avLst>
              <a:gd name="adj" fmla="val 3212"/>
            </a:avLst>
          </a:prstGeom>
        </p:spPr>
      </p:pic>
      <p:pic>
        <p:nvPicPr>
          <p:cNvPr id="62" name="Imagem 61">
            <a:extLst>
              <a:ext uri="{FF2B5EF4-FFF2-40B4-BE49-F238E27FC236}">
                <a16:creationId xmlns:a16="http://schemas.microsoft.com/office/drawing/2014/main" id="{5182EC4E-F243-4BBB-A263-A9041EE25A4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0" t="28689" r="13308" b="5957"/>
          <a:stretch/>
        </p:blipFill>
        <p:spPr>
          <a:xfrm>
            <a:off x="-522731" y="4532905"/>
            <a:ext cx="2690124" cy="1865185"/>
          </a:xfrm>
          <a:prstGeom prst="roundRect">
            <a:avLst>
              <a:gd name="adj" fmla="val 5738"/>
            </a:avLst>
          </a:prstGeom>
        </p:spPr>
      </p:pic>
      <p:pic>
        <p:nvPicPr>
          <p:cNvPr id="63" name="Imagem 62">
            <a:extLst>
              <a:ext uri="{FF2B5EF4-FFF2-40B4-BE49-F238E27FC236}">
                <a16:creationId xmlns:a16="http://schemas.microsoft.com/office/drawing/2014/main" id="{5E180CBB-E3A2-4D45-AF27-F7113B66B0F6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4" t="716" r="-22784" b="926"/>
          <a:stretch/>
        </p:blipFill>
        <p:spPr>
          <a:xfrm>
            <a:off x="10305997" y="4515558"/>
            <a:ext cx="3157464" cy="1891053"/>
          </a:xfrm>
          <a:prstGeom prst="roundRect">
            <a:avLst>
              <a:gd name="adj" fmla="val 4486"/>
            </a:avLst>
          </a:prstGeom>
        </p:spPr>
      </p:pic>
    </p:spTree>
    <p:extLst>
      <p:ext uri="{BB962C8B-B14F-4D97-AF65-F5344CB8AC3E}">
        <p14:creationId xmlns:p14="http://schemas.microsoft.com/office/powerpoint/2010/main" val="378765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ersonagem-3">
            <a:extLst>
              <a:ext uri="{FF2B5EF4-FFF2-40B4-BE49-F238E27FC236}">
                <a16:creationId xmlns:a16="http://schemas.microsoft.com/office/drawing/2014/main" id="{F967499F-FEAF-402A-9947-0F892C68C71A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1650"/>
          </a:xfrm>
          <a:prstGeom prst="rect">
            <a:avLst/>
          </a:prstGeom>
        </p:spPr>
      </p:pic>
      <p:pic>
        <p:nvPicPr>
          <p:cNvPr id="2" name="01">
            <a:extLst>
              <a:ext uri="{FF2B5EF4-FFF2-40B4-BE49-F238E27FC236}">
                <a16:creationId xmlns:a16="http://schemas.microsoft.com/office/drawing/2014/main" id="{3E2AFD4D-B972-4A5D-9179-B32E90A57ED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" r="273"/>
          <a:stretch/>
        </p:blipFill>
        <p:spPr>
          <a:xfrm>
            <a:off x="0" y="3410193"/>
            <a:ext cx="12192000" cy="3447807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49941251-E775-4058-A71D-B53B1BBD14C4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solidFill>
                <a:srgbClr val="E6E6E6"/>
              </a:solidFill>
              <a:latin typeface="Bahnschrift" panose="020B0502040204020203" pitchFamily="34" charset="0"/>
            </a:endParaRP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6583CC01-9D75-425D-B683-0906E84ACAB6}"/>
              </a:ext>
            </a:extLst>
          </p:cNvPr>
          <p:cNvSpPr txBox="1"/>
          <p:nvPr/>
        </p:nvSpPr>
        <p:spPr>
          <a:xfrm>
            <a:off x="1509693" y="298076"/>
            <a:ext cx="91726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200" cap="all" spc="200" dirty="0">
                <a:solidFill>
                  <a:srgbClr val="F37A19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SEGMENTOS EM QUE atuamos 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2152D542-0569-413A-A5DC-AC385C8E149A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42770" y="1679996"/>
            <a:ext cx="630000" cy="630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E67FF6E-ADD4-4D57-BA31-7D479C59E780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365966" y="1679996"/>
            <a:ext cx="701217" cy="630000"/>
          </a:xfrm>
          <a:prstGeom prst="rect">
            <a:avLst/>
          </a:prstGeom>
        </p:spPr>
      </p:pic>
      <p:pic>
        <p:nvPicPr>
          <p:cNvPr id="7" name="Gráfico 6">
            <a:extLst>
              <a:ext uri="{FF2B5EF4-FFF2-40B4-BE49-F238E27FC236}">
                <a16:creationId xmlns:a16="http://schemas.microsoft.com/office/drawing/2014/main" id="{AD977667-92DD-40AF-A960-ADC4646A64B1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39241" y="1699312"/>
            <a:ext cx="630000" cy="630000"/>
          </a:xfrm>
          <a:prstGeom prst="rect">
            <a:avLst/>
          </a:prstGeom>
        </p:spPr>
      </p:pic>
      <p:sp>
        <p:nvSpPr>
          <p:cNvPr id="8" name="TextBox 11">
            <a:hlinkClick r:id="rId17" action="ppaction://hlinksldjump"/>
            <a:extLst>
              <a:ext uri="{FF2B5EF4-FFF2-40B4-BE49-F238E27FC236}">
                <a16:creationId xmlns:a16="http://schemas.microsoft.com/office/drawing/2014/main" id="{DB685E50-DD0C-4A7E-B94B-6782DC845EFF}"/>
              </a:ext>
            </a:extLst>
          </p:cNvPr>
          <p:cNvSpPr txBox="1"/>
          <p:nvPr/>
        </p:nvSpPr>
        <p:spPr>
          <a:xfrm>
            <a:off x="792041" y="2523790"/>
            <a:ext cx="352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cap="all" spc="150">
                <a:solidFill>
                  <a:schemeClr val="bg2">
                    <a:lumMod val="25000"/>
                  </a:schemeClr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Grãos</a:t>
            </a:r>
          </a:p>
        </p:txBody>
      </p:sp>
      <p:sp>
        <p:nvSpPr>
          <p:cNvPr id="9" name="TextBox 11">
            <a:hlinkClick r:id="rId18" action="ppaction://hlinksldjump"/>
            <a:extLst>
              <a:ext uri="{FF2B5EF4-FFF2-40B4-BE49-F238E27FC236}">
                <a16:creationId xmlns:a16="http://schemas.microsoft.com/office/drawing/2014/main" id="{4C3B3774-5784-4B4F-BD51-5383D318753E}"/>
              </a:ext>
            </a:extLst>
          </p:cNvPr>
          <p:cNvSpPr txBox="1"/>
          <p:nvPr/>
        </p:nvSpPr>
        <p:spPr>
          <a:xfrm>
            <a:off x="7909455" y="2523790"/>
            <a:ext cx="36142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cap="all" spc="150">
                <a:solidFill>
                  <a:schemeClr val="bg2">
                    <a:lumMod val="25000"/>
                  </a:schemeClr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Fertilizantes, Florestais, Combustíveis e Açúcar</a:t>
            </a:r>
          </a:p>
        </p:txBody>
      </p:sp>
      <p:sp>
        <p:nvSpPr>
          <p:cNvPr id="10" name="TextBox 11">
            <a:hlinkClick r:id="rId19" action="ppaction://hlinksldjump"/>
            <a:extLst>
              <a:ext uri="{FF2B5EF4-FFF2-40B4-BE49-F238E27FC236}">
                <a16:creationId xmlns:a16="http://schemas.microsoft.com/office/drawing/2014/main" id="{2D342447-1E7E-41F3-8C19-89389C8BB54E}"/>
              </a:ext>
            </a:extLst>
          </p:cNvPr>
          <p:cNvSpPr txBox="1"/>
          <p:nvPr/>
        </p:nvSpPr>
        <p:spPr>
          <a:xfrm>
            <a:off x="3995570" y="2523790"/>
            <a:ext cx="352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cap="all" spc="150">
                <a:solidFill>
                  <a:schemeClr val="bg2">
                    <a:lumMod val="25000"/>
                  </a:schemeClr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Indústrias e Minerais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50362539-7640-43F6-835A-1D942988047F}"/>
              </a:ext>
            </a:extLst>
          </p:cNvPr>
          <p:cNvGrpSpPr/>
          <p:nvPr/>
        </p:nvGrpSpPr>
        <p:grpSpPr>
          <a:xfrm rot="10800000">
            <a:off x="-1828800" y="3410193"/>
            <a:ext cx="8058150" cy="3523344"/>
            <a:chOff x="4021499" y="1143000"/>
            <a:chExt cx="10456501" cy="4572000"/>
          </a:xfrm>
        </p:grpSpPr>
        <p:sp>
          <p:nvSpPr>
            <p:cNvPr id="15" name="Gráfico 11">
              <a:extLst>
                <a:ext uri="{FF2B5EF4-FFF2-40B4-BE49-F238E27FC236}">
                  <a16:creationId xmlns:a16="http://schemas.microsoft.com/office/drawing/2014/main" id="{90A67B01-C08C-402B-94AA-1B7139568E81}"/>
                </a:ext>
              </a:extLst>
            </p:cNvPr>
            <p:cNvSpPr/>
            <p:nvPr/>
          </p:nvSpPr>
          <p:spPr>
            <a:xfrm>
              <a:off x="4021499" y="1167735"/>
              <a:ext cx="8172572" cy="4522536"/>
            </a:xfrm>
            <a:custGeom>
              <a:avLst/>
              <a:gdLst>
                <a:gd name="connsiteX0" fmla="*/ 0 w 12194072"/>
                <a:gd name="connsiteY0" fmla="*/ 0 h 4522536"/>
                <a:gd name="connsiteX1" fmla="*/ 12194073 w 12194072"/>
                <a:gd name="connsiteY1" fmla="*/ 0 h 4522536"/>
                <a:gd name="connsiteX2" fmla="*/ 12194073 w 12194072"/>
                <a:gd name="connsiteY2" fmla="*/ 4522536 h 4522536"/>
                <a:gd name="connsiteX3" fmla="*/ 0 w 12194072"/>
                <a:gd name="connsiteY3" fmla="*/ 4522536 h 4522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4072" h="4522536">
                  <a:moveTo>
                    <a:pt x="0" y="0"/>
                  </a:moveTo>
                  <a:lnTo>
                    <a:pt x="12194073" y="0"/>
                  </a:lnTo>
                  <a:lnTo>
                    <a:pt x="12194073" y="4522536"/>
                  </a:lnTo>
                  <a:lnTo>
                    <a:pt x="0" y="4522536"/>
                  </a:lnTo>
                  <a:close/>
                </a:path>
              </a:pathLst>
            </a:custGeom>
            <a:gradFill>
              <a:gsLst>
                <a:gs pos="100000">
                  <a:srgbClr val="94B6BC"/>
                </a:gs>
                <a:gs pos="0">
                  <a:srgbClr val="94B6BC">
                    <a:alpha val="0"/>
                  </a:srgbClr>
                </a:gs>
              </a:gsLst>
              <a:lin ang="0" scaled="0"/>
            </a:gradFill>
            <a:ln w="72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pic>
          <p:nvPicPr>
            <p:cNvPr id="13" name="Gráfico 12">
              <a:extLst>
                <a:ext uri="{FF2B5EF4-FFF2-40B4-BE49-F238E27FC236}">
                  <a16:creationId xmlns:a16="http://schemas.microsoft.com/office/drawing/2014/main" id="{3D23C0A5-0FE8-4E5F-A2E3-0CBD6D7B7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9906000" y="1143000"/>
              <a:ext cx="4572000" cy="4572000"/>
            </a:xfrm>
            <a:prstGeom prst="rect">
              <a:avLst/>
            </a:prstGeom>
          </p:spPr>
        </p:pic>
      </p:grpSp>
      <p:pic>
        <p:nvPicPr>
          <p:cNvPr id="16" name="Personagem-4" hidden="1">
            <a:extLst>
              <a:ext uri="{FF2B5EF4-FFF2-40B4-BE49-F238E27FC236}">
                <a16:creationId xmlns:a16="http://schemas.microsoft.com/office/drawing/2014/main" id="{57E626D2-2E7B-4CD4-9DF8-30722B7F82B0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4975" y="3204580"/>
            <a:ext cx="2001679" cy="4423558"/>
          </a:xfrm>
          <a:prstGeom prst="rect">
            <a:avLst/>
          </a:prstGeom>
        </p:spPr>
      </p:pic>
      <p:pic>
        <p:nvPicPr>
          <p:cNvPr id="18" name="Personagem-1" hidden="1">
            <a:extLst>
              <a:ext uri="{FF2B5EF4-FFF2-40B4-BE49-F238E27FC236}">
                <a16:creationId xmlns:a16="http://schemas.microsoft.com/office/drawing/2014/main" id="{6409DA69-E8F6-413F-AF25-27087F7FC62E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0231" y="3028860"/>
            <a:ext cx="2620519" cy="4599278"/>
          </a:xfrm>
          <a:prstGeom prst="rect">
            <a:avLst/>
          </a:prstGeom>
        </p:spPr>
      </p:pic>
      <p:pic>
        <p:nvPicPr>
          <p:cNvPr id="20" name="Personagem-2" hidden="1">
            <a:extLst>
              <a:ext uri="{FF2B5EF4-FFF2-40B4-BE49-F238E27FC236}">
                <a16:creationId xmlns:a16="http://schemas.microsoft.com/office/drawing/2014/main" id="{597670FF-4DCB-4690-ADB8-B0C35D48D54D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556" y="2845500"/>
            <a:ext cx="2620519" cy="4782638"/>
          </a:xfrm>
          <a:prstGeom prst="rect">
            <a:avLst/>
          </a:prstGeom>
        </p:spPr>
      </p:pic>
      <p:pic>
        <p:nvPicPr>
          <p:cNvPr id="24" name="Personagem-3" hidden="1">
            <a:extLst>
              <a:ext uri="{FF2B5EF4-FFF2-40B4-BE49-F238E27FC236}">
                <a16:creationId xmlns:a16="http://schemas.microsoft.com/office/drawing/2014/main" id="{4BE39B46-ECC8-41B3-B8B7-8B0B23FB416A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499" y="2578100"/>
            <a:ext cx="2666359" cy="505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3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" name="Rectangle 1">
            <a:extLst>
              <a:ext uri="{FF2B5EF4-FFF2-40B4-BE49-F238E27FC236}">
                <a16:creationId xmlns:a16="http://schemas.microsoft.com/office/drawing/2014/main" id="{FD8C3C12-FF5D-4E28-8EDA-FBF83F18B9C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5AF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aseline="-2500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527" name="Gráfico 1344">
            <a:extLst>
              <a:ext uri="{FF2B5EF4-FFF2-40B4-BE49-F238E27FC236}">
                <a16:creationId xmlns:a16="http://schemas.microsoft.com/office/drawing/2014/main" id="{BFBC4C46-190E-470E-9FBA-6151C3179E5E}"/>
              </a:ext>
            </a:extLst>
          </p:cNvPr>
          <p:cNvGrpSpPr/>
          <p:nvPr/>
        </p:nvGrpSpPr>
        <p:grpSpPr>
          <a:xfrm>
            <a:off x="2536672" y="-636227"/>
            <a:ext cx="8622239" cy="8562303"/>
            <a:chOff x="2656418" y="-527741"/>
            <a:chExt cx="8622239" cy="8562303"/>
          </a:xfrm>
          <a:solidFill>
            <a:srgbClr val="999999"/>
          </a:solidFill>
        </p:grpSpPr>
        <p:sp>
          <p:nvSpPr>
            <p:cNvPr id="528" name="Gráfico 1344">
              <a:extLst>
                <a:ext uri="{FF2B5EF4-FFF2-40B4-BE49-F238E27FC236}">
                  <a16:creationId xmlns:a16="http://schemas.microsoft.com/office/drawing/2014/main" id="{D007960F-D6F8-4815-A73F-CF72A9DBC20D}"/>
                </a:ext>
              </a:extLst>
            </p:cNvPr>
            <p:cNvSpPr/>
            <p:nvPr/>
          </p:nvSpPr>
          <p:spPr>
            <a:xfrm>
              <a:off x="2656418" y="-527741"/>
              <a:ext cx="8622239" cy="8562303"/>
            </a:xfrm>
            <a:custGeom>
              <a:avLst/>
              <a:gdLst>
                <a:gd name="connsiteX0" fmla="*/ 8598490 w 8622239"/>
                <a:gd name="connsiteY0" fmla="*/ 2798347 h 8562303"/>
                <a:gd name="connsiteX1" fmla="*/ 8578997 w 8622239"/>
                <a:gd name="connsiteY1" fmla="*/ 2717444 h 8562303"/>
                <a:gd name="connsiteX2" fmla="*/ 8553812 w 8622239"/>
                <a:gd name="connsiteY2" fmla="*/ 2570300 h 8562303"/>
                <a:gd name="connsiteX3" fmla="*/ 8538805 w 8622239"/>
                <a:gd name="connsiteY3" fmla="*/ 2486809 h 8562303"/>
                <a:gd name="connsiteX4" fmla="*/ 8458592 w 8622239"/>
                <a:gd name="connsiteY4" fmla="*/ 2406424 h 8562303"/>
                <a:gd name="connsiteX5" fmla="*/ 8338013 w 8622239"/>
                <a:gd name="connsiteY5" fmla="*/ 2390899 h 8562303"/>
                <a:gd name="connsiteX6" fmla="*/ 8315243 w 8622239"/>
                <a:gd name="connsiteY6" fmla="*/ 2392796 h 8562303"/>
                <a:gd name="connsiteX7" fmla="*/ 8274878 w 8622239"/>
                <a:gd name="connsiteY7" fmla="*/ 2395556 h 8562303"/>
                <a:gd name="connsiteX8" fmla="*/ 8224508 w 8622239"/>
                <a:gd name="connsiteY8" fmla="*/ 2387104 h 8562303"/>
                <a:gd name="connsiteX9" fmla="*/ 8211052 w 8622239"/>
                <a:gd name="connsiteY9" fmla="*/ 2381756 h 8562303"/>
                <a:gd name="connsiteX10" fmla="*/ 8132565 w 8622239"/>
                <a:gd name="connsiteY10" fmla="*/ 2319828 h 8562303"/>
                <a:gd name="connsiteX11" fmla="*/ 8070982 w 8622239"/>
                <a:gd name="connsiteY11" fmla="*/ 2274460 h 8562303"/>
                <a:gd name="connsiteX12" fmla="*/ 8024233 w 8622239"/>
                <a:gd name="connsiteY12" fmla="*/ 2244445 h 8562303"/>
                <a:gd name="connsiteX13" fmla="*/ 7974036 w 8622239"/>
                <a:gd name="connsiteY13" fmla="*/ 2183207 h 8562303"/>
                <a:gd name="connsiteX14" fmla="*/ 7918145 w 8622239"/>
                <a:gd name="connsiteY14" fmla="*/ 2119382 h 8562303"/>
                <a:gd name="connsiteX15" fmla="*/ 7761514 w 8622239"/>
                <a:gd name="connsiteY15" fmla="*/ 1974308 h 8562303"/>
                <a:gd name="connsiteX16" fmla="*/ 7639211 w 8622239"/>
                <a:gd name="connsiteY16" fmla="*/ 1893923 h 8562303"/>
                <a:gd name="connsiteX17" fmla="*/ 7548475 w 8622239"/>
                <a:gd name="connsiteY17" fmla="*/ 1831822 h 8562303"/>
                <a:gd name="connsiteX18" fmla="*/ 7406162 w 8622239"/>
                <a:gd name="connsiteY18" fmla="*/ 1815607 h 8562303"/>
                <a:gd name="connsiteX19" fmla="*/ 7258845 w 8622239"/>
                <a:gd name="connsiteY19" fmla="*/ 1839930 h 8562303"/>
                <a:gd name="connsiteX20" fmla="*/ 7226588 w 8622239"/>
                <a:gd name="connsiteY20" fmla="*/ 1847865 h 8562303"/>
                <a:gd name="connsiteX21" fmla="*/ 7197090 w 8622239"/>
                <a:gd name="connsiteY21" fmla="*/ 1823887 h 8562303"/>
                <a:gd name="connsiteX22" fmla="*/ 7155690 w 8622239"/>
                <a:gd name="connsiteY22" fmla="*/ 1790594 h 8562303"/>
                <a:gd name="connsiteX23" fmla="*/ 7151722 w 8622239"/>
                <a:gd name="connsiteY23" fmla="*/ 1789732 h 8562303"/>
                <a:gd name="connsiteX24" fmla="*/ 7099282 w 8622239"/>
                <a:gd name="connsiteY24" fmla="*/ 1793009 h 8562303"/>
                <a:gd name="connsiteX25" fmla="*/ 7052189 w 8622239"/>
                <a:gd name="connsiteY25" fmla="*/ 1773517 h 8562303"/>
                <a:gd name="connsiteX26" fmla="*/ 6989916 w 8622239"/>
                <a:gd name="connsiteY26" fmla="*/ 1750747 h 8562303"/>
                <a:gd name="connsiteX27" fmla="*/ 6842255 w 8622239"/>
                <a:gd name="connsiteY27" fmla="*/ 1685714 h 8562303"/>
                <a:gd name="connsiteX28" fmla="*/ 6836045 w 8622239"/>
                <a:gd name="connsiteY28" fmla="*/ 1681918 h 8562303"/>
                <a:gd name="connsiteX29" fmla="*/ 6833285 w 8622239"/>
                <a:gd name="connsiteY29" fmla="*/ 1681918 h 8562303"/>
                <a:gd name="connsiteX30" fmla="*/ 6798957 w 8622239"/>
                <a:gd name="connsiteY30" fmla="*/ 1690199 h 8562303"/>
                <a:gd name="connsiteX31" fmla="*/ 6768080 w 8622239"/>
                <a:gd name="connsiteY31" fmla="*/ 1698134 h 8562303"/>
                <a:gd name="connsiteX32" fmla="*/ 6725472 w 8622239"/>
                <a:gd name="connsiteY32" fmla="*/ 1710726 h 8562303"/>
                <a:gd name="connsiteX33" fmla="*/ 6701494 w 8622239"/>
                <a:gd name="connsiteY33" fmla="*/ 1718661 h 8562303"/>
                <a:gd name="connsiteX34" fmla="*/ 6621281 w 8622239"/>
                <a:gd name="connsiteY34" fmla="*/ 1729184 h 8562303"/>
                <a:gd name="connsiteX35" fmla="*/ 6604893 w 8622239"/>
                <a:gd name="connsiteY35" fmla="*/ 1741776 h 8562303"/>
                <a:gd name="connsiteX36" fmla="*/ 6608516 w 8622239"/>
                <a:gd name="connsiteY36" fmla="*/ 1768859 h 8562303"/>
                <a:gd name="connsiteX37" fmla="*/ 6615933 w 8622239"/>
                <a:gd name="connsiteY37" fmla="*/ 1796977 h 8562303"/>
                <a:gd name="connsiteX38" fmla="*/ 6614381 w 8622239"/>
                <a:gd name="connsiteY38" fmla="*/ 1803532 h 8562303"/>
                <a:gd name="connsiteX39" fmla="*/ 6589713 w 8622239"/>
                <a:gd name="connsiteY39" fmla="*/ 1807154 h 8562303"/>
                <a:gd name="connsiteX40" fmla="*/ 6544518 w 8622239"/>
                <a:gd name="connsiteY40" fmla="*/ 1814054 h 8562303"/>
                <a:gd name="connsiteX41" fmla="*/ 6536065 w 8622239"/>
                <a:gd name="connsiteY41" fmla="*/ 1818194 h 8562303"/>
                <a:gd name="connsiteX42" fmla="*/ 6532788 w 8622239"/>
                <a:gd name="connsiteY42" fmla="*/ 1785592 h 8562303"/>
                <a:gd name="connsiteX43" fmla="*/ 6512088 w 8622239"/>
                <a:gd name="connsiteY43" fmla="*/ 1746952 h 8562303"/>
                <a:gd name="connsiteX44" fmla="*/ 6536755 w 8622239"/>
                <a:gd name="connsiteY44" fmla="*/ 1703999 h 8562303"/>
                <a:gd name="connsiteX45" fmla="*/ 6526060 w 8622239"/>
                <a:gd name="connsiteY45" fmla="*/ 1666048 h 8562303"/>
                <a:gd name="connsiteX46" fmla="*/ 6517780 w 8622239"/>
                <a:gd name="connsiteY46" fmla="*/ 1658631 h 8562303"/>
                <a:gd name="connsiteX47" fmla="*/ 6531580 w 8622239"/>
                <a:gd name="connsiteY47" fmla="*/ 1650868 h 8562303"/>
                <a:gd name="connsiteX48" fmla="*/ 6565218 w 8622239"/>
                <a:gd name="connsiteY48" fmla="*/ 1612918 h 8562303"/>
                <a:gd name="connsiteX49" fmla="*/ 6529855 w 8622239"/>
                <a:gd name="connsiteY49" fmla="*/ 1536155 h 8562303"/>
                <a:gd name="connsiteX50" fmla="*/ 6477242 w 8622239"/>
                <a:gd name="connsiteY50" fmla="*/ 1488545 h 8562303"/>
                <a:gd name="connsiteX51" fmla="*/ 6425492 w 8622239"/>
                <a:gd name="connsiteY51" fmla="*/ 1462152 h 8562303"/>
                <a:gd name="connsiteX52" fmla="*/ 6390992 w 8622239"/>
                <a:gd name="connsiteY52" fmla="*/ 1486475 h 8562303"/>
                <a:gd name="connsiteX53" fmla="*/ 6390302 w 8622239"/>
                <a:gd name="connsiteY53" fmla="*/ 1491822 h 8562303"/>
                <a:gd name="connsiteX54" fmla="*/ 6374432 w 8622239"/>
                <a:gd name="connsiteY54" fmla="*/ 1511832 h 8562303"/>
                <a:gd name="connsiteX55" fmla="*/ 6339241 w 8622239"/>
                <a:gd name="connsiteY55" fmla="*/ 1439037 h 8562303"/>
                <a:gd name="connsiteX56" fmla="*/ 6335619 w 8622239"/>
                <a:gd name="connsiteY56" fmla="*/ 1435759 h 8562303"/>
                <a:gd name="connsiteX57" fmla="*/ 6331997 w 8622239"/>
                <a:gd name="connsiteY57" fmla="*/ 1435759 h 8562303"/>
                <a:gd name="connsiteX58" fmla="*/ 6308536 w 8622239"/>
                <a:gd name="connsiteY58" fmla="*/ 1437657 h 8562303"/>
                <a:gd name="connsiteX59" fmla="*/ 6287664 w 8622239"/>
                <a:gd name="connsiteY59" fmla="*/ 1439554 h 8562303"/>
                <a:gd name="connsiteX60" fmla="*/ 6259891 w 8622239"/>
                <a:gd name="connsiteY60" fmla="*/ 1417647 h 8562303"/>
                <a:gd name="connsiteX61" fmla="*/ 6237638 w 8622239"/>
                <a:gd name="connsiteY61" fmla="*/ 1396774 h 8562303"/>
                <a:gd name="connsiteX62" fmla="*/ 6222458 w 8622239"/>
                <a:gd name="connsiteY62" fmla="*/ 1391426 h 8562303"/>
                <a:gd name="connsiteX63" fmla="*/ 6196410 w 8622239"/>
                <a:gd name="connsiteY63" fmla="*/ 1372279 h 8562303"/>
                <a:gd name="connsiteX64" fmla="*/ 6116887 w 8622239"/>
                <a:gd name="connsiteY64" fmla="*/ 1348301 h 8562303"/>
                <a:gd name="connsiteX65" fmla="*/ 6053925 w 8622239"/>
                <a:gd name="connsiteY65" fmla="*/ 1318803 h 8562303"/>
                <a:gd name="connsiteX66" fmla="*/ 5964914 w 8622239"/>
                <a:gd name="connsiteY66" fmla="*/ 1284821 h 8562303"/>
                <a:gd name="connsiteX67" fmla="*/ 5962499 w 8622239"/>
                <a:gd name="connsiteY67" fmla="*/ 1284131 h 8562303"/>
                <a:gd name="connsiteX68" fmla="*/ 5915751 w 8622239"/>
                <a:gd name="connsiteY68" fmla="*/ 1269986 h 8562303"/>
                <a:gd name="connsiteX69" fmla="*/ 5911783 w 8622239"/>
                <a:gd name="connsiteY69" fmla="*/ 1269123 h 8562303"/>
                <a:gd name="connsiteX70" fmla="*/ 5886425 w 8622239"/>
                <a:gd name="connsiteY70" fmla="*/ 1271711 h 8562303"/>
                <a:gd name="connsiteX71" fmla="*/ 5817080 w 8622239"/>
                <a:gd name="connsiteY71" fmla="*/ 1278956 h 8562303"/>
                <a:gd name="connsiteX72" fmla="*/ 5708232 w 8622239"/>
                <a:gd name="connsiteY72" fmla="*/ 1408504 h 8562303"/>
                <a:gd name="connsiteX73" fmla="*/ 5676319 w 8622239"/>
                <a:gd name="connsiteY73" fmla="*/ 1479057 h 8562303"/>
                <a:gd name="connsiteX74" fmla="*/ 5655447 w 8622239"/>
                <a:gd name="connsiteY74" fmla="*/ 1439727 h 8562303"/>
                <a:gd name="connsiteX75" fmla="*/ 5653549 w 8622239"/>
                <a:gd name="connsiteY75" fmla="*/ 1431964 h 8562303"/>
                <a:gd name="connsiteX76" fmla="*/ 5646649 w 8622239"/>
                <a:gd name="connsiteY76" fmla="*/ 1431964 h 8562303"/>
                <a:gd name="connsiteX77" fmla="*/ 5614909 w 8622239"/>
                <a:gd name="connsiteY77" fmla="*/ 1456114 h 8562303"/>
                <a:gd name="connsiteX78" fmla="*/ 5527106 w 8622239"/>
                <a:gd name="connsiteY78" fmla="*/ 1529945 h 8562303"/>
                <a:gd name="connsiteX79" fmla="*/ 5477425 w 8622239"/>
                <a:gd name="connsiteY79" fmla="*/ 1623613 h 8562303"/>
                <a:gd name="connsiteX80" fmla="*/ 5476735 w 8622239"/>
                <a:gd name="connsiteY80" fmla="*/ 1625683 h 8562303"/>
                <a:gd name="connsiteX81" fmla="*/ 5459658 w 8622239"/>
                <a:gd name="connsiteY81" fmla="*/ 1646383 h 8562303"/>
                <a:gd name="connsiteX82" fmla="*/ 5487603 w 8622239"/>
                <a:gd name="connsiteY82" fmla="*/ 1560133 h 8562303"/>
                <a:gd name="connsiteX83" fmla="*/ 5492777 w 8622239"/>
                <a:gd name="connsiteY83" fmla="*/ 1506312 h 8562303"/>
                <a:gd name="connsiteX84" fmla="*/ 5468627 w 8622239"/>
                <a:gd name="connsiteY84" fmla="*/ 1495272 h 8562303"/>
                <a:gd name="connsiteX85" fmla="*/ 5434990 w 8622239"/>
                <a:gd name="connsiteY85" fmla="*/ 1502172 h 8562303"/>
                <a:gd name="connsiteX86" fmla="*/ 5393244 w 8622239"/>
                <a:gd name="connsiteY86" fmla="*/ 1512350 h 8562303"/>
                <a:gd name="connsiteX87" fmla="*/ 5390312 w 8622239"/>
                <a:gd name="connsiteY87" fmla="*/ 1513040 h 8562303"/>
                <a:gd name="connsiteX88" fmla="*/ 5326487 w 8622239"/>
                <a:gd name="connsiteY88" fmla="*/ 1524942 h 8562303"/>
                <a:gd name="connsiteX89" fmla="*/ 5297679 w 8622239"/>
                <a:gd name="connsiteY89" fmla="*/ 1527357 h 8562303"/>
                <a:gd name="connsiteX90" fmla="*/ 5263178 w 8622239"/>
                <a:gd name="connsiteY90" fmla="*/ 1521147 h 8562303"/>
                <a:gd name="connsiteX91" fmla="*/ 5298024 w 8622239"/>
                <a:gd name="connsiteY91" fmla="*/ 1498895 h 8562303"/>
                <a:gd name="connsiteX92" fmla="*/ 5371682 w 8622239"/>
                <a:gd name="connsiteY92" fmla="*/ 1499240 h 8562303"/>
                <a:gd name="connsiteX93" fmla="*/ 5442752 w 8622239"/>
                <a:gd name="connsiteY93" fmla="*/ 1491995 h 8562303"/>
                <a:gd name="connsiteX94" fmla="*/ 5525898 w 8622239"/>
                <a:gd name="connsiteY94" fmla="*/ 1476124 h 8562303"/>
                <a:gd name="connsiteX95" fmla="*/ 5605076 w 8622239"/>
                <a:gd name="connsiteY95" fmla="*/ 1420579 h 8562303"/>
                <a:gd name="connsiteX96" fmla="*/ 5622153 w 8622239"/>
                <a:gd name="connsiteY96" fmla="*/ 1404191 h 8562303"/>
                <a:gd name="connsiteX97" fmla="*/ 5672869 w 8622239"/>
                <a:gd name="connsiteY97" fmla="*/ 1335018 h 8562303"/>
                <a:gd name="connsiteX98" fmla="*/ 5698227 w 8622239"/>
                <a:gd name="connsiteY98" fmla="*/ 1256530 h 8562303"/>
                <a:gd name="connsiteX99" fmla="*/ 5687704 w 8622239"/>
                <a:gd name="connsiteY99" fmla="*/ 1182700 h 8562303"/>
                <a:gd name="connsiteX100" fmla="*/ 5583686 w 8622239"/>
                <a:gd name="connsiteY100" fmla="*/ 1146475 h 8562303"/>
                <a:gd name="connsiteX101" fmla="*/ 5582134 w 8622239"/>
                <a:gd name="connsiteY101" fmla="*/ 1146475 h 8562303"/>
                <a:gd name="connsiteX102" fmla="*/ 5581271 w 8622239"/>
                <a:gd name="connsiteY102" fmla="*/ 1146475 h 8562303"/>
                <a:gd name="connsiteX103" fmla="*/ 5504853 w 8622239"/>
                <a:gd name="connsiteY103" fmla="*/ 1151305 h 8562303"/>
                <a:gd name="connsiteX104" fmla="*/ 5482600 w 8622239"/>
                <a:gd name="connsiteY104" fmla="*/ 1154755 h 8562303"/>
                <a:gd name="connsiteX105" fmla="*/ 5426365 w 8622239"/>
                <a:gd name="connsiteY105" fmla="*/ 1164760 h 8562303"/>
                <a:gd name="connsiteX106" fmla="*/ 5374787 w 8622239"/>
                <a:gd name="connsiteY106" fmla="*/ 1155962 h 8562303"/>
                <a:gd name="connsiteX107" fmla="*/ 5355122 w 8622239"/>
                <a:gd name="connsiteY107" fmla="*/ 1152340 h 8562303"/>
                <a:gd name="connsiteX108" fmla="*/ 5304062 w 8622239"/>
                <a:gd name="connsiteY108" fmla="*/ 1144060 h 8562303"/>
                <a:gd name="connsiteX109" fmla="*/ 5271459 w 8622239"/>
                <a:gd name="connsiteY109" fmla="*/ 1135952 h 8562303"/>
                <a:gd name="connsiteX110" fmla="*/ 5202631 w 8622239"/>
                <a:gd name="connsiteY110" fmla="*/ 1157860 h 8562303"/>
                <a:gd name="connsiteX111" fmla="*/ 5186588 w 8622239"/>
                <a:gd name="connsiteY111" fmla="*/ 1195465 h 8562303"/>
                <a:gd name="connsiteX112" fmla="*/ 5174686 w 8622239"/>
                <a:gd name="connsiteY112" fmla="*/ 1235830 h 8562303"/>
                <a:gd name="connsiteX113" fmla="*/ 5158125 w 8622239"/>
                <a:gd name="connsiteY113" fmla="*/ 1297068 h 8562303"/>
                <a:gd name="connsiteX114" fmla="*/ 5158471 w 8622239"/>
                <a:gd name="connsiteY114" fmla="*/ 1321218 h 8562303"/>
                <a:gd name="connsiteX115" fmla="*/ 5124488 w 8622239"/>
                <a:gd name="connsiteY115" fmla="*/ 1355546 h 8562303"/>
                <a:gd name="connsiteX116" fmla="*/ 5120175 w 8622239"/>
                <a:gd name="connsiteY116" fmla="*/ 1356581 h 8562303"/>
                <a:gd name="connsiteX117" fmla="*/ 5040997 w 8622239"/>
                <a:gd name="connsiteY117" fmla="*/ 1390564 h 8562303"/>
                <a:gd name="connsiteX118" fmla="*/ 5021159 w 8622239"/>
                <a:gd name="connsiteY118" fmla="*/ 1397636 h 8562303"/>
                <a:gd name="connsiteX119" fmla="*/ 4942499 w 8622239"/>
                <a:gd name="connsiteY119" fmla="*/ 1435414 h 8562303"/>
                <a:gd name="connsiteX120" fmla="*/ 4907998 w 8622239"/>
                <a:gd name="connsiteY120" fmla="*/ 1450939 h 8562303"/>
                <a:gd name="connsiteX121" fmla="*/ 4894198 w 8622239"/>
                <a:gd name="connsiteY121" fmla="*/ 1450077 h 8562303"/>
                <a:gd name="connsiteX122" fmla="*/ 4848831 w 8622239"/>
                <a:gd name="connsiteY122" fmla="*/ 1446627 h 8562303"/>
                <a:gd name="connsiteX123" fmla="*/ 4780348 w 8622239"/>
                <a:gd name="connsiteY123" fmla="*/ 1448524 h 8562303"/>
                <a:gd name="connsiteX124" fmla="*/ 4764132 w 8622239"/>
                <a:gd name="connsiteY124" fmla="*/ 1440244 h 8562303"/>
                <a:gd name="connsiteX125" fmla="*/ 4891266 w 8622239"/>
                <a:gd name="connsiteY125" fmla="*/ 1408331 h 8562303"/>
                <a:gd name="connsiteX126" fmla="*/ 4923696 w 8622239"/>
                <a:gd name="connsiteY126" fmla="*/ 1381076 h 8562303"/>
                <a:gd name="connsiteX127" fmla="*/ 4939566 w 8622239"/>
                <a:gd name="connsiteY127" fmla="*/ 1363826 h 8562303"/>
                <a:gd name="connsiteX128" fmla="*/ 4965442 w 8622239"/>
                <a:gd name="connsiteY128" fmla="*/ 1273953 h 8562303"/>
                <a:gd name="connsiteX129" fmla="*/ 5015640 w 8622239"/>
                <a:gd name="connsiteY129" fmla="*/ 1234968 h 8562303"/>
                <a:gd name="connsiteX130" fmla="*/ 5050829 w 8622239"/>
                <a:gd name="connsiteY130" fmla="*/ 1178387 h 8562303"/>
                <a:gd name="connsiteX131" fmla="*/ 5061007 w 8622239"/>
                <a:gd name="connsiteY131" fmla="*/ 1158205 h 8562303"/>
                <a:gd name="connsiteX132" fmla="*/ 5111377 w 8622239"/>
                <a:gd name="connsiteY132" fmla="*/ 1134917 h 8562303"/>
                <a:gd name="connsiteX133" fmla="*/ 5116208 w 8622239"/>
                <a:gd name="connsiteY133" fmla="*/ 1132157 h 8562303"/>
                <a:gd name="connsiteX134" fmla="*/ 5117070 w 8622239"/>
                <a:gd name="connsiteY134" fmla="*/ 1127845 h 8562303"/>
                <a:gd name="connsiteX135" fmla="*/ 5139668 w 8622239"/>
                <a:gd name="connsiteY135" fmla="*/ 1092137 h 8562303"/>
                <a:gd name="connsiteX136" fmla="*/ 5209703 w 8622239"/>
                <a:gd name="connsiteY136" fmla="*/ 1014339 h 8562303"/>
                <a:gd name="connsiteX137" fmla="*/ 5240063 w 8622239"/>
                <a:gd name="connsiteY137" fmla="*/ 986738 h 8562303"/>
                <a:gd name="connsiteX138" fmla="*/ 5267664 w 8622239"/>
                <a:gd name="connsiteY138" fmla="*/ 971731 h 8562303"/>
                <a:gd name="connsiteX139" fmla="*/ 5286294 w 8622239"/>
                <a:gd name="connsiteY139" fmla="*/ 949478 h 8562303"/>
                <a:gd name="connsiteX140" fmla="*/ 5324934 w 8622239"/>
                <a:gd name="connsiteY140" fmla="*/ 916185 h 8562303"/>
                <a:gd name="connsiteX141" fmla="*/ 5360642 w 8622239"/>
                <a:gd name="connsiteY141" fmla="*/ 882548 h 8562303"/>
                <a:gd name="connsiteX142" fmla="*/ 5365299 w 8622239"/>
                <a:gd name="connsiteY142" fmla="*/ 866678 h 8562303"/>
                <a:gd name="connsiteX143" fmla="*/ 5368750 w 8622239"/>
                <a:gd name="connsiteY143" fmla="*/ 742477 h 8562303"/>
                <a:gd name="connsiteX144" fmla="*/ 5236441 w 8622239"/>
                <a:gd name="connsiteY144" fmla="*/ 707976 h 8562303"/>
                <a:gd name="connsiteX145" fmla="*/ 5199525 w 8622239"/>
                <a:gd name="connsiteY145" fmla="*/ 654501 h 8562303"/>
                <a:gd name="connsiteX146" fmla="*/ 5178135 w 8622239"/>
                <a:gd name="connsiteY146" fmla="*/ 588088 h 8562303"/>
                <a:gd name="connsiteX147" fmla="*/ 5154848 w 8622239"/>
                <a:gd name="connsiteY147" fmla="*/ 518570 h 8562303"/>
                <a:gd name="connsiteX148" fmla="*/ 5138460 w 8622239"/>
                <a:gd name="connsiteY148" fmla="*/ 474410 h 8562303"/>
                <a:gd name="connsiteX149" fmla="*/ 5117933 w 8622239"/>
                <a:gd name="connsiteY149" fmla="*/ 391092 h 8562303"/>
                <a:gd name="connsiteX150" fmla="*/ 5102580 w 8622239"/>
                <a:gd name="connsiteY150" fmla="*/ 286556 h 8562303"/>
                <a:gd name="connsiteX151" fmla="*/ 5090160 w 8622239"/>
                <a:gd name="connsiteY151" fmla="*/ 255678 h 8562303"/>
                <a:gd name="connsiteX152" fmla="*/ 5074290 w 8622239"/>
                <a:gd name="connsiteY152" fmla="*/ 217210 h 8562303"/>
                <a:gd name="connsiteX153" fmla="*/ 5009602 w 8622239"/>
                <a:gd name="connsiteY153" fmla="*/ 170290 h 8562303"/>
                <a:gd name="connsiteX154" fmla="*/ 5005979 w 8622239"/>
                <a:gd name="connsiteY154" fmla="*/ 170463 h 8562303"/>
                <a:gd name="connsiteX155" fmla="*/ 4993559 w 8622239"/>
                <a:gd name="connsiteY155" fmla="*/ 178915 h 8562303"/>
                <a:gd name="connsiteX156" fmla="*/ 4991489 w 8622239"/>
                <a:gd name="connsiteY156" fmla="*/ 220315 h 8562303"/>
                <a:gd name="connsiteX157" fmla="*/ 4969926 w 8622239"/>
                <a:gd name="connsiteY157" fmla="*/ 207205 h 8562303"/>
                <a:gd name="connsiteX158" fmla="*/ 4962854 w 8622239"/>
                <a:gd name="connsiteY158" fmla="*/ 206170 h 8562303"/>
                <a:gd name="connsiteX159" fmla="*/ 4962509 w 8622239"/>
                <a:gd name="connsiteY159" fmla="*/ 205825 h 8562303"/>
                <a:gd name="connsiteX160" fmla="*/ 4962336 w 8622239"/>
                <a:gd name="connsiteY160" fmla="*/ 206170 h 8562303"/>
                <a:gd name="connsiteX161" fmla="*/ 4958369 w 8622239"/>
                <a:gd name="connsiteY161" fmla="*/ 207895 h 8562303"/>
                <a:gd name="connsiteX162" fmla="*/ 4956817 w 8622239"/>
                <a:gd name="connsiteY162" fmla="*/ 210828 h 8562303"/>
                <a:gd name="connsiteX163" fmla="*/ 4881951 w 8622239"/>
                <a:gd name="connsiteY163" fmla="*/ 340031 h 8562303"/>
                <a:gd name="connsiteX164" fmla="*/ 4821403 w 8622239"/>
                <a:gd name="connsiteY164" fmla="*/ 443014 h 8562303"/>
                <a:gd name="connsiteX165" fmla="*/ 4795183 w 8622239"/>
                <a:gd name="connsiteY165" fmla="*/ 491660 h 8562303"/>
                <a:gd name="connsiteX166" fmla="*/ 4785868 w 8622239"/>
                <a:gd name="connsiteY166" fmla="*/ 515983 h 8562303"/>
                <a:gd name="connsiteX167" fmla="*/ 4731530 w 8622239"/>
                <a:gd name="connsiteY167" fmla="*/ 591883 h 8562303"/>
                <a:gd name="connsiteX168" fmla="*/ 4653387 w 8622239"/>
                <a:gd name="connsiteY168" fmla="*/ 627763 h 8562303"/>
                <a:gd name="connsiteX169" fmla="*/ 4588699 w 8622239"/>
                <a:gd name="connsiteY169" fmla="*/ 607063 h 8562303"/>
                <a:gd name="connsiteX170" fmla="*/ 4583179 w 8622239"/>
                <a:gd name="connsiteY170" fmla="*/ 609133 h 8562303"/>
                <a:gd name="connsiteX171" fmla="*/ 4581626 w 8622239"/>
                <a:gd name="connsiteY171" fmla="*/ 613618 h 8562303"/>
                <a:gd name="connsiteX172" fmla="*/ 4553509 w 8622239"/>
                <a:gd name="connsiteY172" fmla="*/ 628108 h 8562303"/>
                <a:gd name="connsiteX173" fmla="*/ 4549023 w 8622239"/>
                <a:gd name="connsiteY173" fmla="*/ 622761 h 8562303"/>
                <a:gd name="connsiteX174" fmla="*/ 4514868 w 8622239"/>
                <a:gd name="connsiteY174" fmla="*/ 604131 h 8562303"/>
                <a:gd name="connsiteX175" fmla="*/ 4441038 w 8622239"/>
                <a:gd name="connsiteY175" fmla="*/ 628626 h 8562303"/>
                <a:gd name="connsiteX176" fmla="*/ 4388942 w 8622239"/>
                <a:gd name="connsiteY176" fmla="*/ 643806 h 8562303"/>
                <a:gd name="connsiteX177" fmla="*/ 4337882 w 8622239"/>
                <a:gd name="connsiteY177" fmla="*/ 616206 h 8562303"/>
                <a:gd name="connsiteX178" fmla="*/ 4327187 w 8622239"/>
                <a:gd name="connsiteY178" fmla="*/ 606201 h 8562303"/>
                <a:gd name="connsiteX179" fmla="*/ 4285441 w 8622239"/>
                <a:gd name="connsiteY179" fmla="*/ 581705 h 8562303"/>
                <a:gd name="connsiteX180" fmla="*/ 4221788 w 8622239"/>
                <a:gd name="connsiteY180" fmla="*/ 540133 h 8562303"/>
                <a:gd name="connsiteX181" fmla="*/ 4218338 w 8622239"/>
                <a:gd name="connsiteY181" fmla="*/ 536510 h 8562303"/>
                <a:gd name="connsiteX182" fmla="*/ 4214543 w 8622239"/>
                <a:gd name="connsiteY182" fmla="*/ 536510 h 8562303"/>
                <a:gd name="connsiteX183" fmla="*/ 4173833 w 8622239"/>
                <a:gd name="connsiteY183" fmla="*/ 558245 h 8562303"/>
                <a:gd name="connsiteX184" fmla="*/ 4158480 w 8622239"/>
                <a:gd name="connsiteY184" fmla="*/ 569630 h 8562303"/>
                <a:gd name="connsiteX185" fmla="*/ 4090515 w 8622239"/>
                <a:gd name="connsiteY185" fmla="*/ 578083 h 8562303"/>
                <a:gd name="connsiteX186" fmla="*/ 4084305 w 8622239"/>
                <a:gd name="connsiteY186" fmla="*/ 578773 h 8562303"/>
                <a:gd name="connsiteX187" fmla="*/ 4045837 w 8622239"/>
                <a:gd name="connsiteY187" fmla="*/ 577738 h 8562303"/>
                <a:gd name="connsiteX188" fmla="*/ 4014269 w 8622239"/>
                <a:gd name="connsiteY188" fmla="*/ 565318 h 8562303"/>
                <a:gd name="connsiteX189" fmla="*/ 3982012 w 8622239"/>
                <a:gd name="connsiteY189" fmla="*/ 574288 h 8562303"/>
                <a:gd name="connsiteX190" fmla="*/ 3977699 w 8622239"/>
                <a:gd name="connsiteY190" fmla="*/ 577220 h 8562303"/>
                <a:gd name="connsiteX191" fmla="*/ 3977009 w 8622239"/>
                <a:gd name="connsiteY191" fmla="*/ 581188 h 8562303"/>
                <a:gd name="connsiteX192" fmla="*/ 3971489 w 8622239"/>
                <a:gd name="connsiteY192" fmla="*/ 601716 h 8562303"/>
                <a:gd name="connsiteX193" fmla="*/ 3994949 w 8622239"/>
                <a:gd name="connsiteY193" fmla="*/ 656571 h 8562303"/>
                <a:gd name="connsiteX194" fmla="*/ 4020135 w 8622239"/>
                <a:gd name="connsiteY194" fmla="*/ 682619 h 8562303"/>
                <a:gd name="connsiteX195" fmla="*/ 4012372 w 8622239"/>
                <a:gd name="connsiteY195" fmla="*/ 694176 h 8562303"/>
                <a:gd name="connsiteX196" fmla="*/ 3962864 w 8622239"/>
                <a:gd name="connsiteY196" fmla="*/ 705906 h 8562303"/>
                <a:gd name="connsiteX197" fmla="*/ 3945441 w 8622239"/>
                <a:gd name="connsiteY197" fmla="*/ 704871 h 8562303"/>
                <a:gd name="connsiteX198" fmla="*/ 3860743 w 8622239"/>
                <a:gd name="connsiteY198" fmla="*/ 684861 h 8562303"/>
                <a:gd name="connsiteX199" fmla="*/ 3825035 w 8622239"/>
                <a:gd name="connsiteY199" fmla="*/ 691244 h 8562303"/>
                <a:gd name="connsiteX200" fmla="*/ 3790190 w 8622239"/>
                <a:gd name="connsiteY200" fmla="*/ 698489 h 8562303"/>
                <a:gd name="connsiteX201" fmla="*/ 3762418 w 8622239"/>
                <a:gd name="connsiteY201" fmla="*/ 693141 h 8562303"/>
                <a:gd name="connsiteX202" fmla="*/ 3719810 w 8622239"/>
                <a:gd name="connsiteY202" fmla="*/ 681411 h 8562303"/>
                <a:gd name="connsiteX203" fmla="*/ 3664264 w 8622239"/>
                <a:gd name="connsiteY203" fmla="*/ 714014 h 8562303"/>
                <a:gd name="connsiteX204" fmla="*/ 3620794 w 8622239"/>
                <a:gd name="connsiteY204" fmla="*/ 743512 h 8562303"/>
                <a:gd name="connsiteX205" fmla="*/ 3601302 w 8622239"/>
                <a:gd name="connsiteY205" fmla="*/ 741959 h 8562303"/>
                <a:gd name="connsiteX206" fmla="*/ 3573356 w 8622239"/>
                <a:gd name="connsiteY206" fmla="*/ 749894 h 8562303"/>
                <a:gd name="connsiteX207" fmla="*/ 3481586 w 8622239"/>
                <a:gd name="connsiteY207" fmla="*/ 770767 h 8562303"/>
                <a:gd name="connsiteX208" fmla="*/ 3441738 w 8622239"/>
                <a:gd name="connsiteY208" fmla="*/ 793882 h 8562303"/>
                <a:gd name="connsiteX209" fmla="*/ 3366182 w 8622239"/>
                <a:gd name="connsiteY209" fmla="*/ 844425 h 8562303"/>
                <a:gd name="connsiteX210" fmla="*/ 3304599 w 8622239"/>
                <a:gd name="connsiteY210" fmla="*/ 828382 h 8562303"/>
                <a:gd name="connsiteX211" fmla="*/ 3258369 w 8622239"/>
                <a:gd name="connsiteY211" fmla="*/ 797505 h 8562303"/>
                <a:gd name="connsiteX212" fmla="*/ 3254056 w 8622239"/>
                <a:gd name="connsiteY212" fmla="*/ 793192 h 8562303"/>
                <a:gd name="connsiteX213" fmla="*/ 3235771 w 8622239"/>
                <a:gd name="connsiteY213" fmla="*/ 778874 h 8562303"/>
                <a:gd name="connsiteX214" fmla="*/ 3209034 w 8622239"/>
                <a:gd name="connsiteY214" fmla="*/ 757829 h 8562303"/>
                <a:gd name="connsiteX215" fmla="*/ 3171428 w 8622239"/>
                <a:gd name="connsiteY215" fmla="*/ 726607 h 8562303"/>
                <a:gd name="connsiteX216" fmla="*/ 3165391 w 8622239"/>
                <a:gd name="connsiteY216" fmla="*/ 670716 h 8562303"/>
                <a:gd name="connsiteX217" fmla="*/ 3141586 w 8622239"/>
                <a:gd name="connsiteY217" fmla="*/ 633801 h 8562303"/>
                <a:gd name="connsiteX218" fmla="*/ 3122438 w 8622239"/>
                <a:gd name="connsiteY218" fmla="*/ 605511 h 8562303"/>
                <a:gd name="connsiteX219" fmla="*/ 3118816 w 8622239"/>
                <a:gd name="connsiteY219" fmla="*/ 591366 h 8562303"/>
                <a:gd name="connsiteX220" fmla="*/ 3113123 w 8622239"/>
                <a:gd name="connsiteY220" fmla="*/ 485622 h 8562303"/>
                <a:gd name="connsiteX221" fmla="*/ 3130545 w 8622239"/>
                <a:gd name="connsiteY221" fmla="*/ 442669 h 8562303"/>
                <a:gd name="connsiteX222" fmla="*/ 3139516 w 8622239"/>
                <a:gd name="connsiteY222" fmla="*/ 403167 h 8562303"/>
                <a:gd name="connsiteX223" fmla="*/ 3134858 w 8622239"/>
                <a:gd name="connsiteY223" fmla="*/ 373151 h 8562303"/>
                <a:gd name="connsiteX224" fmla="*/ 3135203 w 8622239"/>
                <a:gd name="connsiteY224" fmla="*/ 359869 h 8562303"/>
                <a:gd name="connsiteX225" fmla="*/ 3166771 w 8622239"/>
                <a:gd name="connsiteY225" fmla="*/ 327956 h 8562303"/>
                <a:gd name="connsiteX226" fmla="*/ 3196268 w 8622239"/>
                <a:gd name="connsiteY226" fmla="*/ 290868 h 8562303"/>
                <a:gd name="connsiteX227" fmla="*/ 3188161 w 8622239"/>
                <a:gd name="connsiteY227" fmla="*/ 248778 h 8562303"/>
                <a:gd name="connsiteX228" fmla="*/ 3160561 w 8622239"/>
                <a:gd name="connsiteY228" fmla="*/ 197373 h 8562303"/>
                <a:gd name="connsiteX229" fmla="*/ 3152453 w 8622239"/>
                <a:gd name="connsiteY229" fmla="*/ 181158 h 8562303"/>
                <a:gd name="connsiteX230" fmla="*/ 3111570 w 8622239"/>
                <a:gd name="connsiteY230" fmla="*/ 160285 h 8562303"/>
                <a:gd name="connsiteX231" fmla="*/ 3067065 w 8622239"/>
                <a:gd name="connsiteY231" fmla="*/ 161492 h 8562303"/>
                <a:gd name="connsiteX232" fmla="*/ 3065340 w 8622239"/>
                <a:gd name="connsiteY232" fmla="*/ 161492 h 8562303"/>
                <a:gd name="connsiteX233" fmla="*/ 3076380 w 8622239"/>
                <a:gd name="connsiteY233" fmla="*/ 120610 h 8562303"/>
                <a:gd name="connsiteX234" fmla="*/ 3084143 w 8622239"/>
                <a:gd name="connsiteY234" fmla="*/ 24354 h 8562303"/>
                <a:gd name="connsiteX235" fmla="*/ 3082418 w 8622239"/>
                <a:gd name="connsiteY235" fmla="*/ 22801 h 8562303"/>
                <a:gd name="connsiteX236" fmla="*/ 3021697 w 8622239"/>
                <a:gd name="connsiteY236" fmla="*/ 1066 h 8562303"/>
                <a:gd name="connsiteX237" fmla="*/ 3019282 w 8622239"/>
                <a:gd name="connsiteY237" fmla="*/ 1756 h 8562303"/>
                <a:gd name="connsiteX238" fmla="*/ 2986679 w 8622239"/>
                <a:gd name="connsiteY238" fmla="*/ 5034 h 8562303"/>
                <a:gd name="connsiteX239" fmla="*/ 2982022 w 8622239"/>
                <a:gd name="connsiteY239" fmla="*/ 5034 h 8562303"/>
                <a:gd name="connsiteX240" fmla="*/ 2979089 w 8622239"/>
                <a:gd name="connsiteY240" fmla="*/ 5034 h 8562303"/>
                <a:gd name="connsiteX241" fmla="*/ 2942002 w 8622239"/>
                <a:gd name="connsiteY241" fmla="*/ 25044 h 8562303"/>
                <a:gd name="connsiteX242" fmla="*/ 2941657 w 8622239"/>
                <a:gd name="connsiteY242" fmla="*/ 49367 h 8562303"/>
                <a:gd name="connsiteX243" fmla="*/ 2922854 w 8622239"/>
                <a:gd name="connsiteY243" fmla="*/ 97494 h 8562303"/>
                <a:gd name="connsiteX244" fmla="*/ 2867136 w 8622239"/>
                <a:gd name="connsiteY244" fmla="*/ 150625 h 8562303"/>
                <a:gd name="connsiteX245" fmla="*/ 2834533 w 8622239"/>
                <a:gd name="connsiteY245" fmla="*/ 162182 h 8562303"/>
                <a:gd name="connsiteX246" fmla="*/ 2802966 w 8622239"/>
                <a:gd name="connsiteY246" fmla="*/ 158387 h 8562303"/>
                <a:gd name="connsiteX247" fmla="*/ 2768120 w 8622239"/>
                <a:gd name="connsiteY247" fmla="*/ 168565 h 8562303"/>
                <a:gd name="connsiteX248" fmla="*/ 2752250 w 8622239"/>
                <a:gd name="connsiteY248" fmla="*/ 188230 h 8562303"/>
                <a:gd name="connsiteX249" fmla="*/ 2715853 w 8622239"/>
                <a:gd name="connsiteY249" fmla="*/ 218245 h 8562303"/>
                <a:gd name="connsiteX250" fmla="*/ 2711540 w 8622239"/>
                <a:gd name="connsiteY250" fmla="*/ 218073 h 8562303"/>
                <a:gd name="connsiteX251" fmla="*/ 2664102 w 8622239"/>
                <a:gd name="connsiteY251" fmla="*/ 234115 h 8562303"/>
                <a:gd name="connsiteX252" fmla="*/ 2648059 w 8622239"/>
                <a:gd name="connsiteY252" fmla="*/ 247743 h 8562303"/>
                <a:gd name="connsiteX253" fmla="*/ 2620114 w 8622239"/>
                <a:gd name="connsiteY253" fmla="*/ 248433 h 8562303"/>
                <a:gd name="connsiteX254" fmla="*/ 2611662 w 8622239"/>
                <a:gd name="connsiteY254" fmla="*/ 248606 h 8562303"/>
                <a:gd name="connsiteX255" fmla="*/ 2513508 w 8622239"/>
                <a:gd name="connsiteY255" fmla="*/ 251021 h 8562303"/>
                <a:gd name="connsiteX256" fmla="*/ 2507471 w 8622239"/>
                <a:gd name="connsiteY256" fmla="*/ 251883 h 8562303"/>
                <a:gd name="connsiteX257" fmla="*/ 2505401 w 8622239"/>
                <a:gd name="connsiteY257" fmla="*/ 256196 h 8562303"/>
                <a:gd name="connsiteX258" fmla="*/ 2491946 w 8622239"/>
                <a:gd name="connsiteY258" fmla="*/ 261716 h 8562303"/>
                <a:gd name="connsiteX259" fmla="*/ 2450373 w 8622239"/>
                <a:gd name="connsiteY259" fmla="*/ 305531 h 8562303"/>
                <a:gd name="connsiteX260" fmla="*/ 2457618 w 8622239"/>
                <a:gd name="connsiteY260" fmla="*/ 349519 h 8562303"/>
                <a:gd name="connsiteX261" fmla="*/ 2461241 w 8622239"/>
                <a:gd name="connsiteY261" fmla="*/ 359524 h 8562303"/>
                <a:gd name="connsiteX262" fmla="*/ 2458481 w 8622239"/>
                <a:gd name="connsiteY262" fmla="*/ 360559 h 8562303"/>
                <a:gd name="connsiteX263" fmla="*/ 2449511 w 8622239"/>
                <a:gd name="connsiteY263" fmla="*/ 362974 h 8562303"/>
                <a:gd name="connsiteX264" fmla="*/ 2416735 w 8622239"/>
                <a:gd name="connsiteY264" fmla="*/ 367459 h 8562303"/>
                <a:gd name="connsiteX265" fmla="*/ 2403453 w 8622239"/>
                <a:gd name="connsiteY265" fmla="*/ 355039 h 8562303"/>
                <a:gd name="connsiteX266" fmla="*/ 2387583 w 8622239"/>
                <a:gd name="connsiteY266" fmla="*/ 340894 h 8562303"/>
                <a:gd name="connsiteX267" fmla="*/ 2331002 w 8622239"/>
                <a:gd name="connsiteY267" fmla="*/ 287418 h 8562303"/>
                <a:gd name="connsiteX268" fmla="*/ 2325482 w 8622239"/>
                <a:gd name="connsiteY268" fmla="*/ 283796 h 8562303"/>
                <a:gd name="connsiteX269" fmla="*/ 2320825 w 8622239"/>
                <a:gd name="connsiteY269" fmla="*/ 286211 h 8562303"/>
                <a:gd name="connsiteX270" fmla="*/ 2279079 w 8622239"/>
                <a:gd name="connsiteY270" fmla="*/ 315191 h 8562303"/>
                <a:gd name="connsiteX271" fmla="*/ 2254757 w 8622239"/>
                <a:gd name="connsiteY271" fmla="*/ 307774 h 8562303"/>
                <a:gd name="connsiteX272" fmla="*/ 2250962 w 8622239"/>
                <a:gd name="connsiteY272" fmla="*/ 306739 h 8562303"/>
                <a:gd name="connsiteX273" fmla="*/ 2220601 w 8622239"/>
                <a:gd name="connsiteY273" fmla="*/ 305531 h 8562303"/>
                <a:gd name="connsiteX274" fmla="*/ 2176786 w 8622239"/>
                <a:gd name="connsiteY274" fmla="*/ 310016 h 8562303"/>
                <a:gd name="connsiteX275" fmla="*/ 2167126 w 8622239"/>
                <a:gd name="connsiteY275" fmla="*/ 293973 h 8562303"/>
                <a:gd name="connsiteX276" fmla="*/ 2065178 w 8622239"/>
                <a:gd name="connsiteY276" fmla="*/ 263613 h 8562303"/>
                <a:gd name="connsiteX277" fmla="*/ 2021707 w 8622239"/>
                <a:gd name="connsiteY277" fmla="*/ 233253 h 8562303"/>
                <a:gd name="connsiteX278" fmla="*/ 2018085 w 8622239"/>
                <a:gd name="connsiteY278" fmla="*/ 228768 h 8562303"/>
                <a:gd name="connsiteX279" fmla="*/ 2013600 w 8622239"/>
                <a:gd name="connsiteY279" fmla="*/ 228768 h 8562303"/>
                <a:gd name="connsiteX280" fmla="*/ 1976857 w 8622239"/>
                <a:gd name="connsiteY280" fmla="*/ 254298 h 8562303"/>
                <a:gd name="connsiteX281" fmla="*/ 2011012 w 8622239"/>
                <a:gd name="connsiteY281" fmla="*/ 302943 h 8562303"/>
                <a:gd name="connsiteX282" fmla="*/ 2082083 w 8622239"/>
                <a:gd name="connsiteY282" fmla="*/ 356419 h 8562303"/>
                <a:gd name="connsiteX283" fmla="*/ 2085533 w 8622239"/>
                <a:gd name="connsiteY283" fmla="*/ 363491 h 8562303"/>
                <a:gd name="connsiteX284" fmla="*/ 2108131 w 8622239"/>
                <a:gd name="connsiteY284" fmla="*/ 379707 h 8562303"/>
                <a:gd name="connsiteX285" fmla="*/ 2130038 w 8622239"/>
                <a:gd name="connsiteY285" fmla="*/ 414552 h 8562303"/>
                <a:gd name="connsiteX286" fmla="*/ 2123828 w 8622239"/>
                <a:gd name="connsiteY286" fmla="*/ 495972 h 8562303"/>
                <a:gd name="connsiteX287" fmla="*/ 2123138 w 8622239"/>
                <a:gd name="connsiteY287" fmla="*/ 502527 h 8562303"/>
                <a:gd name="connsiteX288" fmla="*/ 2127451 w 8622239"/>
                <a:gd name="connsiteY288" fmla="*/ 505460 h 8562303"/>
                <a:gd name="connsiteX289" fmla="*/ 2176786 w 8622239"/>
                <a:gd name="connsiteY289" fmla="*/ 574978 h 8562303"/>
                <a:gd name="connsiteX290" fmla="*/ 2169714 w 8622239"/>
                <a:gd name="connsiteY290" fmla="*/ 620863 h 8562303"/>
                <a:gd name="connsiteX291" fmla="*/ 2167989 w 8622239"/>
                <a:gd name="connsiteY291" fmla="*/ 629661 h 8562303"/>
                <a:gd name="connsiteX292" fmla="*/ 2166091 w 8622239"/>
                <a:gd name="connsiteY292" fmla="*/ 633283 h 8562303"/>
                <a:gd name="connsiteX293" fmla="*/ 2170059 w 8622239"/>
                <a:gd name="connsiteY293" fmla="*/ 633283 h 8562303"/>
                <a:gd name="connsiteX294" fmla="*/ 2171956 w 8622239"/>
                <a:gd name="connsiteY294" fmla="*/ 636043 h 8562303"/>
                <a:gd name="connsiteX295" fmla="*/ 2238714 w 8622239"/>
                <a:gd name="connsiteY295" fmla="*/ 636906 h 8562303"/>
                <a:gd name="connsiteX296" fmla="*/ 2304609 w 8622239"/>
                <a:gd name="connsiteY296" fmla="*/ 640183 h 8562303"/>
                <a:gd name="connsiteX297" fmla="*/ 2317375 w 8622239"/>
                <a:gd name="connsiteY297" fmla="*/ 648464 h 8562303"/>
                <a:gd name="connsiteX298" fmla="*/ 2315822 w 8622239"/>
                <a:gd name="connsiteY298" fmla="*/ 668474 h 8562303"/>
                <a:gd name="connsiteX299" fmla="*/ 2277182 w 8622239"/>
                <a:gd name="connsiteY299" fmla="*/ 692106 h 8562303"/>
                <a:gd name="connsiteX300" fmla="*/ 2240267 w 8622239"/>
                <a:gd name="connsiteY300" fmla="*/ 709529 h 8562303"/>
                <a:gd name="connsiteX301" fmla="*/ 2194036 w 8622239"/>
                <a:gd name="connsiteY301" fmla="*/ 724882 h 8562303"/>
                <a:gd name="connsiteX302" fmla="*/ 2161606 w 8622239"/>
                <a:gd name="connsiteY302" fmla="*/ 770077 h 8562303"/>
                <a:gd name="connsiteX303" fmla="*/ 2135386 w 8622239"/>
                <a:gd name="connsiteY303" fmla="*/ 825105 h 8562303"/>
                <a:gd name="connsiteX304" fmla="*/ 2124518 w 8622239"/>
                <a:gd name="connsiteY304" fmla="*/ 832522 h 8562303"/>
                <a:gd name="connsiteX305" fmla="*/ 2093985 w 8622239"/>
                <a:gd name="connsiteY305" fmla="*/ 839077 h 8562303"/>
                <a:gd name="connsiteX306" fmla="*/ 2091225 w 8622239"/>
                <a:gd name="connsiteY306" fmla="*/ 837525 h 8562303"/>
                <a:gd name="connsiteX307" fmla="*/ 2088810 w 8622239"/>
                <a:gd name="connsiteY307" fmla="*/ 837525 h 8562303"/>
                <a:gd name="connsiteX308" fmla="*/ 2043615 w 8622239"/>
                <a:gd name="connsiteY308" fmla="*/ 871680 h 8562303"/>
                <a:gd name="connsiteX309" fmla="*/ 2005665 w 8622239"/>
                <a:gd name="connsiteY309" fmla="*/ 884445 h 8562303"/>
                <a:gd name="connsiteX310" fmla="*/ 2003940 w 8622239"/>
                <a:gd name="connsiteY310" fmla="*/ 884445 h 8562303"/>
                <a:gd name="connsiteX311" fmla="*/ 2000317 w 8622239"/>
                <a:gd name="connsiteY311" fmla="*/ 884445 h 8562303"/>
                <a:gd name="connsiteX312" fmla="*/ 1997902 w 8622239"/>
                <a:gd name="connsiteY312" fmla="*/ 885480 h 8562303"/>
                <a:gd name="connsiteX313" fmla="*/ 1903027 w 8622239"/>
                <a:gd name="connsiteY313" fmla="*/ 954826 h 8562303"/>
                <a:gd name="connsiteX314" fmla="*/ 1878359 w 8622239"/>
                <a:gd name="connsiteY314" fmla="*/ 985358 h 8562303"/>
                <a:gd name="connsiteX315" fmla="*/ 1857314 w 8622239"/>
                <a:gd name="connsiteY315" fmla="*/ 1022964 h 8562303"/>
                <a:gd name="connsiteX316" fmla="*/ 1854726 w 8622239"/>
                <a:gd name="connsiteY316" fmla="*/ 1029174 h 8562303"/>
                <a:gd name="connsiteX317" fmla="*/ 1835924 w 8622239"/>
                <a:gd name="connsiteY317" fmla="*/ 1030899 h 8562303"/>
                <a:gd name="connsiteX318" fmla="*/ 1839719 w 8622239"/>
                <a:gd name="connsiteY318" fmla="*/ 1002264 h 8562303"/>
                <a:gd name="connsiteX319" fmla="*/ 1845411 w 8622239"/>
                <a:gd name="connsiteY319" fmla="*/ 979148 h 8562303"/>
                <a:gd name="connsiteX320" fmla="*/ 1805046 w 8622239"/>
                <a:gd name="connsiteY320" fmla="*/ 953618 h 8562303"/>
                <a:gd name="connsiteX321" fmla="*/ 1792281 w 8622239"/>
                <a:gd name="connsiteY321" fmla="*/ 953791 h 8562303"/>
                <a:gd name="connsiteX322" fmla="*/ 1743808 w 8622239"/>
                <a:gd name="connsiteY322" fmla="*/ 991568 h 8562303"/>
                <a:gd name="connsiteX323" fmla="*/ 1730870 w 8622239"/>
                <a:gd name="connsiteY323" fmla="*/ 1006921 h 8562303"/>
                <a:gd name="connsiteX324" fmla="*/ 1711033 w 8622239"/>
                <a:gd name="connsiteY324" fmla="*/ 1008991 h 8562303"/>
                <a:gd name="connsiteX325" fmla="*/ 1676015 w 8622239"/>
                <a:gd name="connsiteY325" fmla="*/ 1012269 h 8562303"/>
                <a:gd name="connsiteX326" fmla="*/ 1653245 w 8622239"/>
                <a:gd name="connsiteY326" fmla="*/ 1007956 h 8562303"/>
                <a:gd name="connsiteX327" fmla="*/ 1604427 w 8622239"/>
                <a:gd name="connsiteY327" fmla="*/ 968626 h 8562303"/>
                <a:gd name="connsiteX328" fmla="*/ 1555091 w 8622239"/>
                <a:gd name="connsiteY328" fmla="*/ 927053 h 8562303"/>
                <a:gd name="connsiteX329" fmla="*/ 1536116 w 8622239"/>
                <a:gd name="connsiteY329" fmla="*/ 911528 h 8562303"/>
                <a:gd name="connsiteX330" fmla="*/ 1528354 w 8622239"/>
                <a:gd name="connsiteY330" fmla="*/ 881685 h 8562303"/>
                <a:gd name="connsiteX331" fmla="*/ 1501616 w 8622239"/>
                <a:gd name="connsiteY331" fmla="*/ 839250 h 8562303"/>
                <a:gd name="connsiteX332" fmla="*/ 1488334 w 8622239"/>
                <a:gd name="connsiteY332" fmla="*/ 823207 h 8562303"/>
                <a:gd name="connsiteX333" fmla="*/ 1466426 w 8622239"/>
                <a:gd name="connsiteY333" fmla="*/ 795607 h 8562303"/>
                <a:gd name="connsiteX334" fmla="*/ 1456248 w 8622239"/>
                <a:gd name="connsiteY334" fmla="*/ 783359 h 8562303"/>
                <a:gd name="connsiteX335" fmla="*/ 1455386 w 8622239"/>
                <a:gd name="connsiteY335" fmla="*/ 776287 h 8562303"/>
                <a:gd name="connsiteX336" fmla="*/ 1412088 w 8622239"/>
                <a:gd name="connsiteY336" fmla="*/ 727469 h 8562303"/>
                <a:gd name="connsiteX337" fmla="*/ 1408810 w 8622239"/>
                <a:gd name="connsiteY337" fmla="*/ 728159 h 8562303"/>
                <a:gd name="connsiteX338" fmla="*/ 1323250 w 8622239"/>
                <a:gd name="connsiteY338" fmla="*/ 794745 h 8562303"/>
                <a:gd name="connsiteX339" fmla="*/ 1294097 w 8622239"/>
                <a:gd name="connsiteY339" fmla="*/ 824242 h 8562303"/>
                <a:gd name="connsiteX340" fmla="*/ 1288922 w 8622239"/>
                <a:gd name="connsiteY340" fmla="*/ 818722 h 8562303"/>
                <a:gd name="connsiteX341" fmla="*/ 1225269 w 8622239"/>
                <a:gd name="connsiteY341" fmla="*/ 784222 h 8562303"/>
                <a:gd name="connsiteX342" fmla="*/ 1218887 w 8622239"/>
                <a:gd name="connsiteY342" fmla="*/ 784394 h 8562303"/>
                <a:gd name="connsiteX343" fmla="*/ 1210607 w 8622239"/>
                <a:gd name="connsiteY343" fmla="*/ 786465 h 8562303"/>
                <a:gd name="connsiteX344" fmla="*/ 1210607 w 8622239"/>
                <a:gd name="connsiteY344" fmla="*/ 793710 h 8562303"/>
                <a:gd name="connsiteX345" fmla="*/ 1212504 w 8622239"/>
                <a:gd name="connsiteY345" fmla="*/ 820965 h 8562303"/>
                <a:gd name="connsiteX346" fmla="*/ 1213367 w 8622239"/>
                <a:gd name="connsiteY346" fmla="*/ 834592 h 8562303"/>
                <a:gd name="connsiteX347" fmla="*/ 1202672 w 8622239"/>
                <a:gd name="connsiteY347" fmla="*/ 836145 h 8562303"/>
                <a:gd name="connsiteX348" fmla="*/ 1117283 w 8622239"/>
                <a:gd name="connsiteY348" fmla="*/ 838215 h 8562303"/>
                <a:gd name="connsiteX349" fmla="*/ 958065 w 8622239"/>
                <a:gd name="connsiteY349" fmla="*/ 842527 h 8562303"/>
                <a:gd name="connsiteX350" fmla="*/ 940125 w 8622239"/>
                <a:gd name="connsiteY350" fmla="*/ 841665 h 8562303"/>
                <a:gd name="connsiteX351" fmla="*/ 898034 w 8622239"/>
                <a:gd name="connsiteY351" fmla="*/ 844080 h 8562303"/>
                <a:gd name="connsiteX352" fmla="*/ 892859 w 8622239"/>
                <a:gd name="connsiteY352" fmla="*/ 846495 h 8562303"/>
                <a:gd name="connsiteX353" fmla="*/ 885959 w 8622239"/>
                <a:gd name="connsiteY353" fmla="*/ 847702 h 8562303"/>
                <a:gd name="connsiteX354" fmla="*/ 851976 w 8622239"/>
                <a:gd name="connsiteY354" fmla="*/ 884100 h 8562303"/>
                <a:gd name="connsiteX355" fmla="*/ 852839 w 8622239"/>
                <a:gd name="connsiteY355" fmla="*/ 962416 h 8562303"/>
                <a:gd name="connsiteX356" fmla="*/ 852839 w 8622239"/>
                <a:gd name="connsiteY356" fmla="*/ 966556 h 8562303"/>
                <a:gd name="connsiteX357" fmla="*/ 857324 w 8622239"/>
                <a:gd name="connsiteY357" fmla="*/ 998469 h 8562303"/>
                <a:gd name="connsiteX358" fmla="*/ 895792 w 8622239"/>
                <a:gd name="connsiteY358" fmla="*/ 1013476 h 8562303"/>
                <a:gd name="connsiteX359" fmla="*/ 966172 w 8622239"/>
                <a:gd name="connsiteY359" fmla="*/ 1004679 h 8562303"/>
                <a:gd name="connsiteX360" fmla="*/ 968760 w 8622239"/>
                <a:gd name="connsiteY360" fmla="*/ 1003989 h 8562303"/>
                <a:gd name="connsiteX361" fmla="*/ 1004640 w 8622239"/>
                <a:gd name="connsiteY361" fmla="*/ 1031071 h 8562303"/>
                <a:gd name="connsiteX362" fmla="*/ 1000672 w 8622239"/>
                <a:gd name="connsiteY362" fmla="*/ 1073334 h 8562303"/>
                <a:gd name="connsiteX363" fmla="*/ 981007 w 8622239"/>
                <a:gd name="connsiteY363" fmla="*/ 1078854 h 8562303"/>
                <a:gd name="connsiteX364" fmla="*/ 960480 w 8622239"/>
                <a:gd name="connsiteY364" fmla="*/ 1073334 h 8562303"/>
                <a:gd name="connsiteX365" fmla="*/ 908729 w 8622239"/>
                <a:gd name="connsiteY365" fmla="*/ 1070919 h 8562303"/>
                <a:gd name="connsiteX366" fmla="*/ 906142 w 8622239"/>
                <a:gd name="connsiteY366" fmla="*/ 1071782 h 8562303"/>
                <a:gd name="connsiteX367" fmla="*/ 904589 w 8622239"/>
                <a:gd name="connsiteY367" fmla="*/ 1073334 h 8562303"/>
                <a:gd name="connsiteX368" fmla="*/ 839039 w 8622239"/>
                <a:gd name="connsiteY368" fmla="*/ 1099554 h 8562303"/>
                <a:gd name="connsiteX369" fmla="*/ 834726 w 8622239"/>
                <a:gd name="connsiteY369" fmla="*/ 1099554 h 8562303"/>
                <a:gd name="connsiteX370" fmla="*/ 809541 w 8622239"/>
                <a:gd name="connsiteY370" fmla="*/ 1150960 h 8562303"/>
                <a:gd name="connsiteX371" fmla="*/ 803159 w 8622239"/>
                <a:gd name="connsiteY371" fmla="*/ 1259463 h 8562303"/>
                <a:gd name="connsiteX372" fmla="*/ 803159 w 8622239"/>
                <a:gd name="connsiteY372" fmla="*/ 1262741 h 8562303"/>
                <a:gd name="connsiteX373" fmla="*/ 804366 w 8622239"/>
                <a:gd name="connsiteY373" fmla="*/ 1264810 h 8562303"/>
                <a:gd name="connsiteX374" fmla="*/ 860601 w 8622239"/>
                <a:gd name="connsiteY374" fmla="*/ 1314491 h 8562303"/>
                <a:gd name="connsiteX375" fmla="*/ 865949 w 8622239"/>
                <a:gd name="connsiteY375" fmla="*/ 1316043 h 8562303"/>
                <a:gd name="connsiteX376" fmla="*/ 909764 w 8622239"/>
                <a:gd name="connsiteY376" fmla="*/ 1345024 h 8562303"/>
                <a:gd name="connsiteX377" fmla="*/ 905279 w 8622239"/>
                <a:gd name="connsiteY377" fmla="*/ 1370209 h 8562303"/>
                <a:gd name="connsiteX378" fmla="*/ 910627 w 8622239"/>
                <a:gd name="connsiteY378" fmla="*/ 1413679 h 8562303"/>
                <a:gd name="connsiteX379" fmla="*/ 956340 w 8622239"/>
                <a:gd name="connsiteY379" fmla="*/ 1470432 h 8562303"/>
                <a:gd name="connsiteX380" fmla="*/ 959617 w 8622239"/>
                <a:gd name="connsiteY380" fmla="*/ 1495445 h 8562303"/>
                <a:gd name="connsiteX381" fmla="*/ 959962 w 8622239"/>
                <a:gd name="connsiteY381" fmla="*/ 1549265 h 8562303"/>
                <a:gd name="connsiteX382" fmla="*/ 866984 w 8622239"/>
                <a:gd name="connsiteY382" fmla="*/ 2098337 h 8562303"/>
                <a:gd name="connsiteX383" fmla="*/ 865087 w 8622239"/>
                <a:gd name="connsiteY383" fmla="*/ 2109894 h 8562303"/>
                <a:gd name="connsiteX384" fmla="*/ 830931 w 8622239"/>
                <a:gd name="connsiteY384" fmla="*/ 2173892 h 8562303"/>
                <a:gd name="connsiteX385" fmla="*/ 790911 w 8622239"/>
                <a:gd name="connsiteY385" fmla="*/ 2155952 h 8562303"/>
                <a:gd name="connsiteX386" fmla="*/ 729673 w 8622239"/>
                <a:gd name="connsiteY386" fmla="*/ 2128352 h 8562303"/>
                <a:gd name="connsiteX387" fmla="*/ 683788 w 8622239"/>
                <a:gd name="connsiteY387" fmla="*/ 2156470 h 8562303"/>
                <a:gd name="connsiteX388" fmla="*/ 666710 w 8622239"/>
                <a:gd name="connsiteY388" fmla="*/ 2176307 h 8562303"/>
                <a:gd name="connsiteX389" fmla="*/ 593052 w 8622239"/>
                <a:gd name="connsiteY389" fmla="*/ 2210462 h 8562303"/>
                <a:gd name="connsiteX390" fmla="*/ 544579 w 8622239"/>
                <a:gd name="connsiteY390" fmla="*/ 2227368 h 8562303"/>
                <a:gd name="connsiteX391" fmla="*/ 482134 w 8622239"/>
                <a:gd name="connsiteY391" fmla="*/ 2247895 h 8562303"/>
                <a:gd name="connsiteX392" fmla="*/ 375528 w 8622239"/>
                <a:gd name="connsiteY392" fmla="*/ 2296540 h 8562303"/>
                <a:gd name="connsiteX393" fmla="*/ 371215 w 8622239"/>
                <a:gd name="connsiteY393" fmla="*/ 2301198 h 8562303"/>
                <a:gd name="connsiteX394" fmla="*/ 274442 w 8622239"/>
                <a:gd name="connsiteY394" fmla="*/ 2380894 h 8562303"/>
                <a:gd name="connsiteX395" fmla="*/ 208719 w 8622239"/>
                <a:gd name="connsiteY395" fmla="*/ 2407114 h 8562303"/>
                <a:gd name="connsiteX396" fmla="*/ 205097 w 8622239"/>
                <a:gd name="connsiteY396" fmla="*/ 2410736 h 8562303"/>
                <a:gd name="connsiteX397" fmla="*/ 206304 w 8622239"/>
                <a:gd name="connsiteY397" fmla="*/ 2527175 h 8562303"/>
                <a:gd name="connsiteX398" fmla="*/ 149206 w 8622239"/>
                <a:gd name="connsiteY398" fmla="*/ 2614633 h 8562303"/>
                <a:gd name="connsiteX399" fmla="*/ 164559 w 8622239"/>
                <a:gd name="connsiteY399" fmla="*/ 2661208 h 8562303"/>
                <a:gd name="connsiteX400" fmla="*/ 175081 w 8622239"/>
                <a:gd name="connsiteY400" fmla="*/ 2678458 h 8562303"/>
                <a:gd name="connsiteX401" fmla="*/ 175771 w 8622239"/>
                <a:gd name="connsiteY401" fmla="*/ 2692258 h 8562303"/>
                <a:gd name="connsiteX402" fmla="*/ 145411 w 8622239"/>
                <a:gd name="connsiteY402" fmla="*/ 2732106 h 8562303"/>
                <a:gd name="connsiteX403" fmla="*/ 35183 w 8622239"/>
                <a:gd name="connsiteY403" fmla="*/ 2837332 h 8562303"/>
                <a:gd name="connsiteX404" fmla="*/ 39840 w 8622239"/>
                <a:gd name="connsiteY404" fmla="*/ 2864932 h 8562303"/>
                <a:gd name="connsiteX405" fmla="*/ 43118 w 8622239"/>
                <a:gd name="connsiteY405" fmla="*/ 2913405 h 8562303"/>
                <a:gd name="connsiteX406" fmla="*/ 40185 w 8622239"/>
                <a:gd name="connsiteY406" fmla="*/ 2914440 h 8562303"/>
                <a:gd name="connsiteX407" fmla="*/ 4133 w 8622239"/>
                <a:gd name="connsiteY407" fmla="*/ 2933243 h 8562303"/>
                <a:gd name="connsiteX408" fmla="*/ 12585 w 8622239"/>
                <a:gd name="connsiteY408" fmla="*/ 2988960 h 8562303"/>
                <a:gd name="connsiteX409" fmla="*/ 45706 w 8622239"/>
                <a:gd name="connsiteY409" fmla="*/ 3015181 h 8562303"/>
                <a:gd name="connsiteX410" fmla="*/ 58126 w 8622239"/>
                <a:gd name="connsiteY410" fmla="*/ 3069864 h 8562303"/>
                <a:gd name="connsiteX411" fmla="*/ 60023 w 8622239"/>
                <a:gd name="connsiteY411" fmla="*/ 3094014 h 8562303"/>
                <a:gd name="connsiteX412" fmla="*/ 85381 w 8622239"/>
                <a:gd name="connsiteY412" fmla="*/ 3106606 h 8562303"/>
                <a:gd name="connsiteX413" fmla="*/ 98663 w 8622239"/>
                <a:gd name="connsiteY413" fmla="*/ 3113679 h 8562303"/>
                <a:gd name="connsiteX414" fmla="*/ 123676 w 8622239"/>
                <a:gd name="connsiteY414" fmla="*/ 3143177 h 8562303"/>
                <a:gd name="connsiteX415" fmla="*/ 142306 w 8622239"/>
                <a:gd name="connsiteY415" fmla="*/ 3162842 h 8562303"/>
                <a:gd name="connsiteX416" fmla="*/ 180429 w 8622239"/>
                <a:gd name="connsiteY416" fmla="*/ 3217697 h 8562303"/>
                <a:gd name="connsiteX417" fmla="*/ 204407 w 8622239"/>
                <a:gd name="connsiteY417" fmla="*/ 3235982 h 8562303"/>
                <a:gd name="connsiteX418" fmla="*/ 231144 w 8622239"/>
                <a:gd name="connsiteY418" fmla="*/ 3259270 h 8562303"/>
                <a:gd name="connsiteX419" fmla="*/ 245634 w 8622239"/>
                <a:gd name="connsiteY419" fmla="*/ 3294460 h 8562303"/>
                <a:gd name="connsiteX420" fmla="*/ 226142 w 8622239"/>
                <a:gd name="connsiteY420" fmla="*/ 3317748 h 8562303"/>
                <a:gd name="connsiteX421" fmla="*/ 202509 w 8622239"/>
                <a:gd name="connsiteY421" fmla="*/ 3358286 h 8562303"/>
                <a:gd name="connsiteX422" fmla="*/ 215102 w 8622239"/>
                <a:gd name="connsiteY422" fmla="*/ 3368291 h 8562303"/>
                <a:gd name="connsiteX423" fmla="*/ 266680 w 8622239"/>
                <a:gd name="connsiteY423" fmla="*/ 3371223 h 8562303"/>
                <a:gd name="connsiteX424" fmla="*/ 300835 w 8622239"/>
                <a:gd name="connsiteY424" fmla="*/ 3370533 h 8562303"/>
                <a:gd name="connsiteX425" fmla="*/ 308252 w 8622239"/>
                <a:gd name="connsiteY425" fmla="*/ 3370188 h 8562303"/>
                <a:gd name="connsiteX426" fmla="*/ 341373 w 8622239"/>
                <a:gd name="connsiteY426" fmla="*/ 3369153 h 8562303"/>
                <a:gd name="connsiteX427" fmla="*/ 402438 w 8622239"/>
                <a:gd name="connsiteY427" fmla="*/ 3380193 h 8562303"/>
                <a:gd name="connsiteX428" fmla="*/ 417963 w 8622239"/>
                <a:gd name="connsiteY428" fmla="*/ 3420904 h 8562303"/>
                <a:gd name="connsiteX429" fmla="*/ 426071 w 8622239"/>
                <a:gd name="connsiteY429" fmla="*/ 3437291 h 8562303"/>
                <a:gd name="connsiteX430" fmla="*/ 421241 w 8622239"/>
                <a:gd name="connsiteY430" fmla="*/ 3461269 h 8562303"/>
                <a:gd name="connsiteX431" fmla="*/ 481099 w 8622239"/>
                <a:gd name="connsiteY431" fmla="*/ 3486627 h 8562303"/>
                <a:gd name="connsiteX432" fmla="*/ 611682 w 8622239"/>
                <a:gd name="connsiteY432" fmla="*/ 3472481 h 8562303"/>
                <a:gd name="connsiteX433" fmla="*/ 613752 w 8622239"/>
                <a:gd name="connsiteY433" fmla="*/ 3471792 h 8562303"/>
                <a:gd name="connsiteX434" fmla="*/ 690343 w 8622239"/>
                <a:gd name="connsiteY434" fmla="*/ 3418834 h 8562303"/>
                <a:gd name="connsiteX435" fmla="*/ 752788 w 8622239"/>
                <a:gd name="connsiteY435" fmla="*/ 3354836 h 8562303"/>
                <a:gd name="connsiteX436" fmla="*/ 754341 w 8622239"/>
                <a:gd name="connsiteY436" fmla="*/ 3353283 h 8562303"/>
                <a:gd name="connsiteX437" fmla="*/ 778146 w 8622239"/>
                <a:gd name="connsiteY437" fmla="*/ 3341726 h 8562303"/>
                <a:gd name="connsiteX438" fmla="*/ 772971 w 8622239"/>
                <a:gd name="connsiteY438" fmla="*/ 3398651 h 8562303"/>
                <a:gd name="connsiteX439" fmla="*/ 771246 w 8622239"/>
                <a:gd name="connsiteY439" fmla="*/ 3409346 h 8562303"/>
                <a:gd name="connsiteX440" fmla="*/ 769521 w 8622239"/>
                <a:gd name="connsiteY440" fmla="*/ 3495079 h 8562303"/>
                <a:gd name="connsiteX441" fmla="*/ 770728 w 8622239"/>
                <a:gd name="connsiteY441" fmla="*/ 3612035 h 8562303"/>
                <a:gd name="connsiteX442" fmla="*/ 771073 w 8622239"/>
                <a:gd name="connsiteY442" fmla="*/ 3616865 h 8562303"/>
                <a:gd name="connsiteX443" fmla="*/ 819201 w 8622239"/>
                <a:gd name="connsiteY443" fmla="*/ 3654815 h 8562303"/>
                <a:gd name="connsiteX444" fmla="*/ 863362 w 8622239"/>
                <a:gd name="connsiteY444" fmla="*/ 3680863 h 8562303"/>
                <a:gd name="connsiteX445" fmla="*/ 877852 w 8622239"/>
                <a:gd name="connsiteY445" fmla="*/ 3680518 h 8562303"/>
                <a:gd name="connsiteX446" fmla="*/ 916492 w 8622239"/>
                <a:gd name="connsiteY446" fmla="*/ 3661715 h 8562303"/>
                <a:gd name="connsiteX447" fmla="*/ 977212 w 8622239"/>
                <a:gd name="connsiteY447" fmla="*/ 3637393 h 8562303"/>
                <a:gd name="connsiteX448" fmla="*/ 1075193 w 8622239"/>
                <a:gd name="connsiteY448" fmla="*/ 3634115 h 8562303"/>
                <a:gd name="connsiteX449" fmla="*/ 1161444 w 8622239"/>
                <a:gd name="connsiteY449" fmla="*/ 3631355 h 8562303"/>
                <a:gd name="connsiteX450" fmla="*/ 1214919 w 8622239"/>
                <a:gd name="connsiteY450" fmla="*/ 3669478 h 8562303"/>
                <a:gd name="connsiteX451" fmla="*/ 1316522 w 8622239"/>
                <a:gd name="connsiteY451" fmla="*/ 3611173 h 8562303"/>
                <a:gd name="connsiteX452" fmla="*/ 1325492 w 8622239"/>
                <a:gd name="connsiteY452" fmla="*/ 3601340 h 8562303"/>
                <a:gd name="connsiteX453" fmla="*/ 1417780 w 8622239"/>
                <a:gd name="connsiteY453" fmla="*/ 3547865 h 8562303"/>
                <a:gd name="connsiteX454" fmla="*/ 1425888 w 8622239"/>
                <a:gd name="connsiteY454" fmla="*/ 3548209 h 8562303"/>
                <a:gd name="connsiteX455" fmla="*/ 1427786 w 8622239"/>
                <a:gd name="connsiteY455" fmla="*/ 3548382 h 8562303"/>
                <a:gd name="connsiteX456" fmla="*/ 1429338 w 8622239"/>
                <a:gd name="connsiteY456" fmla="*/ 3548037 h 8562303"/>
                <a:gd name="connsiteX457" fmla="*/ 1459353 w 8622239"/>
                <a:gd name="connsiteY457" fmla="*/ 3518022 h 8562303"/>
                <a:gd name="connsiteX458" fmla="*/ 1489714 w 8622239"/>
                <a:gd name="connsiteY458" fmla="*/ 3486454 h 8562303"/>
                <a:gd name="connsiteX459" fmla="*/ 1551124 w 8622239"/>
                <a:gd name="connsiteY459" fmla="*/ 3461441 h 8562303"/>
                <a:gd name="connsiteX460" fmla="*/ 1555954 w 8622239"/>
                <a:gd name="connsiteY460" fmla="*/ 3459026 h 8562303"/>
                <a:gd name="connsiteX461" fmla="*/ 1579414 w 8622239"/>
                <a:gd name="connsiteY461" fmla="*/ 3450574 h 8562303"/>
                <a:gd name="connsiteX462" fmla="*/ 1618227 w 8622239"/>
                <a:gd name="connsiteY462" fmla="*/ 3419006 h 8562303"/>
                <a:gd name="connsiteX463" fmla="*/ 1721728 w 8622239"/>
                <a:gd name="connsiteY463" fmla="*/ 3345176 h 8562303"/>
                <a:gd name="connsiteX464" fmla="*/ 1771236 w 8622239"/>
                <a:gd name="connsiteY464" fmla="*/ 3336895 h 8562303"/>
                <a:gd name="connsiteX465" fmla="*/ 1884224 w 8622239"/>
                <a:gd name="connsiteY465" fmla="*/ 3320335 h 8562303"/>
                <a:gd name="connsiteX466" fmla="*/ 1901129 w 8622239"/>
                <a:gd name="connsiteY466" fmla="*/ 3314988 h 8562303"/>
                <a:gd name="connsiteX467" fmla="*/ 1928212 w 8622239"/>
                <a:gd name="connsiteY467" fmla="*/ 3308088 h 8562303"/>
                <a:gd name="connsiteX468" fmla="*/ 1948394 w 8622239"/>
                <a:gd name="connsiteY468" fmla="*/ 3356043 h 8562303"/>
                <a:gd name="connsiteX469" fmla="*/ 1929764 w 8622239"/>
                <a:gd name="connsiteY469" fmla="*/ 3451781 h 8562303"/>
                <a:gd name="connsiteX470" fmla="*/ 1923554 w 8622239"/>
                <a:gd name="connsiteY470" fmla="*/ 3460924 h 8562303"/>
                <a:gd name="connsiteX471" fmla="*/ 1932869 w 8622239"/>
                <a:gd name="connsiteY471" fmla="*/ 3502152 h 8562303"/>
                <a:gd name="connsiteX472" fmla="*/ 1948222 w 8622239"/>
                <a:gd name="connsiteY472" fmla="*/ 3532857 h 8562303"/>
                <a:gd name="connsiteX473" fmla="*/ 1952707 w 8622239"/>
                <a:gd name="connsiteY473" fmla="*/ 3564425 h 8562303"/>
                <a:gd name="connsiteX474" fmla="*/ 1954259 w 8622239"/>
                <a:gd name="connsiteY474" fmla="*/ 3593922 h 8562303"/>
                <a:gd name="connsiteX475" fmla="*/ 1953569 w 8622239"/>
                <a:gd name="connsiteY475" fmla="*/ 3595992 h 8562303"/>
                <a:gd name="connsiteX476" fmla="*/ 1977030 w 8622239"/>
                <a:gd name="connsiteY476" fmla="*/ 3690868 h 8562303"/>
                <a:gd name="connsiteX477" fmla="*/ 1995660 w 8622239"/>
                <a:gd name="connsiteY477" fmla="*/ 3713121 h 8562303"/>
                <a:gd name="connsiteX478" fmla="*/ 2027227 w 8622239"/>
                <a:gd name="connsiteY478" fmla="*/ 3759179 h 8562303"/>
                <a:gd name="connsiteX479" fmla="*/ 2108131 w 8622239"/>
                <a:gd name="connsiteY479" fmla="*/ 3825937 h 8562303"/>
                <a:gd name="connsiteX480" fmla="*/ 2155741 w 8622239"/>
                <a:gd name="connsiteY480" fmla="*/ 3852329 h 8562303"/>
                <a:gd name="connsiteX481" fmla="*/ 2159708 w 8622239"/>
                <a:gd name="connsiteY481" fmla="*/ 3864922 h 8562303"/>
                <a:gd name="connsiteX482" fmla="*/ 2265107 w 8622239"/>
                <a:gd name="connsiteY482" fmla="*/ 3908047 h 8562303"/>
                <a:gd name="connsiteX483" fmla="*/ 2269592 w 8622239"/>
                <a:gd name="connsiteY483" fmla="*/ 3908047 h 8562303"/>
                <a:gd name="connsiteX484" fmla="*/ 2272179 w 8622239"/>
                <a:gd name="connsiteY484" fmla="*/ 3905977 h 8562303"/>
                <a:gd name="connsiteX485" fmla="*/ 2342387 w 8622239"/>
                <a:gd name="connsiteY485" fmla="*/ 3894420 h 8562303"/>
                <a:gd name="connsiteX486" fmla="*/ 2354462 w 8622239"/>
                <a:gd name="connsiteY486" fmla="*/ 3894765 h 8562303"/>
                <a:gd name="connsiteX487" fmla="*/ 2354635 w 8622239"/>
                <a:gd name="connsiteY487" fmla="*/ 3895972 h 8562303"/>
                <a:gd name="connsiteX488" fmla="*/ 2394483 w 8622239"/>
                <a:gd name="connsiteY488" fmla="*/ 3926332 h 8562303"/>
                <a:gd name="connsiteX489" fmla="*/ 2420875 w 8622239"/>
                <a:gd name="connsiteY489" fmla="*/ 3923572 h 8562303"/>
                <a:gd name="connsiteX490" fmla="*/ 2451408 w 8622239"/>
                <a:gd name="connsiteY490" fmla="*/ 3920812 h 8562303"/>
                <a:gd name="connsiteX491" fmla="*/ 2475386 w 8622239"/>
                <a:gd name="connsiteY491" fmla="*/ 3936682 h 8562303"/>
                <a:gd name="connsiteX492" fmla="*/ 2528861 w 8622239"/>
                <a:gd name="connsiteY492" fmla="*/ 3992745 h 8562303"/>
                <a:gd name="connsiteX493" fmla="*/ 2552321 w 8622239"/>
                <a:gd name="connsiteY493" fmla="*/ 4003268 h 8562303"/>
                <a:gd name="connsiteX494" fmla="*/ 2589064 w 8622239"/>
                <a:gd name="connsiteY494" fmla="*/ 4024313 h 8562303"/>
                <a:gd name="connsiteX495" fmla="*/ 2593032 w 8622239"/>
                <a:gd name="connsiteY495" fmla="*/ 4024141 h 8562303"/>
                <a:gd name="connsiteX496" fmla="*/ 2674280 w 8622239"/>
                <a:gd name="connsiteY496" fmla="*/ 4019655 h 8562303"/>
                <a:gd name="connsiteX497" fmla="*/ 2677557 w 8622239"/>
                <a:gd name="connsiteY497" fmla="*/ 4037768 h 8562303"/>
                <a:gd name="connsiteX498" fmla="*/ 2733620 w 8622239"/>
                <a:gd name="connsiteY498" fmla="*/ 4102801 h 8562303"/>
                <a:gd name="connsiteX499" fmla="*/ 2736553 w 8622239"/>
                <a:gd name="connsiteY499" fmla="*/ 4103664 h 8562303"/>
                <a:gd name="connsiteX500" fmla="*/ 2738450 w 8622239"/>
                <a:gd name="connsiteY500" fmla="*/ 4103664 h 8562303"/>
                <a:gd name="connsiteX501" fmla="*/ 2791581 w 8622239"/>
                <a:gd name="connsiteY501" fmla="*/ 4099351 h 8562303"/>
                <a:gd name="connsiteX502" fmla="*/ 2873346 w 8622239"/>
                <a:gd name="connsiteY502" fmla="*/ 4095556 h 8562303"/>
                <a:gd name="connsiteX503" fmla="*/ 2913712 w 8622239"/>
                <a:gd name="connsiteY503" fmla="*/ 4097454 h 8562303"/>
                <a:gd name="connsiteX504" fmla="*/ 2938207 w 8622239"/>
                <a:gd name="connsiteY504" fmla="*/ 4112806 h 8562303"/>
                <a:gd name="connsiteX505" fmla="*/ 2972362 w 8622239"/>
                <a:gd name="connsiteY505" fmla="*/ 4130574 h 8562303"/>
                <a:gd name="connsiteX506" fmla="*/ 3029977 w 8622239"/>
                <a:gd name="connsiteY506" fmla="*/ 4147134 h 8562303"/>
                <a:gd name="connsiteX507" fmla="*/ 3035325 w 8622239"/>
                <a:gd name="connsiteY507" fmla="*/ 4156794 h 8562303"/>
                <a:gd name="connsiteX508" fmla="*/ 3036187 w 8622239"/>
                <a:gd name="connsiteY508" fmla="*/ 4185774 h 8562303"/>
                <a:gd name="connsiteX509" fmla="*/ 3049815 w 8622239"/>
                <a:gd name="connsiteY509" fmla="*/ 4281685 h 8562303"/>
                <a:gd name="connsiteX510" fmla="*/ 3077588 w 8622239"/>
                <a:gd name="connsiteY510" fmla="*/ 4360001 h 8562303"/>
                <a:gd name="connsiteX511" fmla="*/ 3077588 w 8622239"/>
                <a:gd name="connsiteY511" fmla="*/ 4367073 h 8562303"/>
                <a:gd name="connsiteX512" fmla="*/ 3052575 w 8622239"/>
                <a:gd name="connsiteY512" fmla="*/ 4416064 h 8562303"/>
                <a:gd name="connsiteX513" fmla="*/ 3048435 w 8622239"/>
                <a:gd name="connsiteY513" fmla="*/ 4416409 h 8562303"/>
                <a:gd name="connsiteX514" fmla="*/ 3046020 w 8622239"/>
                <a:gd name="connsiteY514" fmla="*/ 4418479 h 8562303"/>
                <a:gd name="connsiteX515" fmla="*/ 3045847 w 8622239"/>
                <a:gd name="connsiteY515" fmla="*/ 4476094 h 8562303"/>
                <a:gd name="connsiteX516" fmla="*/ 3051885 w 8622239"/>
                <a:gd name="connsiteY516" fmla="*/ 4482994 h 8562303"/>
                <a:gd name="connsiteX517" fmla="*/ 3095010 w 8622239"/>
                <a:gd name="connsiteY517" fmla="*/ 4552685 h 8562303"/>
                <a:gd name="connsiteX518" fmla="*/ 3098978 w 8622239"/>
                <a:gd name="connsiteY518" fmla="*/ 4653080 h 8562303"/>
                <a:gd name="connsiteX519" fmla="*/ 3109155 w 8622239"/>
                <a:gd name="connsiteY519" fmla="*/ 4690168 h 8562303"/>
                <a:gd name="connsiteX520" fmla="*/ 3154523 w 8622239"/>
                <a:gd name="connsiteY520" fmla="*/ 4706728 h 8562303"/>
                <a:gd name="connsiteX521" fmla="*/ 3154696 w 8622239"/>
                <a:gd name="connsiteY521" fmla="*/ 4706728 h 8562303"/>
                <a:gd name="connsiteX522" fmla="*/ 3292007 w 8622239"/>
                <a:gd name="connsiteY522" fmla="*/ 4699655 h 8562303"/>
                <a:gd name="connsiteX523" fmla="*/ 3470546 w 8622239"/>
                <a:gd name="connsiteY523" fmla="*/ 4693273 h 8562303"/>
                <a:gd name="connsiteX524" fmla="*/ 3500906 w 8622239"/>
                <a:gd name="connsiteY524" fmla="*/ 4705003 h 8562303"/>
                <a:gd name="connsiteX525" fmla="*/ 3499181 w 8622239"/>
                <a:gd name="connsiteY525" fmla="*/ 4712766 h 8562303"/>
                <a:gd name="connsiteX526" fmla="*/ 3492626 w 8622239"/>
                <a:gd name="connsiteY526" fmla="*/ 4723288 h 8562303"/>
                <a:gd name="connsiteX527" fmla="*/ 3471753 w 8622239"/>
                <a:gd name="connsiteY527" fmla="*/ 4798326 h 8562303"/>
                <a:gd name="connsiteX528" fmla="*/ 3516948 w 8622239"/>
                <a:gd name="connsiteY528" fmla="*/ 4913039 h 8562303"/>
                <a:gd name="connsiteX529" fmla="*/ 3541099 w 8622239"/>
                <a:gd name="connsiteY529" fmla="*/ 4931670 h 8562303"/>
                <a:gd name="connsiteX530" fmla="*/ 3583361 w 8622239"/>
                <a:gd name="connsiteY530" fmla="*/ 4958063 h 8562303"/>
                <a:gd name="connsiteX531" fmla="*/ 3611479 w 8622239"/>
                <a:gd name="connsiteY531" fmla="*/ 4963237 h 8562303"/>
                <a:gd name="connsiteX532" fmla="*/ 3623209 w 8622239"/>
                <a:gd name="connsiteY532" fmla="*/ 5002223 h 8562303"/>
                <a:gd name="connsiteX533" fmla="*/ 3624934 w 8622239"/>
                <a:gd name="connsiteY533" fmla="*/ 5010675 h 8562303"/>
                <a:gd name="connsiteX534" fmla="*/ 3645462 w 8622239"/>
                <a:gd name="connsiteY534" fmla="*/ 5044140 h 8562303"/>
                <a:gd name="connsiteX535" fmla="*/ 3658227 w 8622239"/>
                <a:gd name="connsiteY535" fmla="*/ 5062253 h 8562303"/>
                <a:gd name="connsiteX536" fmla="*/ 3659779 w 8622239"/>
                <a:gd name="connsiteY536" fmla="*/ 5071568 h 8562303"/>
                <a:gd name="connsiteX537" fmla="*/ 3659607 w 8622239"/>
                <a:gd name="connsiteY537" fmla="*/ 5129011 h 8562303"/>
                <a:gd name="connsiteX538" fmla="*/ 3646324 w 8622239"/>
                <a:gd name="connsiteY538" fmla="*/ 5164891 h 8562303"/>
                <a:gd name="connsiteX539" fmla="*/ 3633042 w 8622239"/>
                <a:gd name="connsiteY539" fmla="*/ 5214744 h 8562303"/>
                <a:gd name="connsiteX540" fmla="*/ 3621311 w 8622239"/>
                <a:gd name="connsiteY540" fmla="*/ 5256489 h 8562303"/>
                <a:gd name="connsiteX541" fmla="*/ 3602681 w 8622239"/>
                <a:gd name="connsiteY541" fmla="*/ 5301685 h 8562303"/>
                <a:gd name="connsiteX542" fmla="*/ 3578704 w 8622239"/>
                <a:gd name="connsiteY542" fmla="*/ 5382070 h 8562303"/>
                <a:gd name="connsiteX543" fmla="*/ 3556106 w 8622239"/>
                <a:gd name="connsiteY543" fmla="*/ 5456764 h 8562303"/>
                <a:gd name="connsiteX544" fmla="*/ 3578359 w 8622239"/>
                <a:gd name="connsiteY544" fmla="*/ 5475566 h 8562303"/>
                <a:gd name="connsiteX545" fmla="*/ 3598887 w 8622239"/>
                <a:gd name="connsiteY545" fmla="*/ 5492472 h 8562303"/>
                <a:gd name="connsiteX546" fmla="*/ 3558866 w 8622239"/>
                <a:gd name="connsiteY546" fmla="*/ 5535942 h 8562303"/>
                <a:gd name="connsiteX547" fmla="*/ 3557658 w 8622239"/>
                <a:gd name="connsiteY547" fmla="*/ 5572857 h 8562303"/>
                <a:gd name="connsiteX548" fmla="*/ 3563869 w 8622239"/>
                <a:gd name="connsiteY548" fmla="*/ 5589935 h 8562303"/>
                <a:gd name="connsiteX549" fmla="*/ 3585259 w 8622239"/>
                <a:gd name="connsiteY549" fmla="*/ 5647377 h 8562303"/>
                <a:gd name="connsiteX550" fmla="*/ 3608029 w 8622239"/>
                <a:gd name="connsiteY550" fmla="*/ 5706200 h 8562303"/>
                <a:gd name="connsiteX551" fmla="*/ 3612859 w 8622239"/>
                <a:gd name="connsiteY551" fmla="*/ 5728453 h 8562303"/>
                <a:gd name="connsiteX552" fmla="*/ 3611997 w 8622239"/>
                <a:gd name="connsiteY552" fmla="*/ 5777443 h 8562303"/>
                <a:gd name="connsiteX553" fmla="*/ 3596126 w 8622239"/>
                <a:gd name="connsiteY553" fmla="*/ 5927347 h 8562303"/>
                <a:gd name="connsiteX554" fmla="*/ 3593711 w 8622239"/>
                <a:gd name="connsiteY554" fmla="*/ 5934592 h 8562303"/>
                <a:gd name="connsiteX555" fmla="*/ 3592676 w 8622239"/>
                <a:gd name="connsiteY555" fmla="*/ 5974440 h 8562303"/>
                <a:gd name="connsiteX556" fmla="*/ 3621484 w 8622239"/>
                <a:gd name="connsiteY556" fmla="*/ 5985825 h 8562303"/>
                <a:gd name="connsiteX557" fmla="*/ 3639252 w 8622239"/>
                <a:gd name="connsiteY557" fmla="*/ 5985135 h 8562303"/>
                <a:gd name="connsiteX558" fmla="*/ 3676512 w 8622239"/>
                <a:gd name="connsiteY558" fmla="*/ 5984100 h 8562303"/>
                <a:gd name="connsiteX559" fmla="*/ 3709805 w 8622239"/>
                <a:gd name="connsiteY559" fmla="*/ 5986860 h 8562303"/>
                <a:gd name="connsiteX560" fmla="*/ 3785533 w 8622239"/>
                <a:gd name="connsiteY560" fmla="*/ 6009630 h 8562303"/>
                <a:gd name="connsiteX561" fmla="*/ 3788120 w 8622239"/>
                <a:gd name="connsiteY561" fmla="*/ 6009630 h 8562303"/>
                <a:gd name="connsiteX562" fmla="*/ 3862641 w 8622239"/>
                <a:gd name="connsiteY562" fmla="*/ 6006870 h 8562303"/>
                <a:gd name="connsiteX563" fmla="*/ 3868333 w 8622239"/>
                <a:gd name="connsiteY563" fmla="*/ 6005663 h 8562303"/>
                <a:gd name="connsiteX564" fmla="*/ 3870231 w 8622239"/>
                <a:gd name="connsiteY564" fmla="*/ 6001350 h 8562303"/>
                <a:gd name="connsiteX565" fmla="*/ 3920774 w 8622239"/>
                <a:gd name="connsiteY565" fmla="*/ 5963572 h 8562303"/>
                <a:gd name="connsiteX566" fmla="*/ 3929744 w 8622239"/>
                <a:gd name="connsiteY566" fmla="*/ 5978925 h 8562303"/>
                <a:gd name="connsiteX567" fmla="*/ 3989947 w 8622239"/>
                <a:gd name="connsiteY567" fmla="*/ 6012045 h 8562303"/>
                <a:gd name="connsiteX568" fmla="*/ 3992362 w 8622239"/>
                <a:gd name="connsiteY568" fmla="*/ 6012045 h 8562303"/>
                <a:gd name="connsiteX569" fmla="*/ 3998399 w 8622239"/>
                <a:gd name="connsiteY569" fmla="*/ 6011355 h 8562303"/>
                <a:gd name="connsiteX570" fmla="*/ 4001159 w 8622239"/>
                <a:gd name="connsiteY570" fmla="*/ 6011182 h 8562303"/>
                <a:gd name="connsiteX571" fmla="*/ 4020307 w 8622239"/>
                <a:gd name="connsiteY571" fmla="*/ 6009457 h 8562303"/>
                <a:gd name="connsiteX572" fmla="*/ 4042905 w 8622239"/>
                <a:gd name="connsiteY572" fmla="*/ 6022050 h 8562303"/>
                <a:gd name="connsiteX573" fmla="*/ 4060327 w 8622239"/>
                <a:gd name="connsiteY573" fmla="*/ 6057240 h 8562303"/>
                <a:gd name="connsiteX574" fmla="*/ 4073782 w 8622239"/>
                <a:gd name="connsiteY574" fmla="*/ 6089325 h 8562303"/>
                <a:gd name="connsiteX575" fmla="*/ 4073782 w 8622239"/>
                <a:gd name="connsiteY575" fmla="*/ 6118306 h 8562303"/>
                <a:gd name="connsiteX576" fmla="*/ 4074990 w 8622239"/>
                <a:gd name="connsiteY576" fmla="*/ 6159878 h 8562303"/>
                <a:gd name="connsiteX577" fmla="*/ 4076715 w 8622239"/>
                <a:gd name="connsiteY577" fmla="*/ 6185754 h 8562303"/>
                <a:gd name="connsiteX578" fmla="*/ 4078612 w 8622239"/>
                <a:gd name="connsiteY578" fmla="*/ 6219392 h 8562303"/>
                <a:gd name="connsiteX579" fmla="*/ 4082062 w 8622239"/>
                <a:gd name="connsiteY579" fmla="*/ 6280802 h 8562303"/>
                <a:gd name="connsiteX580" fmla="*/ 4091033 w 8622239"/>
                <a:gd name="connsiteY580" fmla="*/ 6303572 h 8562303"/>
                <a:gd name="connsiteX581" fmla="*/ 4097587 w 8622239"/>
                <a:gd name="connsiteY581" fmla="*/ 6317890 h 8562303"/>
                <a:gd name="connsiteX582" fmla="*/ 4097415 w 8622239"/>
                <a:gd name="connsiteY582" fmla="*/ 6322030 h 8562303"/>
                <a:gd name="connsiteX583" fmla="*/ 4112595 w 8622239"/>
                <a:gd name="connsiteY583" fmla="*/ 6388788 h 8562303"/>
                <a:gd name="connsiteX584" fmla="*/ 4149338 w 8622239"/>
                <a:gd name="connsiteY584" fmla="*/ 6402588 h 8562303"/>
                <a:gd name="connsiteX585" fmla="*/ 4187116 w 8622239"/>
                <a:gd name="connsiteY585" fmla="*/ 6398965 h 8562303"/>
                <a:gd name="connsiteX586" fmla="*/ 4237659 w 8622239"/>
                <a:gd name="connsiteY586" fmla="*/ 6381543 h 8562303"/>
                <a:gd name="connsiteX587" fmla="*/ 4276126 w 8622239"/>
                <a:gd name="connsiteY587" fmla="*/ 6364120 h 8562303"/>
                <a:gd name="connsiteX588" fmla="*/ 4293032 w 8622239"/>
                <a:gd name="connsiteY588" fmla="*/ 6366190 h 8562303"/>
                <a:gd name="connsiteX589" fmla="*/ 4324254 w 8622239"/>
                <a:gd name="connsiteY589" fmla="*/ 6423806 h 8562303"/>
                <a:gd name="connsiteX590" fmla="*/ 4330809 w 8622239"/>
                <a:gd name="connsiteY590" fmla="*/ 6469863 h 8562303"/>
                <a:gd name="connsiteX591" fmla="*/ 4335294 w 8622239"/>
                <a:gd name="connsiteY591" fmla="*/ 6497981 h 8562303"/>
                <a:gd name="connsiteX592" fmla="*/ 4330809 w 8622239"/>
                <a:gd name="connsiteY592" fmla="*/ 6520234 h 8562303"/>
                <a:gd name="connsiteX593" fmla="*/ 4323909 w 8622239"/>
                <a:gd name="connsiteY593" fmla="*/ 6558184 h 8562303"/>
                <a:gd name="connsiteX594" fmla="*/ 4313732 w 8622239"/>
                <a:gd name="connsiteY594" fmla="*/ 6618387 h 8562303"/>
                <a:gd name="connsiteX595" fmla="*/ 4285959 w 8622239"/>
                <a:gd name="connsiteY595" fmla="*/ 6654612 h 8562303"/>
                <a:gd name="connsiteX596" fmla="*/ 4272331 w 8622239"/>
                <a:gd name="connsiteY596" fmla="*/ 6676175 h 8562303"/>
                <a:gd name="connsiteX597" fmla="*/ 4253701 w 8622239"/>
                <a:gd name="connsiteY597" fmla="*/ 6715505 h 8562303"/>
                <a:gd name="connsiteX598" fmla="*/ 4257324 w 8622239"/>
                <a:gd name="connsiteY598" fmla="*/ 6720335 h 8562303"/>
                <a:gd name="connsiteX599" fmla="*/ 4258186 w 8622239"/>
                <a:gd name="connsiteY599" fmla="*/ 6723958 h 8562303"/>
                <a:gd name="connsiteX600" fmla="*/ 4304244 w 8622239"/>
                <a:gd name="connsiteY600" fmla="*/ 6760873 h 8562303"/>
                <a:gd name="connsiteX601" fmla="*/ 4363584 w 8622239"/>
                <a:gd name="connsiteY601" fmla="*/ 6747073 h 8562303"/>
                <a:gd name="connsiteX602" fmla="*/ 4387735 w 8622239"/>
                <a:gd name="connsiteY602" fmla="*/ 6740000 h 8562303"/>
                <a:gd name="connsiteX603" fmla="*/ 4412920 w 8622239"/>
                <a:gd name="connsiteY603" fmla="*/ 6796063 h 8562303"/>
                <a:gd name="connsiteX604" fmla="*/ 4436380 w 8622239"/>
                <a:gd name="connsiteY604" fmla="*/ 6863684 h 8562303"/>
                <a:gd name="connsiteX605" fmla="*/ 4440175 w 8622239"/>
                <a:gd name="connsiteY605" fmla="*/ 6869376 h 8562303"/>
                <a:gd name="connsiteX606" fmla="*/ 4425685 w 8622239"/>
                <a:gd name="connsiteY606" fmla="*/ 6919574 h 8562303"/>
                <a:gd name="connsiteX607" fmla="*/ 4427755 w 8622239"/>
                <a:gd name="connsiteY607" fmla="*/ 6978397 h 8562303"/>
                <a:gd name="connsiteX608" fmla="*/ 4432240 w 8622239"/>
                <a:gd name="connsiteY608" fmla="*/ 7046707 h 8562303"/>
                <a:gd name="connsiteX609" fmla="*/ 4400845 w 8622239"/>
                <a:gd name="connsiteY609" fmla="*/ 7084485 h 8562303"/>
                <a:gd name="connsiteX610" fmla="*/ 4382215 w 8622239"/>
                <a:gd name="connsiteY610" fmla="*/ 7094318 h 8562303"/>
                <a:gd name="connsiteX611" fmla="*/ 4317009 w 8622239"/>
                <a:gd name="connsiteY611" fmla="*/ 7141411 h 8562303"/>
                <a:gd name="connsiteX612" fmla="*/ 4312524 w 8622239"/>
                <a:gd name="connsiteY612" fmla="*/ 7144861 h 8562303"/>
                <a:gd name="connsiteX613" fmla="*/ 4245249 w 8622239"/>
                <a:gd name="connsiteY613" fmla="*/ 7160903 h 8562303"/>
                <a:gd name="connsiteX614" fmla="*/ 4187461 w 8622239"/>
                <a:gd name="connsiteY614" fmla="*/ 7207651 h 8562303"/>
                <a:gd name="connsiteX615" fmla="*/ 4140368 w 8622239"/>
                <a:gd name="connsiteY615" fmla="*/ 7239564 h 8562303"/>
                <a:gd name="connsiteX616" fmla="*/ 4103625 w 8622239"/>
                <a:gd name="connsiteY616" fmla="*/ 7258367 h 8562303"/>
                <a:gd name="connsiteX617" fmla="*/ 4075852 w 8622239"/>
                <a:gd name="connsiteY617" fmla="*/ 7276997 h 8562303"/>
                <a:gd name="connsiteX618" fmla="*/ 4031002 w 8622239"/>
                <a:gd name="connsiteY618" fmla="*/ 7321157 h 8562303"/>
                <a:gd name="connsiteX619" fmla="*/ 4016857 w 8622239"/>
                <a:gd name="connsiteY619" fmla="*/ 7358417 h 8562303"/>
                <a:gd name="connsiteX620" fmla="*/ 4003229 w 8622239"/>
                <a:gd name="connsiteY620" fmla="*/ 7363937 h 8562303"/>
                <a:gd name="connsiteX621" fmla="*/ 3972352 w 8622239"/>
                <a:gd name="connsiteY621" fmla="*/ 7388088 h 8562303"/>
                <a:gd name="connsiteX622" fmla="*/ 3943199 w 8622239"/>
                <a:gd name="connsiteY622" fmla="*/ 7429488 h 8562303"/>
                <a:gd name="connsiteX623" fmla="*/ 3923534 w 8622239"/>
                <a:gd name="connsiteY623" fmla="*/ 7457088 h 8562303"/>
                <a:gd name="connsiteX624" fmla="*/ 3908009 w 8622239"/>
                <a:gd name="connsiteY624" fmla="*/ 7475200 h 8562303"/>
                <a:gd name="connsiteX625" fmla="*/ 3906284 w 8622239"/>
                <a:gd name="connsiteY625" fmla="*/ 7477098 h 8562303"/>
                <a:gd name="connsiteX626" fmla="*/ 3866781 w 8622239"/>
                <a:gd name="connsiteY626" fmla="*/ 7526779 h 8562303"/>
                <a:gd name="connsiteX627" fmla="*/ 3845736 w 8622239"/>
                <a:gd name="connsiteY627" fmla="*/ 7549376 h 8562303"/>
                <a:gd name="connsiteX628" fmla="*/ 3826761 w 8622239"/>
                <a:gd name="connsiteY628" fmla="*/ 7572664 h 8562303"/>
                <a:gd name="connsiteX629" fmla="*/ 3804508 w 8622239"/>
                <a:gd name="connsiteY629" fmla="*/ 7595262 h 8562303"/>
                <a:gd name="connsiteX630" fmla="*/ 3744133 w 8622239"/>
                <a:gd name="connsiteY630" fmla="*/ 7662882 h 8562303"/>
                <a:gd name="connsiteX631" fmla="*/ 3719120 w 8622239"/>
                <a:gd name="connsiteY631" fmla="*/ 7673059 h 8562303"/>
                <a:gd name="connsiteX632" fmla="*/ 3710322 w 8622239"/>
                <a:gd name="connsiteY632" fmla="*/ 7697382 h 8562303"/>
                <a:gd name="connsiteX633" fmla="*/ 3675132 w 8622239"/>
                <a:gd name="connsiteY633" fmla="*/ 7744475 h 8562303"/>
                <a:gd name="connsiteX634" fmla="*/ 3660469 w 8622239"/>
                <a:gd name="connsiteY634" fmla="*/ 7756550 h 8562303"/>
                <a:gd name="connsiteX635" fmla="*/ 3658399 w 8622239"/>
                <a:gd name="connsiteY635" fmla="*/ 7759310 h 8562303"/>
                <a:gd name="connsiteX636" fmla="*/ 3652189 w 8622239"/>
                <a:gd name="connsiteY636" fmla="*/ 7780183 h 8562303"/>
                <a:gd name="connsiteX637" fmla="*/ 3681169 w 8622239"/>
                <a:gd name="connsiteY637" fmla="*/ 7798123 h 8562303"/>
                <a:gd name="connsiteX638" fmla="*/ 3717050 w 8622239"/>
                <a:gd name="connsiteY638" fmla="*/ 7803298 h 8562303"/>
                <a:gd name="connsiteX639" fmla="*/ 3757415 w 8622239"/>
                <a:gd name="connsiteY639" fmla="*/ 7777768 h 8562303"/>
                <a:gd name="connsiteX640" fmla="*/ 3802610 w 8622239"/>
                <a:gd name="connsiteY640" fmla="*/ 7758620 h 8562303"/>
                <a:gd name="connsiteX641" fmla="*/ 3815375 w 8622239"/>
                <a:gd name="connsiteY641" fmla="*/ 7759655 h 8562303"/>
                <a:gd name="connsiteX642" fmla="*/ 3858501 w 8622239"/>
                <a:gd name="connsiteY642" fmla="*/ 7793121 h 8562303"/>
                <a:gd name="connsiteX643" fmla="*/ 3887481 w 8622239"/>
                <a:gd name="connsiteY643" fmla="*/ 7814166 h 8562303"/>
                <a:gd name="connsiteX644" fmla="*/ 3947166 w 8622239"/>
                <a:gd name="connsiteY644" fmla="*/ 7882821 h 8562303"/>
                <a:gd name="connsiteX645" fmla="*/ 3955274 w 8622239"/>
                <a:gd name="connsiteY645" fmla="*/ 7935952 h 8562303"/>
                <a:gd name="connsiteX646" fmla="*/ 3963209 w 8622239"/>
                <a:gd name="connsiteY646" fmla="*/ 7963034 h 8562303"/>
                <a:gd name="connsiteX647" fmla="*/ 4000814 w 8622239"/>
                <a:gd name="connsiteY647" fmla="*/ 7969244 h 8562303"/>
                <a:gd name="connsiteX648" fmla="*/ 4004264 w 8622239"/>
                <a:gd name="connsiteY648" fmla="*/ 7968037 h 8562303"/>
                <a:gd name="connsiteX649" fmla="*/ 4005817 w 8622239"/>
                <a:gd name="connsiteY649" fmla="*/ 7965622 h 8562303"/>
                <a:gd name="connsiteX650" fmla="*/ 4046527 w 8622239"/>
                <a:gd name="connsiteY650" fmla="*/ 7925946 h 8562303"/>
                <a:gd name="connsiteX651" fmla="*/ 4065502 w 8622239"/>
                <a:gd name="connsiteY651" fmla="*/ 7949924 h 8562303"/>
                <a:gd name="connsiteX652" fmla="*/ 4103625 w 8622239"/>
                <a:gd name="connsiteY652" fmla="*/ 8000122 h 8562303"/>
                <a:gd name="connsiteX653" fmla="*/ 4108973 w 8622239"/>
                <a:gd name="connsiteY653" fmla="*/ 8003745 h 8562303"/>
                <a:gd name="connsiteX654" fmla="*/ 4158480 w 8622239"/>
                <a:gd name="connsiteY654" fmla="*/ 8021685 h 8562303"/>
                <a:gd name="connsiteX655" fmla="*/ 4171935 w 8622239"/>
                <a:gd name="connsiteY655" fmla="*/ 8020650 h 8562303"/>
                <a:gd name="connsiteX656" fmla="*/ 4210576 w 8622239"/>
                <a:gd name="connsiteY656" fmla="*/ 8052562 h 8562303"/>
                <a:gd name="connsiteX657" fmla="*/ 4234554 w 8622239"/>
                <a:gd name="connsiteY657" fmla="*/ 8068605 h 8562303"/>
                <a:gd name="connsiteX658" fmla="*/ 4250596 w 8622239"/>
                <a:gd name="connsiteY658" fmla="*/ 8083785 h 8562303"/>
                <a:gd name="connsiteX659" fmla="*/ 4331672 w 8622239"/>
                <a:gd name="connsiteY659" fmla="*/ 8155891 h 8562303"/>
                <a:gd name="connsiteX660" fmla="*/ 4386527 w 8622239"/>
                <a:gd name="connsiteY660" fmla="*/ 8181248 h 8562303"/>
                <a:gd name="connsiteX661" fmla="*/ 4419820 w 8622239"/>
                <a:gd name="connsiteY661" fmla="*/ 8284749 h 8562303"/>
                <a:gd name="connsiteX662" fmla="*/ 4466568 w 8622239"/>
                <a:gd name="connsiteY662" fmla="*/ 8306312 h 8562303"/>
                <a:gd name="connsiteX663" fmla="*/ 4479161 w 8622239"/>
                <a:gd name="connsiteY663" fmla="*/ 8332705 h 8562303"/>
                <a:gd name="connsiteX664" fmla="*/ 4480195 w 8622239"/>
                <a:gd name="connsiteY664" fmla="*/ 8337362 h 8562303"/>
                <a:gd name="connsiteX665" fmla="*/ 4483473 w 8622239"/>
                <a:gd name="connsiteY665" fmla="*/ 8339260 h 8562303"/>
                <a:gd name="connsiteX666" fmla="*/ 4486233 w 8622239"/>
                <a:gd name="connsiteY666" fmla="*/ 8344090 h 8562303"/>
                <a:gd name="connsiteX667" fmla="*/ 4432930 w 8622239"/>
                <a:gd name="connsiteY667" fmla="*/ 8388422 h 8562303"/>
                <a:gd name="connsiteX668" fmla="*/ 4430515 w 8622239"/>
                <a:gd name="connsiteY668" fmla="*/ 8390320 h 8562303"/>
                <a:gd name="connsiteX669" fmla="*/ 4405502 w 8622239"/>
                <a:gd name="connsiteY669" fmla="*/ 8506758 h 8562303"/>
                <a:gd name="connsiteX670" fmla="*/ 4428618 w 8622239"/>
                <a:gd name="connsiteY670" fmla="*/ 8559716 h 8562303"/>
                <a:gd name="connsiteX671" fmla="*/ 4431895 w 8622239"/>
                <a:gd name="connsiteY671" fmla="*/ 8562303 h 8562303"/>
                <a:gd name="connsiteX672" fmla="*/ 4435172 w 8622239"/>
                <a:gd name="connsiteY672" fmla="*/ 8562303 h 8562303"/>
                <a:gd name="connsiteX673" fmla="*/ 4457598 w 8622239"/>
                <a:gd name="connsiteY673" fmla="*/ 8554196 h 8562303"/>
                <a:gd name="connsiteX674" fmla="*/ 4513661 w 8622239"/>
                <a:gd name="connsiteY674" fmla="*/ 8511243 h 8562303"/>
                <a:gd name="connsiteX675" fmla="*/ 4551439 w 8622239"/>
                <a:gd name="connsiteY675" fmla="*/ 8476743 h 8562303"/>
                <a:gd name="connsiteX676" fmla="*/ 4618887 w 8622239"/>
                <a:gd name="connsiteY676" fmla="*/ 8404810 h 8562303"/>
                <a:gd name="connsiteX677" fmla="*/ 4646142 w 8622239"/>
                <a:gd name="connsiteY677" fmla="*/ 8335465 h 8562303"/>
                <a:gd name="connsiteX678" fmla="*/ 4681849 w 8622239"/>
                <a:gd name="connsiteY678" fmla="*/ 8239726 h 8562303"/>
                <a:gd name="connsiteX679" fmla="*/ 4717557 w 8622239"/>
                <a:gd name="connsiteY679" fmla="*/ 8209021 h 8562303"/>
                <a:gd name="connsiteX680" fmla="*/ 4758785 w 8622239"/>
                <a:gd name="connsiteY680" fmla="*/ 8180041 h 8562303"/>
                <a:gd name="connsiteX681" fmla="*/ 4916279 w 8622239"/>
                <a:gd name="connsiteY681" fmla="*/ 8053770 h 8562303"/>
                <a:gd name="connsiteX682" fmla="*/ 4919039 w 8622239"/>
                <a:gd name="connsiteY682" fmla="*/ 8051873 h 8562303"/>
                <a:gd name="connsiteX683" fmla="*/ 5041342 w 8622239"/>
                <a:gd name="connsiteY683" fmla="*/ 7904729 h 8562303"/>
                <a:gd name="connsiteX684" fmla="*/ 5151225 w 8622239"/>
                <a:gd name="connsiteY684" fmla="*/ 7671335 h 8562303"/>
                <a:gd name="connsiteX685" fmla="*/ 5355295 w 8622239"/>
                <a:gd name="connsiteY685" fmla="*/ 7450706 h 8562303"/>
                <a:gd name="connsiteX686" fmla="*/ 5377029 w 8622239"/>
                <a:gd name="connsiteY686" fmla="*/ 7429316 h 8562303"/>
                <a:gd name="connsiteX687" fmla="*/ 5395832 w 8622239"/>
                <a:gd name="connsiteY687" fmla="*/ 7398955 h 8562303"/>
                <a:gd name="connsiteX688" fmla="*/ 5426710 w 8622239"/>
                <a:gd name="connsiteY688" fmla="*/ 7346515 h 8562303"/>
                <a:gd name="connsiteX689" fmla="*/ 5434645 w 8622239"/>
                <a:gd name="connsiteY689" fmla="*/ 7315292 h 8562303"/>
                <a:gd name="connsiteX690" fmla="*/ 5451895 w 8622239"/>
                <a:gd name="connsiteY690" fmla="*/ 7259747 h 8562303"/>
                <a:gd name="connsiteX691" fmla="*/ 5453793 w 8622239"/>
                <a:gd name="connsiteY691" fmla="*/ 7178671 h 8562303"/>
                <a:gd name="connsiteX692" fmla="*/ 5450860 w 8622239"/>
                <a:gd name="connsiteY692" fmla="*/ 7144689 h 8562303"/>
                <a:gd name="connsiteX693" fmla="*/ 5460175 w 8622239"/>
                <a:gd name="connsiteY693" fmla="*/ 7060853 h 8562303"/>
                <a:gd name="connsiteX694" fmla="*/ 5448617 w 8622239"/>
                <a:gd name="connsiteY694" fmla="*/ 6982192 h 8562303"/>
                <a:gd name="connsiteX695" fmla="*/ 5447928 w 8622239"/>
                <a:gd name="connsiteY695" fmla="*/ 6978570 h 8562303"/>
                <a:gd name="connsiteX696" fmla="*/ 5470525 w 8622239"/>
                <a:gd name="connsiteY696" fmla="*/ 6886799 h 8562303"/>
                <a:gd name="connsiteX697" fmla="*/ 5478287 w 8622239"/>
                <a:gd name="connsiteY697" fmla="*/ 6840051 h 8562303"/>
                <a:gd name="connsiteX698" fmla="*/ 5478633 w 8622239"/>
                <a:gd name="connsiteY698" fmla="*/ 6838153 h 8562303"/>
                <a:gd name="connsiteX699" fmla="*/ 5482600 w 8622239"/>
                <a:gd name="connsiteY699" fmla="*/ 6819868 h 8562303"/>
                <a:gd name="connsiteX700" fmla="*/ 5493985 w 8622239"/>
                <a:gd name="connsiteY700" fmla="*/ 6805551 h 8562303"/>
                <a:gd name="connsiteX701" fmla="*/ 5515720 w 8622239"/>
                <a:gd name="connsiteY701" fmla="*/ 6781056 h 8562303"/>
                <a:gd name="connsiteX702" fmla="*/ 5498298 w 8622239"/>
                <a:gd name="connsiteY702" fmla="*/ 6735170 h 8562303"/>
                <a:gd name="connsiteX703" fmla="*/ 5486395 w 8622239"/>
                <a:gd name="connsiteY703" fmla="*/ 6723785 h 8562303"/>
                <a:gd name="connsiteX704" fmla="*/ 5501575 w 8622239"/>
                <a:gd name="connsiteY704" fmla="*/ 6716540 h 8562303"/>
                <a:gd name="connsiteX705" fmla="*/ 5531073 w 8622239"/>
                <a:gd name="connsiteY705" fmla="*/ 6694287 h 8562303"/>
                <a:gd name="connsiteX706" fmla="*/ 5549013 w 8622239"/>
                <a:gd name="connsiteY706" fmla="*/ 6706190 h 8562303"/>
                <a:gd name="connsiteX707" fmla="*/ 5568506 w 8622239"/>
                <a:gd name="connsiteY707" fmla="*/ 6717748 h 8562303"/>
                <a:gd name="connsiteX708" fmla="*/ 5570921 w 8622239"/>
                <a:gd name="connsiteY708" fmla="*/ 6717920 h 8562303"/>
                <a:gd name="connsiteX709" fmla="*/ 5590931 w 8622239"/>
                <a:gd name="connsiteY709" fmla="*/ 6707225 h 8562303"/>
                <a:gd name="connsiteX710" fmla="*/ 5607491 w 8622239"/>
                <a:gd name="connsiteY710" fmla="*/ 6666342 h 8562303"/>
                <a:gd name="connsiteX711" fmla="*/ 5626466 w 8622239"/>
                <a:gd name="connsiteY711" fmla="*/ 6645470 h 8562303"/>
                <a:gd name="connsiteX712" fmla="*/ 5668039 w 8622239"/>
                <a:gd name="connsiteY712" fmla="*/ 6596824 h 8562303"/>
                <a:gd name="connsiteX713" fmla="*/ 5704264 w 8622239"/>
                <a:gd name="connsiteY713" fmla="*/ 6578022 h 8562303"/>
                <a:gd name="connsiteX714" fmla="*/ 5743594 w 8622239"/>
                <a:gd name="connsiteY714" fmla="*/ 6554907 h 8562303"/>
                <a:gd name="connsiteX715" fmla="*/ 5791205 w 8622239"/>
                <a:gd name="connsiteY715" fmla="*/ 6519026 h 8562303"/>
                <a:gd name="connsiteX716" fmla="*/ 5813975 w 8622239"/>
                <a:gd name="connsiteY716" fmla="*/ 6509021 h 8562303"/>
                <a:gd name="connsiteX717" fmla="*/ 5921271 w 8622239"/>
                <a:gd name="connsiteY717" fmla="*/ 6431741 h 8562303"/>
                <a:gd name="connsiteX718" fmla="*/ 6016492 w 8622239"/>
                <a:gd name="connsiteY718" fmla="*/ 6401380 h 8562303"/>
                <a:gd name="connsiteX719" fmla="*/ 6020459 w 8622239"/>
                <a:gd name="connsiteY719" fmla="*/ 6400518 h 8562303"/>
                <a:gd name="connsiteX720" fmla="*/ 6094635 w 8622239"/>
                <a:gd name="connsiteY720" fmla="*/ 6376540 h 8562303"/>
                <a:gd name="connsiteX721" fmla="*/ 6161048 w 8622239"/>
                <a:gd name="connsiteY721" fmla="*/ 6364810 h 8562303"/>
                <a:gd name="connsiteX722" fmla="*/ 6169500 w 8622239"/>
                <a:gd name="connsiteY722" fmla="*/ 6352390 h 8562303"/>
                <a:gd name="connsiteX723" fmla="*/ 6247988 w 8622239"/>
                <a:gd name="connsiteY723" fmla="*/ 6302192 h 8562303"/>
                <a:gd name="connsiteX724" fmla="*/ 6319921 w 8622239"/>
                <a:gd name="connsiteY724" fmla="*/ 6258722 h 8562303"/>
                <a:gd name="connsiteX725" fmla="*/ 6314574 w 8622239"/>
                <a:gd name="connsiteY725" fmla="*/ 6239229 h 8562303"/>
                <a:gd name="connsiteX726" fmla="*/ 6313366 w 8622239"/>
                <a:gd name="connsiteY726" fmla="*/ 6237504 h 8562303"/>
                <a:gd name="connsiteX727" fmla="*/ 6343726 w 8622239"/>
                <a:gd name="connsiteY727" fmla="*/ 6233191 h 8562303"/>
                <a:gd name="connsiteX728" fmla="*/ 6443087 w 8622239"/>
                <a:gd name="connsiteY728" fmla="*/ 6195069 h 8562303"/>
                <a:gd name="connsiteX729" fmla="*/ 6467237 w 8622239"/>
                <a:gd name="connsiteY729" fmla="*/ 6205764 h 8562303"/>
                <a:gd name="connsiteX730" fmla="*/ 6524163 w 8622239"/>
                <a:gd name="connsiteY730" fmla="*/ 6244232 h 8562303"/>
                <a:gd name="connsiteX731" fmla="*/ 6526750 w 8622239"/>
                <a:gd name="connsiteY731" fmla="*/ 6245267 h 8562303"/>
                <a:gd name="connsiteX732" fmla="*/ 6528648 w 8622239"/>
                <a:gd name="connsiteY732" fmla="*/ 6245267 h 8562303"/>
                <a:gd name="connsiteX733" fmla="*/ 6595061 w 8622239"/>
                <a:gd name="connsiteY733" fmla="*/ 6193172 h 8562303"/>
                <a:gd name="connsiteX734" fmla="*/ 6611448 w 8622239"/>
                <a:gd name="connsiteY734" fmla="*/ 6170746 h 8562303"/>
                <a:gd name="connsiteX735" fmla="*/ 6619384 w 8622239"/>
                <a:gd name="connsiteY735" fmla="*/ 6171781 h 8562303"/>
                <a:gd name="connsiteX736" fmla="*/ 6620419 w 8622239"/>
                <a:gd name="connsiteY736" fmla="*/ 6216114 h 8562303"/>
                <a:gd name="connsiteX737" fmla="*/ 6674239 w 8622239"/>
                <a:gd name="connsiteY737" fmla="*/ 6241127 h 8562303"/>
                <a:gd name="connsiteX738" fmla="*/ 6685969 w 8622239"/>
                <a:gd name="connsiteY738" fmla="*/ 6241989 h 8562303"/>
                <a:gd name="connsiteX739" fmla="*/ 6703909 w 8622239"/>
                <a:gd name="connsiteY739" fmla="*/ 6244577 h 8562303"/>
                <a:gd name="connsiteX740" fmla="*/ 6708566 w 8622239"/>
                <a:gd name="connsiteY740" fmla="*/ 6245439 h 8562303"/>
                <a:gd name="connsiteX741" fmla="*/ 6811032 w 8622239"/>
                <a:gd name="connsiteY741" fmla="*/ 6256307 h 8562303"/>
                <a:gd name="connsiteX742" fmla="*/ 6811377 w 8622239"/>
                <a:gd name="connsiteY742" fmla="*/ 6256307 h 8562303"/>
                <a:gd name="connsiteX743" fmla="*/ 6862093 w 8622239"/>
                <a:gd name="connsiteY743" fmla="*/ 6172471 h 8562303"/>
                <a:gd name="connsiteX744" fmla="*/ 6948861 w 8622239"/>
                <a:gd name="connsiteY744" fmla="*/ 6097951 h 8562303"/>
                <a:gd name="connsiteX745" fmla="*/ 6975771 w 8622239"/>
                <a:gd name="connsiteY745" fmla="*/ 6086565 h 8562303"/>
                <a:gd name="connsiteX746" fmla="*/ 7047359 w 8622239"/>
                <a:gd name="connsiteY746" fmla="*/ 6071558 h 8562303"/>
                <a:gd name="connsiteX747" fmla="*/ 7067369 w 8622239"/>
                <a:gd name="connsiteY747" fmla="*/ 6070005 h 8562303"/>
                <a:gd name="connsiteX748" fmla="*/ 7083239 w 8622239"/>
                <a:gd name="connsiteY748" fmla="*/ 5986342 h 8562303"/>
                <a:gd name="connsiteX749" fmla="*/ 7080824 w 8622239"/>
                <a:gd name="connsiteY749" fmla="*/ 5952187 h 8562303"/>
                <a:gd name="connsiteX750" fmla="*/ 7080479 w 8622239"/>
                <a:gd name="connsiteY750" fmla="*/ 5937007 h 8562303"/>
                <a:gd name="connsiteX751" fmla="*/ 7092037 w 8622239"/>
                <a:gd name="connsiteY751" fmla="*/ 5860589 h 8562303"/>
                <a:gd name="connsiteX752" fmla="*/ 7159312 w 8622239"/>
                <a:gd name="connsiteY752" fmla="*/ 5796763 h 8562303"/>
                <a:gd name="connsiteX753" fmla="*/ 7171388 w 8622239"/>
                <a:gd name="connsiteY753" fmla="*/ 5788656 h 8562303"/>
                <a:gd name="connsiteX754" fmla="*/ 7179323 w 8622239"/>
                <a:gd name="connsiteY754" fmla="*/ 5789346 h 8562303"/>
                <a:gd name="connsiteX755" fmla="*/ 7203990 w 8622239"/>
                <a:gd name="connsiteY755" fmla="*/ 5784171 h 8562303"/>
                <a:gd name="connsiteX756" fmla="*/ 7220895 w 8622239"/>
                <a:gd name="connsiteY756" fmla="*/ 5769853 h 8562303"/>
                <a:gd name="connsiteX757" fmla="*/ 7226760 w 8622239"/>
                <a:gd name="connsiteY757" fmla="*/ 5750361 h 8562303"/>
                <a:gd name="connsiteX758" fmla="*/ 7225208 w 8622239"/>
                <a:gd name="connsiteY758" fmla="*/ 5740183 h 8562303"/>
                <a:gd name="connsiteX759" fmla="*/ 7263331 w 8622239"/>
                <a:gd name="connsiteY759" fmla="*/ 5669457 h 8562303"/>
                <a:gd name="connsiteX760" fmla="*/ 7332849 w 8622239"/>
                <a:gd name="connsiteY760" fmla="*/ 5553192 h 8562303"/>
                <a:gd name="connsiteX761" fmla="*/ 7395639 w 8622239"/>
                <a:gd name="connsiteY761" fmla="*/ 5416743 h 8562303"/>
                <a:gd name="connsiteX762" fmla="*/ 7394604 w 8622239"/>
                <a:gd name="connsiteY762" fmla="*/ 5392765 h 8562303"/>
                <a:gd name="connsiteX763" fmla="*/ 7427379 w 8622239"/>
                <a:gd name="connsiteY763" fmla="*/ 5229407 h 8562303"/>
                <a:gd name="connsiteX764" fmla="*/ 7477060 w 8622239"/>
                <a:gd name="connsiteY764" fmla="*/ 5167824 h 8562303"/>
                <a:gd name="connsiteX765" fmla="*/ 7532605 w 8622239"/>
                <a:gd name="connsiteY765" fmla="*/ 5058630 h 8562303"/>
                <a:gd name="connsiteX766" fmla="*/ 7562620 w 8622239"/>
                <a:gd name="connsiteY766" fmla="*/ 4922872 h 8562303"/>
                <a:gd name="connsiteX767" fmla="*/ 7569175 w 8622239"/>
                <a:gd name="connsiteY767" fmla="*/ 4903725 h 8562303"/>
                <a:gd name="connsiteX768" fmla="*/ 7578145 w 8622239"/>
                <a:gd name="connsiteY768" fmla="*/ 4877504 h 8562303"/>
                <a:gd name="connsiteX769" fmla="*/ 7616785 w 8622239"/>
                <a:gd name="connsiteY769" fmla="*/ 4742436 h 8562303"/>
                <a:gd name="connsiteX770" fmla="*/ 7613508 w 8622239"/>
                <a:gd name="connsiteY770" fmla="*/ 4601502 h 8562303"/>
                <a:gd name="connsiteX771" fmla="*/ 7612646 w 8622239"/>
                <a:gd name="connsiteY771" fmla="*/ 4429518 h 8562303"/>
                <a:gd name="connsiteX772" fmla="*/ 7629723 w 8622239"/>
                <a:gd name="connsiteY772" fmla="*/ 4356378 h 8562303"/>
                <a:gd name="connsiteX773" fmla="*/ 7642143 w 8622239"/>
                <a:gd name="connsiteY773" fmla="*/ 4307560 h 8562303"/>
                <a:gd name="connsiteX774" fmla="*/ 7642489 w 8622239"/>
                <a:gd name="connsiteY774" fmla="*/ 4269438 h 8562303"/>
                <a:gd name="connsiteX775" fmla="*/ 7642833 w 8622239"/>
                <a:gd name="connsiteY775" fmla="*/ 4219067 h 8562303"/>
                <a:gd name="connsiteX776" fmla="*/ 7668881 w 8622239"/>
                <a:gd name="connsiteY776" fmla="*/ 4156276 h 8562303"/>
                <a:gd name="connsiteX777" fmla="*/ 7711316 w 8622239"/>
                <a:gd name="connsiteY777" fmla="*/ 4051568 h 8562303"/>
                <a:gd name="connsiteX778" fmla="*/ 7721494 w 8622239"/>
                <a:gd name="connsiteY778" fmla="*/ 4019655 h 8562303"/>
                <a:gd name="connsiteX779" fmla="*/ 7740987 w 8622239"/>
                <a:gd name="connsiteY779" fmla="*/ 4037941 h 8562303"/>
                <a:gd name="connsiteX780" fmla="*/ 7791185 w 8622239"/>
                <a:gd name="connsiteY780" fmla="*/ 4077961 h 8562303"/>
                <a:gd name="connsiteX781" fmla="*/ 7793082 w 8622239"/>
                <a:gd name="connsiteY781" fmla="*/ 4077098 h 8562303"/>
                <a:gd name="connsiteX782" fmla="*/ 7948333 w 8622239"/>
                <a:gd name="connsiteY782" fmla="*/ 3920467 h 8562303"/>
                <a:gd name="connsiteX783" fmla="*/ 8020439 w 8622239"/>
                <a:gd name="connsiteY783" fmla="*/ 3757626 h 8562303"/>
                <a:gd name="connsiteX784" fmla="*/ 8045624 w 8622239"/>
                <a:gd name="connsiteY784" fmla="*/ 3721746 h 8562303"/>
                <a:gd name="connsiteX785" fmla="*/ 8061666 w 8622239"/>
                <a:gd name="connsiteY785" fmla="*/ 3698976 h 8562303"/>
                <a:gd name="connsiteX786" fmla="*/ 8080296 w 8622239"/>
                <a:gd name="connsiteY786" fmla="*/ 3681208 h 8562303"/>
                <a:gd name="connsiteX787" fmla="*/ 8102549 w 8622239"/>
                <a:gd name="connsiteY787" fmla="*/ 3659645 h 8562303"/>
                <a:gd name="connsiteX788" fmla="*/ 8252453 w 8622239"/>
                <a:gd name="connsiteY788" fmla="*/ 3567357 h 8562303"/>
                <a:gd name="connsiteX789" fmla="*/ 8395111 w 8622239"/>
                <a:gd name="connsiteY789" fmla="*/ 3422801 h 8562303"/>
                <a:gd name="connsiteX790" fmla="*/ 8472909 w 8622239"/>
                <a:gd name="connsiteY790" fmla="*/ 3336206 h 8562303"/>
                <a:gd name="connsiteX791" fmla="*/ 8591245 w 8622239"/>
                <a:gd name="connsiteY791" fmla="*/ 3081766 h 8562303"/>
                <a:gd name="connsiteX792" fmla="*/ 8606253 w 8622239"/>
                <a:gd name="connsiteY792" fmla="*/ 3019838 h 8562303"/>
                <a:gd name="connsiteX793" fmla="*/ 8617983 w 8622239"/>
                <a:gd name="connsiteY793" fmla="*/ 2948423 h 8562303"/>
                <a:gd name="connsiteX794" fmla="*/ 8598490 w 8622239"/>
                <a:gd name="connsiteY794" fmla="*/ 2798347 h 8562303"/>
                <a:gd name="connsiteX795" fmla="*/ 8112037 w 8622239"/>
                <a:gd name="connsiteY795" fmla="*/ 2324141 h 8562303"/>
                <a:gd name="connsiteX796" fmla="*/ 8202427 w 8622239"/>
                <a:gd name="connsiteY796" fmla="*/ 2400731 h 8562303"/>
                <a:gd name="connsiteX797" fmla="*/ 8215710 w 8622239"/>
                <a:gd name="connsiteY797" fmla="*/ 2405906 h 8562303"/>
                <a:gd name="connsiteX798" fmla="*/ 8272808 w 8622239"/>
                <a:gd name="connsiteY798" fmla="*/ 2415911 h 8562303"/>
                <a:gd name="connsiteX799" fmla="*/ 8316278 w 8622239"/>
                <a:gd name="connsiteY799" fmla="*/ 2412979 h 8562303"/>
                <a:gd name="connsiteX800" fmla="*/ 8336461 w 8622239"/>
                <a:gd name="connsiteY800" fmla="*/ 2411254 h 8562303"/>
                <a:gd name="connsiteX801" fmla="*/ 8451002 w 8622239"/>
                <a:gd name="connsiteY801" fmla="*/ 2425916 h 8562303"/>
                <a:gd name="connsiteX802" fmla="*/ 8517932 w 8622239"/>
                <a:gd name="connsiteY802" fmla="*/ 2490087 h 8562303"/>
                <a:gd name="connsiteX803" fmla="*/ 8533112 w 8622239"/>
                <a:gd name="connsiteY803" fmla="*/ 2575475 h 8562303"/>
                <a:gd name="connsiteX804" fmla="*/ 8554330 w 8622239"/>
                <a:gd name="connsiteY804" fmla="*/ 2691568 h 8562303"/>
                <a:gd name="connsiteX805" fmla="*/ 8417709 w 8622239"/>
                <a:gd name="connsiteY805" fmla="*/ 2687601 h 8562303"/>
                <a:gd name="connsiteX806" fmla="*/ 8392351 w 8622239"/>
                <a:gd name="connsiteY806" fmla="*/ 2689671 h 8562303"/>
                <a:gd name="connsiteX807" fmla="*/ 8314381 w 8622239"/>
                <a:gd name="connsiteY807" fmla="*/ 2673973 h 8562303"/>
                <a:gd name="connsiteX808" fmla="*/ 8250728 w 8622239"/>
                <a:gd name="connsiteY808" fmla="*/ 2661726 h 8562303"/>
                <a:gd name="connsiteX809" fmla="*/ 8209155 w 8622239"/>
                <a:gd name="connsiteY809" fmla="*/ 2681391 h 8562303"/>
                <a:gd name="connsiteX810" fmla="*/ 8192940 w 8622239"/>
                <a:gd name="connsiteY810" fmla="*/ 2780407 h 8562303"/>
                <a:gd name="connsiteX811" fmla="*/ 8182072 w 8622239"/>
                <a:gd name="connsiteY811" fmla="*/ 2795414 h 8562303"/>
                <a:gd name="connsiteX812" fmla="*/ 8134289 w 8622239"/>
                <a:gd name="connsiteY812" fmla="*/ 2742629 h 8562303"/>
                <a:gd name="connsiteX813" fmla="*/ 8111692 w 8622239"/>
                <a:gd name="connsiteY813" fmla="*/ 2726414 h 8562303"/>
                <a:gd name="connsiteX814" fmla="*/ 8045624 w 8622239"/>
                <a:gd name="connsiteY814" fmla="*/ 2741421 h 8562303"/>
                <a:gd name="connsiteX815" fmla="*/ 8006811 w 8622239"/>
                <a:gd name="connsiteY815" fmla="*/ 2695881 h 8562303"/>
                <a:gd name="connsiteX816" fmla="*/ 8040276 w 8622239"/>
                <a:gd name="connsiteY816" fmla="*/ 2641716 h 8562303"/>
                <a:gd name="connsiteX817" fmla="*/ 8060631 w 8622239"/>
                <a:gd name="connsiteY817" fmla="*/ 2615150 h 8562303"/>
                <a:gd name="connsiteX818" fmla="*/ 8051316 w 8622239"/>
                <a:gd name="connsiteY818" fmla="*/ 2580478 h 8562303"/>
                <a:gd name="connsiteX819" fmla="*/ 8024923 w 8622239"/>
                <a:gd name="connsiteY819" fmla="*/ 2566850 h 8562303"/>
                <a:gd name="connsiteX820" fmla="*/ 7938673 w 8622239"/>
                <a:gd name="connsiteY820" fmla="*/ 2599798 h 8562303"/>
                <a:gd name="connsiteX821" fmla="*/ 7876400 w 8622239"/>
                <a:gd name="connsiteY821" fmla="*/ 2657068 h 8562303"/>
                <a:gd name="connsiteX822" fmla="*/ 7863463 w 8622239"/>
                <a:gd name="connsiteY822" fmla="*/ 2660863 h 8562303"/>
                <a:gd name="connsiteX823" fmla="*/ 7809470 w 8622239"/>
                <a:gd name="connsiteY823" fmla="*/ 2643613 h 8562303"/>
                <a:gd name="connsiteX824" fmla="*/ 7781352 w 8622239"/>
                <a:gd name="connsiteY824" fmla="*/ 2627915 h 8562303"/>
                <a:gd name="connsiteX825" fmla="*/ 7782214 w 8622239"/>
                <a:gd name="connsiteY825" fmla="*/ 2632400 h 8562303"/>
                <a:gd name="connsiteX826" fmla="*/ 7782214 w 8622239"/>
                <a:gd name="connsiteY826" fmla="*/ 2632918 h 8562303"/>
                <a:gd name="connsiteX827" fmla="*/ 7781352 w 8622239"/>
                <a:gd name="connsiteY827" fmla="*/ 2628605 h 8562303"/>
                <a:gd name="connsiteX828" fmla="*/ 7779282 w 8622239"/>
                <a:gd name="connsiteY828" fmla="*/ 2627398 h 8562303"/>
                <a:gd name="connsiteX829" fmla="*/ 7779799 w 8622239"/>
                <a:gd name="connsiteY829" fmla="*/ 2626535 h 8562303"/>
                <a:gd name="connsiteX830" fmla="*/ 7782732 w 8622239"/>
                <a:gd name="connsiteY830" fmla="*/ 2628261 h 8562303"/>
                <a:gd name="connsiteX831" fmla="*/ 7777557 w 8622239"/>
                <a:gd name="connsiteY831" fmla="*/ 2592208 h 8562303"/>
                <a:gd name="connsiteX832" fmla="*/ 7779109 w 8622239"/>
                <a:gd name="connsiteY832" fmla="*/ 2582375 h 8562303"/>
                <a:gd name="connsiteX833" fmla="*/ 7779972 w 8622239"/>
                <a:gd name="connsiteY833" fmla="*/ 2581685 h 8562303"/>
                <a:gd name="connsiteX834" fmla="*/ 7783594 w 8622239"/>
                <a:gd name="connsiteY834" fmla="*/ 2582548 h 8562303"/>
                <a:gd name="connsiteX835" fmla="*/ 7809125 w 8622239"/>
                <a:gd name="connsiteY835" fmla="*/ 2587723 h 8562303"/>
                <a:gd name="connsiteX836" fmla="*/ 7861047 w 8622239"/>
                <a:gd name="connsiteY836" fmla="*/ 2547875 h 8562303"/>
                <a:gd name="connsiteX837" fmla="*/ 7898308 w 8622239"/>
                <a:gd name="connsiteY837" fmla="*/ 2466627 h 8562303"/>
                <a:gd name="connsiteX838" fmla="*/ 7966963 w 8622239"/>
                <a:gd name="connsiteY838" fmla="*/ 2371924 h 8562303"/>
                <a:gd name="connsiteX839" fmla="*/ 8094441 w 8622239"/>
                <a:gd name="connsiteY839" fmla="*/ 2305511 h 8562303"/>
                <a:gd name="connsiteX840" fmla="*/ 8112037 w 8622239"/>
                <a:gd name="connsiteY840" fmla="*/ 2324141 h 8562303"/>
                <a:gd name="connsiteX841" fmla="*/ 7229865 w 8622239"/>
                <a:gd name="connsiteY841" fmla="*/ 1868220 h 8562303"/>
                <a:gd name="connsiteX842" fmla="*/ 7271093 w 8622239"/>
                <a:gd name="connsiteY842" fmla="*/ 1854075 h 8562303"/>
                <a:gd name="connsiteX843" fmla="*/ 7404436 w 8622239"/>
                <a:gd name="connsiteY843" fmla="*/ 1836135 h 8562303"/>
                <a:gd name="connsiteX844" fmla="*/ 7537780 w 8622239"/>
                <a:gd name="connsiteY844" fmla="*/ 1849935 h 8562303"/>
                <a:gd name="connsiteX845" fmla="*/ 7626791 w 8622239"/>
                <a:gd name="connsiteY845" fmla="*/ 1911000 h 8562303"/>
                <a:gd name="connsiteX846" fmla="*/ 7753062 w 8622239"/>
                <a:gd name="connsiteY846" fmla="*/ 1993801 h 8562303"/>
                <a:gd name="connsiteX847" fmla="*/ 7902448 w 8622239"/>
                <a:gd name="connsiteY847" fmla="*/ 2133872 h 8562303"/>
                <a:gd name="connsiteX848" fmla="*/ 7971793 w 8622239"/>
                <a:gd name="connsiteY848" fmla="*/ 2203562 h 8562303"/>
                <a:gd name="connsiteX849" fmla="*/ 8003534 w 8622239"/>
                <a:gd name="connsiteY849" fmla="*/ 2246515 h 8562303"/>
                <a:gd name="connsiteX850" fmla="*/ 8063219 w 8622239"/>
                <a:gd name="connsiteY850" fmla="*/ 2293953 h 8562303"/>
                <a:gd name="connsiteX851" fmla="*/ 8071671 w 8622239"/>
                <a:gd name="connsiteY851" fmla="*/ 2296713 h 8562303"/>
                <a:gd name="connsiteX852" fmla="*/ 7961270 w 8622239"/>
                <a:gd name="connsiteY852" fmla="*/ 2356054 h 8562303"/>
                <a:gd name="connsiteX853" fmla="*/ 7885543 w 8622239"/>
                <a:gd name="connsiteY853" fmla="*/ 2455759 h 8562303"/>
                <a:gd name="connsiteX854" fmla="*/ 7845177 w 8622239"/>
                <a:gd name="connsiteY854" fmla="*/ 2542182 h 8562303"/>
                <a:gd name="connsiteX855" fmla="*/ 7809125 w 8622239"/>
                <a:gd name="connsiteY855" fmla="*/ 2570473 h 8562303"/>
                <a:gd name="connsiteX856" fmla="*/ 7789459 w 8622239"/>
                <a:gd name="connsiteY856" fmla="*/ 2566505 h 8562303"/>
                <a:gd name="connsiteX857" fmla="*/ 7780144 w 8622239"/>
                <a:gd name="connsiteY857" fmla="*/ 2564608 h 8562303"/>
                <a:gd name="connsiteX858" fmla="*/ 7764274 w 8622239"/>
                <a:gd name="connsiteY858" fmla="*/ 2575130 h 8562303"/>
                <a:gd name="connsiteX859" fmla="*/ 7761342 w 8622239"/>
                <a:gd name="connsiteY859" fmla="*/ 2592553 h 8562303"/>
                <a:gd name="connsiteX860" fmla="*/ 7767379 w 8622239"/>
                <a:gd name="connsiteY860" fmla="*/ 2635850 h 8562303"/>
                <a:gd name="connsiteX861" fmla="*/ 7750302 w 8622239"/>
                <a:gd name="connsiteY861" fmla="*/ 2652756 h 8562303"/>
                <a:gd name="connsiteX862" fmla="*/ 7728566 w 8622239"/>
                <a:gd name="connsiteY862" fmla="*/ 2722274 h 8562303"/>
                <a:gd name="connsiteX863" fmla="*/ 7725289 w 8622239"/>
                <a:gd name="connsiteY863" fmla="*/ 2770229 h 8562303"/>
                <a:gd name="connsiteX864" fmla="*/ 7739606 w 8622239"/>
                <a:gd name="connsiteY864" fmla="*/ 2888392 h 8562303"/>
                <a:gd name="connsiteX865" fmla="*/ 7725979 w 8622239"/>
                <a:gd name="connsiteY865" fmla="*/ 2903745 h 8562303"/>
                <a:gd name="connsiteX866" fmla="*/ 7678024 w 8622239"/>
                <a:gd name="connsiteY866" fmla="*/ 2928240 h 8562303"/>
                <a:gd name="connsiteX867" fmla="*/ 7654391 w 8622239"/>
                <a:gd name="connsiteY867" fmla="*/ 2938935 h 8562303"/>
                <a:gd name="connsiteX868" fmla="*/ 7600053 w 8622239"/>
                <a:gd name="connsiteY868" fmla="*/ 2911162 h 8562303"/>
                <a:gd name="connsiteX869" fmla="*/ 7554167 w 8622239"/>
                <a:gd name="connsiteY869" fmla="*/ 2874765 h 8562303"/>
                <a:gd name="connsiteX870" fmla="*/ 7504488 w 8622239"/>
                <a:gd name="connsiteY870" fmla="*/ 2836642 h 8562303"/>
                <a:gd name="connsiteX871" fmla="*/ 7460155 w 8622239"/>
                <a:gd name="connsiteY871" fmla="*/ 2825257 h 8562303"/>
                <a:gd name="connsiteX872" fmla="*/ 7348546 w 8622239"/>
                <a:gd name="connsiteY872" fmla="*/ 2833537 h 8562303"/>
                <a:gd name="connsiteX873" fmla="*/ 7323189 w 8622239"/>
                <a:gd name="connsiteY873" fmla="*/ 2829742 h 8562303"/>
                <a:gd name="connsiteX874" fmla="*/ 7317151 w 8622239"/>
                <a:gd name="connsiteY874" fmla="*/ 2819564 h 8562303"/>
                <a:gd name="connsiteX875" fmla="*/ 7328191 w 8622239"/>
                <a:gd name="connsiteY875" fmla="*/ 2786962 h 8562303"/>
                <a:gd name="connsiteX876" fmla="*/ 7358896 w 8622239"/>
                <a:gd name="connsiteY876" fmla="*/ 2714856 h 8562303"/>
                <a:gd name="connsiteX877" fmla="*/ 7341129 w 8622239"/>
                <a:gd name="connsiteY877" fmla="*/ 2695881 h 8562303"/>
                <a:gd name="connsiteX878" fmla="*/ 7303868 w 8622239"/>
                <a:gd name="connsiteY878" fmla="*/ 2655343 h 8562303"/>
                <a:gd name="connsiteX879" fmla="*/ 7276268 w 8622239"/>
                <a:gd name="connsiteY879" fmla="*/ 2592898 h 8562303"/>
                <a:gd name="connsiteX880" fmla="*/ 7273508 w 8622239"/>
                <a:gd name="connsiteY880" fmla="*/ 2439544 h 8562303"/>
                <a:gd name="connsiteX881" fmla="*/ 7226070 w 8622239"/>
                <a:gd name="connsiteY881" fmla="*/ 2259625 h 8562303"/>
                <a:gd name="connsiteX882" fmla="*/ 7220378 w 8622239"/>
                <a:gd name="connsiteY882" fmla="*/ 2212532 h 8562303"/>
                <a:gd name="connsiteX883" fmla="*/ 7236765 w 8622239"/>
                <a:gd name="connsiteY883" fmla="*/ 2164405 h 8562303"/>
                <a:gd name="connsiteX884" fmla="*/ 7238663 w 8622239"/>
                <a:gd name="connsiteY884" fmla="*/ 2151639 h 8562303"/>
                <a:gd name="connsiteX885" fmla="*/ 7168628 w 8622239"/>
                <a:gd name="connsiteY885" fmla="*/ 1996388 h 8562303"/>
                <a:gd name="connsiteX886" fmla="*/ 7162072 w 8622239"/>
                <a:gd name="connsiteY886" fmla="*/ 1973101 h 8562303"/>
                <a:gd name="connsiteX887" fmla="*/ 7189327 w 8622239"/>
                <a:gd name="connsiteY887" fmla="*/ 1911690 h 8562303"/>
                <a:gd name="connsiteX888" fmla="*/ 7229865 w 8622239"/>
                <a:gd name="connsiteY888" fmla="*/ 1868220 h 8562303"/>
                <a:gd name="connsiteX889" fmla="*/ 6168983 w 8622239"/>
                <a:gd name="connsiteY889" fmla="*/ 1372451 h 8562303"/>
                <a:gd name="connsiteX890" fmla="*/ 6176573 w 8622239"/>
                <a:gd name="connsiteY890" fmla="*/ 1378144 h 8562303"/>
                <a:gd name="connsiteX891" fmla="*/ 6215558 w 8622239"/>
                <a:gd name="connsiteY891" fmla="*/ 1410746 h 8562303"/>
                <a:gd name="connsiteX892" fmla="*/ 6228150 w 8622239"/>
                <a:gd name="connsiteY892" fmla="*/ 1415232 h 8562303"/>
                <a:gd name="connsiteX893" fmla="*/ 6243503 w 8622239"/>
                <a:gd name="connsiteY893" fmla="*/ 1430757 h 8562303"/>
                <a:gd name="connsiteX894" fmla="*/ 6286111 w 8622239"/>
                <a:gd name="connsiteY894" fmla="*/ 1459737 h 8562303"/>
                <a:gd name="connsiteX895" fmla="*/ 6308709 w 8622239"/>
                <a:gd name="connsiteY895" fmla="*/ 1457839 h 8562303"/>
                <a:gd name="connsiteX896" fmla="*/ 6325614 w 8622239"/>
                <a:gd name="connsiteY896" fmla="*/ 1456287 h 8562303"/>
                <a:gd name="connsiteX897" fmla="*/ 6356491 w 8622239"/>
                <a:gd name="connsiteY897" fmla="*/ 1524770 h 8562303"/>
                <a:gd name="connsiteX898" fmla="*/ 6358217 w 8622239"/>
                <a:gd name="connsiteY898" fmla="*/ 1529945 h 8562303"/>
                <a:gd name="connsiteX899" fmla="*/ 6362184 w 8622239"/>
                <a:gd name="connsiteY899" fmla="*/ 1531497 h 8562303"/>
                <a:gd name="connsiteX900" fmla="*/ 6370292 w 8622239"/>
                <a:gd name="connsiteY900" fmla="*/ 1533050 h 8562303"/>
                <a:gd name="connsiteX901" fmla="*/ 6406517 w 8622239"/>
                <a:gd name="connsiteY901" fmla="*/ 1496997 h 8562303"/>
                <a:gd name="connsiteX902" fmla="*/ 6407379 w 8622239"/>
                <a:gd name="connsiteY902" fmla="*/ 1489580 h 8562303"/>
                <a:gd name="connsiteX903" fmla="*/ 6408070 w 8622239"/>
                <a:gd name="connsiteY903" fmla="*/ 1485095 h 8562303"/>
                <a:gd name="connsiteX904" fmla="*/ 6423595 w 8622239"/>
                <a:gd name="connsiteY904" fmla="*/ 1482680 h 8562303"/>
                <a:gd name="connsiteX905" fmla="*/ 6457577 w 8622239"/>
                <a:gd name="connsiteY905" fmla="*/ 1496135 h 8562303"/>
                <a:gd name="connsiteX906" fmla="*/ 6458267 w 8622239"/>
                <a:gd name="connsiteY906" fmla="*/ 1501655 h 8562303"/>
                <a:gd name="connsiteX907" fmla="*/ 6464477 w 8622239"/>
                <a:gd name="connsiteY907" fmla="*/ 1505450 h 8562303"/>
                <a:gd name="connsiteX908" fmla="*/ 6509673 w 8622239"/>
                <a:gd name="connsiteY908" fmla="*/ 1542538 h 8562303"/>
                <a:gd name="connsiteX909" fmla="*/ 6510363 w 8622239"/>
                <a:gd name="connsiteY909" fmla="*/ 1547713 h 8562303"/>
                <a:gd name="connsiteX910" fmla="*/ 6513640 w 8622239"/>
                <a:gd name="connsiteY910" fmla="*/ 1550128 h 8562303"/>
                <a:gd name="connsiteX911" fmla="*/ 6545208 w 8622239"/>
                <a:gd name="connsiteY911" fmla="*/ 1611710 h 8562303"/>
                <a:gd name="connsiteX912" fmla="*/ 6523472 w 8622239"/>
                <a:gd name="connsiteY912" fmla="*/ 1634998 h 8562303"/>
                <a:gd name="connsiteX913" fmla="*/ 6497943 w 8622239"/>
                <a:gd name="connsiteY913" fmla="*/ 1656388 h 8562303"/>
                <a:gd name="connsiteX914" fmla="*/ 6512260 w 8622239"/>
                <a:gd name="connsiteY914" fmla="*/ 1681918 h 8562303"/>
                <a:gd name="connsiteX915" fmla="*/ 6520713 w 8622239"/>
                <a:gd name="connsiteY915" fmla="*/ 1693821 h 8562303"/>
                <a:gd name="connsiteX916" fmla="*/ 6491905 w 8622239"/>
                <a:gd name="connsiteY916" fmla="*/ 1758509 h 8562303"/>
                <a:gd name="connsiteX917" fmla="*/ 6499150 w 8622239"/>
                <a:gd name="connsiteY917" fmla="*/ 1763857 h 8562303"/>
                <a:gd name="connsiteX918" fmla="*/ 6513295 w 8622239"/>
                <a:gd name="connsiteY918" fmla="*/ 1793354 h 8562303"/>
                <a:gd name="connsiteX919" fmla="*/ 6517263 w 8622239"/>
                <a:gd name="connsiteY919" fmla="*/ 1811984 h 8562303"/>
                <a:gd name="connsiteX920" fmla="*/ 6478450 w 8622239"/>
                <a:gd name="connsiteY920" fmla="*/ 1871325 h 8562303"/>
                <a:gd name="connsiteX921" fmla="*/ 6480175 w 8622239"/>
                <a:gd name="connsiteY921" fmla="*/ 1874602 h 8562303"/>
                <a:gd name="connsiteX922" fmla="*/ 6480002 w 8622239"/>
                <a:gd name="connsiteY922" fmla="*/ 1877362 h 8562303"/>
                <a:gd name="connsiteX923" fmla="*/ 6482762 w 8622239"/>
                <a:gd name="connsiteY923" fmla="*/ 1877017 h 8562303"/>
                <a:gd name="connsiteX924" fmla="*/ 6488800 w 8622239"/>
                <a:gd name="connsiteY924" fmla="*/ 1878742 h 8562303"/>
                <a:gd name="connsiteX925" fmla="*/ 6508638 w 8622239"/>
                <a:gd name="connsiteY925" fmla="*/ 1865115 h 8562303"/>
                <a:gd name="connsiteX926" fmla="*/ 6550383 w 8622239"/>
                <a:gd name="connsiteY926" fmla="*/ 1833720 h 8562303"/>
                <a:gd name="connsiteX927" fmla="*/ 6588851 w 8622239"/>
                <a:gd name="connsiteY927" fmla="*/ 1828200 h 8562303"/>
                <a:gd name="connsiteX928" fmla="*/ 6626628 w 8622239"/>
                <a:gd name="connsiteY928" fmla="*/ 1818885 h 8562303"/>
                <a:gd name="connsiteX929" fmla="*/ 6633528 w 8622239"/>
                <a:gd name="connsiteY929" fmla="*/ 1798874 h 8562303"/>
                <a:gd name="connsiteX930" fmla="*/ 6624558 w 8622239"/>
                <a:gd name="connsiteY930" fmla="*/ 1763857 h 8562303"/>
                <a:gd name="connsiteX931" fmla="*/ 6620591 w 8622239"/>
                <a:gd name="connsiteY931" fmla="*/ 1751954 h 8562303"/>
                <a:gd name="connsiteX932" fmla="*/ 6625938 w 8622239"/>
                <a:gd name="connsiteY932" fmla="*/ 1749194 h 8562303"/>
                <a:gd name="connsiteX933" fmla="*/ 6700804 w 8622239"/>
                <a:gd name="connsiteY933" fmla="*/ 1739534 h 8562303"/>
                <a:gd name="connsiteX934" fmla="*/ 6732544 w 8622239"/>
                <a:gd name="connsiteY934" fmla="*/ 1729529 h 8562303"/>
                <a:gd name="connsiteX935" fmla="*/ 6767389 w 8622239"/>
                <a:gd name="connsiteY935" fmla="*/ 1718834 h 8562303"/>
                <a:gd name="connsiteX936" fmla="*/ 6804305 w 8622239"/>
                <a:gd name="connsiteY936" fmla="*/ 1709691 h 8562303"/>
                <a:gd name="connsiteX937" fmla="*/ 6829662 w 8622239"/>
                <a:gd name="connsiteY937" fmla="*/ 1702619 h 8562303"/>
                <a:gd name="connsiteX938" fmla="*/ 6831560 w 8622239"/>
                <a:gd name="connsiteY938" fmla="*/ 1703826 h 8562303"/>
                <a:gd name="connsiteX939" fmla="*/ 6988536 w 8622239"/>
                <a:gd name="connsiteY939" fmla="*/ 1771274 h 8562303"/>
                <a:gd name="connsiteX940" fmla="*/ 7040804 w 8622239"/>
                <a:gd name="connsiteY940" fmla="*/ 1791284 h 8562303"/>
                <a:gd name="connsiteX941" fmla="*/ 7098592 w 8622239"/>
                <a:gd name="connsiteY941" fmla="*/ 1813709 h 8562303"/>
                <a:gd name="connsiteX942" fmla="*/ 7103940 w 8622239"/>
                <a:gd name="connsiteY942" fmla="*/ 1813364 h 8562303"/>
                <a:gd name="connsiteX943" fmla="*/ 7019241 w 8622239"/>
                <a:gd name="connsiteY943" fmla="*/ 1926698 h 8562303"/>
                <a:gd name="connsiteX944" fmla="*/ 6963523 w 8622239"/>
                <a:gd name="connsiteY944" fmla="*/ 1941015 h 8562303"/>
                <a:gd name="connsiteX945" fmla="*/ 6958693 w 8622239"/>
                <a:gd name="connsiteY945" fmla="*/ 1941015 h 8562303"/>
                <a:gd name="connsiteX946" fmla="*/ 6926608 w 8622239"/>
                <a:gd name="connsiteY946" fmla="*/ 1944293 h 8562303"/>
                <a:gd name="connsiteX947" fmla="*/ 6908668 w 8622239"/>
                <a:gd name="connsiteY947" fmla="*/ 1970686 h 8562303"/>
                <a:gd name="connsiteX948" fmla="*/ 6840703 w 8622239"/>
                <a:gd name="connsiteY948" fmla="*/ 2068321 h 8562303"/>
                <a:gd name="connsiteX949" fmla="*/ 6820692 w 8622239"/>
                <a:gd name="connsiteY949" fmla="*/ 2111274 h 8562303"/>
                <a:gd name="connsiteX950" fmla="*/ 6830870 w 8622239"/>
                <a:gd name="connsiteY950" fmla="*/ 2173375 h 8562303"/>
                <a:gd name="connsiteX951" fmla="*/ 6851743 w 8622239"/>
                <a:gd name="connsiteY951" fmla="*/ 2296023 h 8562303"/>
                <a:gd name="connsiteX952" fmla="*/ 6850190 w 8622239"/>
                <a:gd name="connsiteY952" fmla="*/ 2323796 h 8562303"/>
                <a:gd name="connsiteX953" fmla="*/ 6780154 w 8622239"/>
                <a:gd name="connsiteY953" fmla="*/ 2466109 h 8562303"/>
                <a:gd name="connsiteX954" fmla="*/ 6795680 w 8622239"/>
                <a:gd name="connsiteY954" fmla="*/ 2515790 h 8562303"/>
                <a:gd name="connsiteX955" fmla="*/ 6824660 w 8622239"/>
                <a:gd name="connsiteY955" fmla="*/ 2605318 h 8562303"/>
                <a:gd name="connsiteX956" fmla="*/ 6802752 w 8622239"/>
                <a:gd name="connsiteY956" fmla="*/ 2661553 h 8562303"/>
                <a:gd name="connsiteX957" fmla="*/ 6775842 w 8622239"/>
                <a:gd name="connsiteY957" fmla="*/ 2669661 h 8562303"/>
                <a:gd name="connsiteX958" fmla="*/ 6702874 w 8622239"/>
                <a:gd name="connsiteY958" fmla="*/ 2661898 h 8562303"/>
                <a:gd name="connsiteX959" fmla="*/ 6619556 w 8622239"/>
                <a:gd name="connsiteY959" fmla="*/ 2653791 h 8562303"/>
                <a:gd name="connsiteX960" fmla="*/ 6593508 w 8622239"/>
                <a:gd name="connsiteY960" fmla="*/ 2662243 h 8562303"/>
                <a:gd name="connsiteX961" fmla="*/ 6514158 w 8622239"/>
                <a:gd name="connsiteY961" fmla="*/ 2718479 h 8562303"/>
                <a:gd name="connsiteX962" fmla="*/ 6428079 w 8622239"/>
                <a:gd name="connsiteY962" fmla="*/ 2777129 h 8562303"/>
                <a:gd name="connsiteX963" fmla="*/ 6294908 w 8622239"/>
                <a:gd name="connsiteY963" fmla="*/ 2829569 h 8562303"/>
                <a:gd name="connsiteX964" fmla="*/ 6217455 w 8622239"/>
                <a:gd name="connsiteY964" fmla="*/ 2936865 h 8562303"/>
                <a:gd name="connsiteX965" fmla="*/ 6158978 w 8622239"/>
                <a:gd name="connsiteY965" fmla="*/ 3067449 h 8562303"/>
                <a:gd name="connsiteX966" fmla="*/ 6146040 w 8622239"/>
                <a:gd name="connsiteY966" fmla="*/ 3173882 h 8562303"/>
                <a:gd name="connsiteX967" fmla="*/ 6147593 w 8622239"/>
                <a:gd name="connsiteY967" fmla="*/ 3222355 h 8562303"/>
                <a:gd name="connsiteX968" fmla="*/ 6148800 w 8622239"/>
                <a:gd name="connsiteY968" fmla="*/ 3277038 h 8562303"/>
                <a:gd name="connsiteX969" fmla="*/ 6147593 w 8622239"/>
                <a:gd name="connsiteY969" fmla="*/ 3365186 h 8562303"/>
                <a:gd name="connsiteX970" fmla="*/ 6142935 w 8622239"/>
                <a:gd name="connsiteY970" fmla="*/ 3411071 h 8562303"/>
                <a:gd name="connsiteX971" fmla="*/ 6132930 w 8622239"/>
                <a:gd name="connsiteY971" fmla="*/ 3411416 h 8562303"/>
                <a:gd name="connsiteX972" fmla="*/ 6098774 w 8622239"/>
                <a:gd name="connsiteY972" fmla="*/ 3403309 h 8562303"/>
                <a:gd name="connsiteX973" fmla="*/ 6039779 w 8622239"/>
                <a:gd name="connsiteY973" fmla="*/ 3348281 h 8562303"/>
                <a:gd name="connsiteX974" fmla="*/ 6002002 w 8622239"/>
                <a:gd name="connsiteY974" fmla="*/ 3284628 h 8562303"/>
                <a:gd name="connsiteX975" fmla="*/ 6019769 w 8622239"/>
                <a:gd name="connsiteY975" fmla="*/ 3245987 h 8562303"/>
                <a:gd name="connsiteX976" fmla="*/ 6019424 w 8622239"/>
                <a:gd name="connsiteY976" fmla="*/ 3241675 h 8562303"/>
                <a:gd name="connsiteX977" fmla="*/ 5983199 w 8622239"/>
                <a:gd name="connsiteY977" fmla="*/ 3208037 h 8562303"/>
                <a:gd name="connsiteX978" fmla="*/ 5955943 w 8622239"/>
                <a:gd name="connsiteY978" fmla="*/ 3178539 h 8562303"/>
                <a:gd name="connsiteX979" fmla="*/ 5940936 w 8622239"/>
                <a:gd name="connsiteY979" fmla="*/ 3143694 h 8562303"/>
                <a:gd name="connsiteX980" fmla="*/ 5933691 w 8622239"/>
                <a:gd name="connsiteY980" fmla="*/ 3134552 h 8562303"/>
                <a:gd name="connsiteX981" fmla="*/ 5939728 w 8622239"/>
                <a:gd name="connsiteY981" fmla="*/ 3130929 h 8562303"/>
                <a:gd name="connsiteX982" fmla="*/ 5947491 w 8622239"/>
                <a:gd name="connsiteY982" fmla="*/ 3062619 h 8562303"/>
                <a:gd name="connsiteX983" fmla="*/ 5974229 w 8622239"/>
                <a:gd name="connsiteY983" fmla="*/ 3035881 h 8562303"/>
                <a:gd name="connsiteX984" fmla="*/ 6027531 w 8622239"/>
                <a:gd name="connsiteY984" fmla="*/ 2983613 h 8562303"/>
                <a:gd name="connsiteX985" fmla="*/ 6034604 w 8622239"/>
                <a:gd name="connsiteY985" fmla="*/ 2943765 h 8562303"/>
                <a:gd name="connsiteX986" fmla="*/ 6015457 w 8622239"/>
                <a:gd name="connsiteY986" fmla="*/ 2900640 h 8562303"/>
                <a:gd name="connsiteX987" fmla="*/ 5983716 w 8622239"/>
                <a:gd name="connsiteY987" fmla="*/ 2890980 h 8562303"/>
                <a:gd name="connsiteX988" fmla="*/ 5922478 w 8622239"/>
                <a:gd name="connsiteY988" fmla="*/ 2910300 h 8562303"/>
                <a:gd name="connsiteX989" fmla="*/ 5922651 w 8622239"/>
                <a:gd name="connsiteY989" fmla="*/ 2910300 h 8562303"/>
                <a:gd name="connsiteX990" fmla="*/ 5922478 w 8622239"/>
                <a:gd name="connsiteY990" fmla="*/ 2910300 h 8562303"/>
                <a:gd name="connsiteX991" fmla="*/ 5922651 w 8622239"/>
                <a:gd name="connsiteY991" fmla="*/ 2910300 h 8562303"/>
                <a:gd name="connsiteX992" fmla="*/ 5902296 w 8622239"/>
                <a:gd name="connsiteY992" fmla="*/ 2893912 h 8562303"/>
                <a:gd name="connsiteX993" fmla="*/ 5886425 w 8622239"/>
                <a:gd name="connsiteY993" fmla="*/ 2870452 h 8562303"/>
                <a:gd name="connsiteX994" fmla="*/ 5855893 w 8622239"/>
                <a:gd name="connsiteY994" fmla="*/ 2826464 h 8562303"/>
                <a:gd name="connsiteX995" fmla="*/ 5830535 w 8622239"/>
                <a:gd name="connsiteY995" fmla="*/ 2795587 h 8562303"/>
                <a:gd name="connsiteX996" fmla="*/ 5793448 w 8622239"/>
                <a:gd name="connsiteY996" fmla="*/ 2735211 h 8562303"/>
                <a:gd name="connsiteX997" fmla="*/ 5790687 w 8622239"/>
                <a:gd name="connsiteY997" fmla="*/ 2731934 h 8562303"/>
                <a:gd name="connsiteX998" fmla="*/ 5807765 w 8622239"/>
                <a:gd name="connsiteY998" fmla="*/ 2710371 h 8562303"/>
                <a:gd name="connsiteX999" fmla="*/ 5827258 w 8622239"/>
                <a:gd name="connsiteY999" fmla="*/ 2696226 h 8562303"/>
                <a:gd name="connsiteX1000" fmla="*/ 5831398 w 8622239"/>
                <a:gd name="connsiteY1000" fmla="*/ 2693638 h 8562303"/>
                <a:gd name="connsiteX1001" fmla="*/ 5831398 w 8622239"/>
                <a:gd name="connsiteY1001" fmla="*/ 2688808 h 8562303"/>
                <a:gd name="connsiteX1002" fmla="*/ 5832433 w 8622239"/>
                <a:gd name="connsiteY1002" fmla="*/ 2666556 h 8562303"/>
                <a:gd name="connsiteX1003" fmla="*/ 5837953 w 8622239"/>
                <a:gd name="connsiteY1003" fmla="*/ 2640163 h 8562303"/>
                <a:gd name="connsiteX1004" fmla="*/ 5851236 w 8622239"/>
                <a:gd name="connsiteY1004" fmla="*/ 2606008 h 8562303"/>
                <a:gd name="connsiteX1005" fmla="*/ 5856583 w 8622239"/>
                <a:gd name="connsiteY1005" fmla="*/ 2475252 h 8562303"/>
                <a:gd name="connsiteX1006" fmla="*/ 5824498 w 8622239"/>
                <a:gd name="connsiteY1006" fmla="*/ 2364334 h 8562303"/>
                <a:gd name="connsiteX1007" fmla="*/ 5789480 w 8622239"/>
                <a:gd name="connsiteY1007" fmla="*/ 2342598 h 8562303"/>
                <a:gd name="connsiteX1008" fmla="*/ 5676319 w 8622239"/>
                <a:gd name="connsiteY1008" fmla="*/ 2288260 h 8562303"/>
                <a:gd name="connsiteX1009" fmla="*/ 5620601 w 8622239"/>
                <a:gd name="connsiteY1009" fmla="*/ 2274805 h 8562303"/>
                <a:gd name="connsiteX1010" fmla="*/ 5614909 w 8622239"/>
                <a:gd name="connsiteY1010" fmla="*/ 2271183 h 8562303"/>
                <a:gd name="connsiteX1011" fmla="*/ 5686841 w 8622239"/>
                <a:gd name="connsiteY1011" fmla="*/ 2226160 h 8562303"/>
                <a:gd name="connsiteX1012" fmla="*/ 5778785 w 8622239"/>
                <a:gd name="connsiteY1012" fmla="*/ 2175962 h 8562303"/>
                <a:gd name="connsiteX1013" fmla="*/ 5806730 w 8622239"/>
                <a:gd name="connsiteY1013" fmla="*/ 2160437 h 8562303"/>
                <a:gd name="connsiteX1014" fmla="*/ 5832778 w 8622239"/>
                <a:gd name="connsiteY1014" fmla="*/ 2137149 h 8562303"/>
                <a:gd name="connsiteX1015" fmla="*/ 5875213 w 8622239"/>
                <a:gd name="connsiteY1015" fmla="*/ 2062456 h 8562303"/>
                <a:gd name="connsiteX1016" fmla="*/ 5906091 w 8622239"/>
                <a:gd name="connsiteY1016" fmla="*/ 2038996 h 8562303"/>
                <a:gd name="connsiteX1017" fmla="*/ 5939556 w 8622239"/>
                <a:gd name="connsiteY1017" fmla="*/ 1997596 h 8562303"/>
                <a:gd name="connsiteX1018" fmla="*/ 5993204 w 8622239"/>
                <a:gd name="connsiteY1018" fmla="*/ 1870290 h 8562303"/>
                <a:gd name="connsiteX1019" fmla="*/ 6028567 w 8622239"/>
                <a:gd name="connsiteY1019" fmla="*/ 1769894 h 8562303"/>
                <a:gd name="connsiteX1020" fmla="*/ 6042884 w 8622239"/>
                <a:gd name="connsiteY1020" fmla="*/ 1755577 h 8562303"/>
                <a:gd name="connsiteX1021" fmla="*/ 6058927 w 8622239"/>
                <a:gd name="connsiteY1021" fmla="*/ 1754887 h 8562303"/>
                <a:gd name="connsiteX1022" fmla="*/ 6073072 w 8622239"/>
                <a:gd name="connsiteY1022" fmla="*/ 1740224 h 8562303"/>
                <a:gd name="connsiteX1023" fmla="*/ 6118957 w 8622239"/>
                <a:gd name="connsiteY1023" fmla="*/ 1647591 h 8562303"/>
                <a:gd name="connsiteX1024" fmla="*/ 6133275 w 8622239"/>
                <a:gd name="connsiteY1024" fmla="*/ 1600153 h 8562303"/>
                <a:gd name="connsiteX1025" fmla="*/ 6131377 w 8622239"/>
                <a:gd name="connsiteY1025" fmla="*/ 1548058 h 8562303"/>
                <a:gd name="connsiteX1026" fmla="*/ 6150353 w 8622239"/>
                <a:gd name="connsiteY1026" fmla="*/ 1475262 h 8562303"/>
                <a:gd name="connsiteX1027" fmla="*/ 6159150 w 8622239"/>
                <a:gd name="connsiteY1027" fmla="*/ 1423684 h 8562303"/>
                <a:gd name="connsiteX1028" fmla="*/ 6168983 w 8622239"/>
                <a:gd name="connsiteY1028" fmla="*/ 1372451 h 8562303"/>
                <a:gd name="connsiteX1029" fmla="*/ 4259394 w 8622239"/>
                <a:gd name="connsiteY1029" fmla="*/ 592918 h 8562303"/>
                <a:gd name="connsiteX1030" fmla="*/ 4274057 w 8622239"/>
                <a:gd name="connsiteY1030" fmla="*/ 600163 h 8562303"/>
                <a:gd name="connsiteX1031" fmla="*/ 4312007 w 8622239"/>
                <a:gd name="connsiteY1031" fmla="*/ 621898 h 8562303"/>
                <a:gd name="connsiteX1032" fmla="*/ 4322874 w 8622239"/>
                <a:gd name="connsiteY1032" fmla="*/ 632076 h 8562303"/>
                <a:gd name="connsiteX1033" fmla="*/ 4386010 w 8622239"/>
                <a:gd name="connsiteY1033" fmla="*/ 663644 h 8562303"/>
                <a:gd name="connsiteX1034" fmla="*/ 4446385 w 8622239"/>
                <a:gd name="connsiteY1034" fmla="*/ 646566 h 8562303"/>
                <a:gd name="connsiteX1035" fmla="*/ 4511936 w 8622239"/>
                <a:gd name="connsiteY1035" fmla="*/ 623968 h 8562303"/>
                <a:gd name="connsiteX1036" fmla="*/ 4531946 w 8622239"/>
                <a:gd name="connsiteY1036" fmla="*/ 636388 h 8562303"/>
                <a:gd name="connsiteX1037" fmla="*/ 4539708 w 8622239"/>
                <a:gd name="connsiteY1037" fmla="*/ 644841 h 8562303"/>
                <a:gd name="connsiteX1038" fmla="*/ 4542123 w 8622239"/>
                <a:gd name="connsiteY1038" fmla="*/ 646738 h 8562303"/>
                <a:gd name="connsiteX1039" fmla="*/ 4544193 w 8622239"/>
                <a:gd name="connsiteY1039" fmla="*/ 647083 h 8562303"/>
                <a:gd name="connsiteX1040" fmla="*/ 4593701 w 8622239"/>
                <a:gd name="connsiteY1040" fmla="*/ 626211 h 8562303"/>
                <a:gd name="connsiteX1041" fmla="*/ 4641656 w 8622239"/>
                <a:gd name="connsiteY1041" fmla="*/ 645358 h 8562303"/>
                <a:gd name="connsiteX1042" fmla="*/ 4644072 w 8622239"/>
                <a:gd name="connsiteY1042" fmla="*/ 647083 h 8562303"/>
                <a:gd name="connsiteX1043" fmla="*/ 4646486 w 8622239"/>
                <a:gd name="connsiteY1043" fmla="*/ 647256 h 8562303"/>
                <a:gd name="connsiteX1044" fmla="*/ 4659079 w 8622239"/>
                <a:gd name="connsiteY1044" fmla="*/ 647946 h 8562303"/>
                <a:gd name="connsiteX1045" fmla="*/ 4741362 w 8622239"/>
                <a:gd name="connsiteY1045" fmla="*/ 606373 h 8562303"/>
                <a:gd name="connsiteX1046" fmla="*/ 4801048 w 8622239"/>
                <a:gd name="connsiteY1046" fmla="*/ 521848 h 8562303"/>
                <a:gd name="connsiteX1047" fmla="*/ 4808465 w 8622239"/>
                <a:gd name="connsiteY1047" fmla="*/ 502010 h 8562303"/>
                <a:gd name="connsiteX1048" fmla="*/ 4835375 w 8622239"/>
                <a:gd name="connsiteY1048" fmla="*/ 452502 h 8562303"/>
                <a:gd name="connsiteX1049" fmla="*/ 4894543 w 8622239"/>
                <a:gd name="connsiteY1049" fmla="*/ 351589 h 8562303"/>
                <a:gd name="connsiteX1050" fmla="*/ 4965786 w 8622239"/>
                <a:gd name="connsiteY1050" fmla="*/ 229630 h 8562303"/>
                <a:gd name="connsiteX1051" fmla="*/ 4998217 w 8622239"/>
                <a:gd name="connsiteY1051" fmla="*/ 250503 h 8562303"/>
                <a:gd name="connsiteX1052" fmla="*/ 5005289 w 8622239"/>
                <a:gd name="connsiteY1052" fmla="*/ 251711 h 8562303"/>
                <a:gd name="connsiteX1053" fmla="*/ 5014259 w 8622239"/>
                <a:gd name="connsiteY1053" fmla="*/ 257403 h 8562303"/>
                <a:gd name="connsiteX1054" fmla="*/ 5011499 w 8622239"/>
                <a:gd name="connsiteY1054" fmla="*/ 247571 h 8562303"/>
                <a:gd name="connsiteX1055" fmla="*/ 5014087 w 8622239"/>
                <a:gd name="connsiteY1055" fmla="*/ 245501 h 8562303"/>
                <a:gd name="connsiteX1056" fmla="*/ 5012362 w 8622239"/>
                <a:gd name="connsiteY1056" fmla="*/ 239808 h 8562303"/>
                <a:gd name="connsiteX1057" fmla="*/ 5006842 w 8622239"/>
                <a:gd name="connsiteY1057" fmla="*/ 190818 h 8562303"/>
                <a:gd name="connsiteX1058" fmla="*/ 5052899 w 8622239"/>
                <a:gd name="connsiteY1058" fmla="*/ 220833 h 8562303"/>
                <a:gd name="connsiteX1059" fmla="*/ 5071185 w 8622239"/>
                <a:gd name="connsiteY1059" fmla="*/ 267063 h 8562303"/>
                <a:gd name="connsiteX1060" fmla="*/ 5080845 w 8622239"/>
                <a:gd name="connsiteY1060" fmla="*/ 288453 h 8562303"/>
                <a:gd name="connsiteX1061" fmla="*/ 5097060 w 8622239"/>
                <a:gd name="connsiteY1061" fmla="*/ 398337 h 8562303"/>
                <a:gd name="connsiteX1062" fmla="*/ 5116725 w 8622239"/>
                <a:gd name="connsiteY1062" fmla="*/ 476652 h 8562303"/>
                <a:gd name="connsiteX1063" fmla="*/ 5135010 w 8622239"/>
                <a:gd name="connsiteY1063" fmla="*/ 528748 h 8562303"/>
                <a:gd name="connsiteX1064" fmla="*/ 5156400 w 8622239"/>
                <a:gd name="connsiteY1064" fmla="*/ 590331 h 8562303"/>
                <a:gd name="connsiteX1065" fmla="*/ 5180723 w 8622239"/>
                <a:gd name="connsiteY1065" fmla="*/ 666231 h 8562303"/>
                <a:gd name="connsiteX1066" fmla="*/ 5232473 w 8622239"/>
                <a:gd name="connsiteY1066" fmla="*/ 728332 h 8562303"/>
                <a:gd name="connsiteX1067" fmla="*/ 5348567 w 8622239"/>
                <a:gd name="connsiteY1067" fmla="*/ 751102 h 8562303"/>
                <a:gd name="connsiteX1068" fmla="*/ 5345116 w 8622239"/>
                <a:gd name="connsiteY1068" fmla="*/ 861675 h 8562303"/>
                <a:gd name="connsiteX1069" fmla="*/ 5339597 w 8622239"/>
                <a:gd name="connsiteY1069" fmla="*/ 879960 h 8562303"/>
                <a:gd name="connsiteX1070" fmla="*/ 5317344 w 8622239"/>
                <a:gd name="connsiteY1070" fmla="*/ 899625 h 8562303"/>
                <a:gd name="connsiteX1071" fmla="*/ 5267836 w 8622239"/>
                <a:gd name="connsiteY1071" fmla="*/ 941026 h 8562303"/>
                <a:gd name="connsiteX1072" fmla="*/ 5252656 w 8622239"/>
                <a:gd name="connsiteY1072" fmla="*/ 959138 h 8562303"/>
                <a:gd name="connsiteX1073" fmla="*/ 5230231 w 8622239"/>
                <a:gd name="connsiteY1073" fmla="*/ 970868 h 8562303"/>
                <a:gd name="connsiteX1074" fmla="*/ 5188658 w 8622239"/>
                <a:gd name="connsiteY1074" fmla="*/ 1015891 h 8562303"/>
                <a:gd name="connsiteX1075" fmla="*/ 5137080 w 8622239"/>
                <a:gd name="connsiteY1075" fmla="*/ 1074542 h 8562303"/>
                <a:gd name="connsiteX1076" fmla="*/ 5097578 w 8622239"/>
                <a:gd name="connsiteY1076" fmla="*/ 1120599 h 8562303"/>
                <a:gd name="connsiteX1077" fmla="*/ 5045310 w 8622239"/>
                <a:gd name="connsiteY1077" fmla="*/ 1146475 h 8562303"/>
                <a:gd name="connsiteX1078" fmla="*/ 5031682 w 8622239"/>
                <a:gd name="connsiteY1078" fmla="*/ 1171832 h 8562303"/>
                <a:gd name="connsiteX1079" fmla="*/ 5002184 w 8622239"/>
                <a:gd name="connsiteY1079" fmla="*/ 1221340 h 8562303"/>
                <a:gd name="connsiteX1080" fmla="*/ 4948709 w 8622239"/>
                <a:gd name="connsiteY1080" fmla="*/ 1263085 h 8562303"/>
                <a:gd name="connsiteX1081" fmla="*/ 4945776 w 8622239"/>
                <a:gd name="connsiteY1081" fmla="*/ 1266018 h 8562303"/>
                <a:gd name="connsiteX1082" fmla="*/ 4945431 w 8622239"/>
                <a:gd name="connsiteY1082" fmla="*/ 1268951 h 8562303"/>
                <a:gd name="connsiteX1083" fmla="*/ 4929044 w 8622239"/>
                <a:gd name="connsiteY1083" fmla="*/ 1348474 h 8562303"/>
                <a:gd name="connsiteX1084" fmla="*/ 4907654 w 8622239"/>
                <a:gd name="connsiteY1084" fmla="*/ 1369864 h 8562303"/>
                <a:gd name="connsiteX1085" fmla="*/ 4887988 w 8622239"/>
                <a:gd name="connsiteY1085" fmla="*/ 1390736 h 8562303"/>
                <a:gd name="connsiteX1086" fmla="*/ 4849521 w 8622239"/>
                <a:gd name="connsiteY1086" fmla="*/ 1397119 h 8562303"/>
                <a:gd name="connsiteX1087" fmla="*/ 4798115 w 8622239"/>
                <a:gd name="connsiteY1087" fmla="*/ 1357789 h 8562303"/>
                <a:gd name="connsiteX1088" fmla="*/ 4796390 w 8622239"/>
                <a:gd name="connsiteY1088" fmla="*/ 1357444 h 8562303"/>
                <a:gd name="connsiteX1089" fmla="*/ 4779313 w 8622239"/>
                <a:gd name="connsiteY1089" fmla="*/ 1352269 h 8562303"/>
                <a:gd name="connsiteX1090" fmla="*/ 4768790 w 8622239"/>
                <a:gd name="connsiteY1090" fmla="*/ 1346231 h 8562303"/>
                <a:gd name="connsiteX1091" fmla="*/ 4766030 w 8622239"/>
                <a:gd name="connsiteY1091" fmla="*/ 1342436 h 8562303"/>
                <a:gd name="connsiteX1092" fmla="*/ 4750160 w 8622239"/>
                <a:gd name="connsiteY1092" fmla="*/ 1312938 h 8562303"/>
                <a:gd name="connsiteX1093" fmla="*/ 4749470 w 8622239"/>
                <a:gd name="connsiteY1093" fmla="*/ 1312248 h 8562303"/>
                <a:gd name="connsiteX1094" fmla="*/ 4738085 w 8622239"/>
                <a:gd name="connsiteY1094" fmla="*/ 1270158 h 8562303"/>
                <a:gd name="connsiteX1095" fmla="*/ 4698582 w 8622239"/>
                <a:gd name="connsiteY1095" fmla="*/ 1201503 h 8562303"/>
                <a:gd name="connsiteX1096" fmla="*/ 4658044 w 8622239"/>
                <a:gd name="connsiteY1096" fmla="*/ 1155790 h 8562303"/>
                <a:gd name="connsiteX1097" fmla="*/ 4613366 w 8622239"/>
                <a:gd name="connsiteY1097" fmla="*/ 1068677 h 8562303"/>
                <a:gd name="connsiteX1098" fmla="*/ 4604741 w 8622239"/>
                <a:gd name="connsiteY1098" fmla="*/ 969316 h 8562303"/>
                <a:gd name="connsiteX1099" fmla="*/ 4565411 w 8622239"/>
                <a:gd name="connsiteY1099" fmla="*/ 926363 h 8562303"/>
                <a:gd name="connsiteX1100" fmla="*/ 4540571 w 8622239"/>
                <a:gd name="connsiteY1100" fmla="*/ 910838 h 8562303"/>
                <a:gd name="connsiteX1101" fmla="*/ 4532808 w 8622239"/>
                <a:gd name="connsiteY1101" fmla="*/ 905318 h 8562303"/>
                <a:gd name="connsiteX1102" fmla="*/ 4531946 w 8622239"/>
                <a:gd name="connsiteY1102" fmla="*/ 904455 h 8562303"/>
                <a:gd name="connsiteX1103" fmla="*/ 4518318 w 8622239"/>
                <a:gd name="connsiteY1103" fmla="*/ 845805 h 8562303"/>
                <a:gd name="connsiteX1104" fmla="*/ 4473813 w 8622239"/>
                <a:gd name="connsiteY1104" fmla="*/ 827002 h 8562303"/>
                <a:gd name="connsiteX1105" fmla="*/ 4435863 w 8622239"/>
                <a:gd name="connsiteY1105" fmla="*/ 822172 h 8562303"/>
                <a:gd name="connsiteX1106" fmla="*/ 4372555 w 8622239"/>
                <a:gd name="connsiteY1106" fmla="*/ 758864 h 8562303"/>
                <a:gd name="connsiteX1107" fmla="*/ 4337882 w 8622239"/>
                <a:gd name="connsiteY1107" fmla="*/ 743684 h 8562303"/>
                <a:gd name="connsiteX1108" fmla="*/ 4304072 w 8622239"/>
                <a:gd name="connsiteY1108" fmla="*/ 744374 h 8562303"/>
                <a:gd name="connsiteX1109" fmla="*/ 4288547 w 8622239"/>
                <a:gd name="connsiteY1109" fmla="*/ 744202 h 8562303"/>
                <a:gd name="connsiteX1110" fmla="*/ 4249389 w 8622239"/>
                <a:gd name="connsiteY1110" fmla="*/ 709874 h 8562303"/>
                <a:gd name="connsiteX1111" fmla="*/ 4249734 w 8622239"/>
                <a:gd name="connsiteY1111" fmla="*/ 705044 h 8562303"/>
                <a:gd name="connsiteX1112" fmla="*/ 4249906 w 8622239"/>
                <a:gd name="connsiteY1112" fmla="*/ 704009 h 8562303"/>
                <a:gd name="connsiteX1113" fmla="*/ 4249906 w 8622239"/>
                <a:gd name="connsiteY1113" fmla="*/ 703146 h 8562303"/>
                <a:gd name="connsiteX1114" fmla="*/ 4248354 w 8622239"/>
                <a:gd name="connsiteY1114" fmla="*/ 640701 h 8562303"/>
                <a:gd name="connsiteX1115" fmla="*/ 4259394 w 8622239"/>
                <a:gd name="connsiteY1115" fmla="*/ 592918 h 8562303"/>
                <a:gd name="connsiteX1116" fmla="*/ 2305472 w 8622239"/>
                <a:gd name="connsiteY1116" fmla="*/ 622416 h 8562303"/>
                <a:gd name="connsiteX1117" fmla="*/ 2237852 w 8622239"/>
                <a:gd name="connsiteY1117" fmla="*/ 618966 h 8562303"/>
                <a:gd name="connsiteX1118" fmla="*/ 2189379 w 8622239"/>
                <a:gd name="connsiteY1118" fmla="*/ 618276 h 8562303"/>
                <a:gd name="connsiteX1119" fmla="*/ 2193864 w 8622239"/>
                <a:gd name="connsiteY1119" fmla="*/ 575668 h 8562303"/>
                <a:gd name="connsiteX1120" fmla="*/ 2141423 w 8622239"/>
                <a:gd name="connsiteY1120" fmla="*/ 494592 h 8562303"/>
                <a:gd name="connsiteX1121" fmla="*/ 2146943 w 8622239"/>
                <a:gd name="connsiteY1121" fmla="*/ 414897 h 8562303"/>
                <a:gd name="connsiteX1122" fmla="*/ 2112616 w 8622239"/>
                <a:gd name="connsiteY1122" fmla="*/ 362801 h 8562303"/>
                <a:gd name="connsiteX1123" fmla="*/ 2100196 w 8622239"/>
                <a:gd name="connsiteY1123" fmla="*/ 355384 h 8562303"/>
                <a:gd name="connsiteX1124" fmla="*/ 2096918 w 8622239"/>
                <a:gd name="connsiteY1124" fmla="*/ 349174 h 8562303"/>
                <a:gd name="connsiteX1125" fmla="*/ 2017912 w 8622239"/>
                <a:gd name="connsiteY1125" fmla="*/ 287073 h 8562303"/>
                <a:gd name="connsiteX1126" fmla="*/ 1992900 w 8622239"/>
                <a:gd name="connsiteY1126" fmla="*/ 259473 h 8562303"/>
                <a:gd name="connsiteX1127" fmla="*/ 2006700 w 8622239"/>
                <a:gd name="connsiteY1127" fmla="*/ 248606 h 8562303"/>
                <a:gd name="connsiteX1128" fmla="*/ 2063625 w 8622239"/>
                <a:gd name="connsiteY1128" fmla="*/ 282761 h 8562303"/>
                <a:gd name="connsiteX1129" fmla="*/ 2063798 w 8622239"/>
                <a:gd name="connsiteY1129" fmla="*/ 282761 h 8562303"/>
                <a:gd name="connsiteX1130" fmla="*/ 2074493 w 8622239"/>
                <a:gd name="connsiteY1130" fmla="*/ 282416 h 8562303"/>
                <a:gd name="connsiteX1131" fmla="*/ 2146081 w 8622239"/>
                <a:gd name="connsiteY1131" fmla="*/ 294318 h 8562303"/>
                <a:gd name="connsiteX1132" fmla="*/ 2176096 w 8622239"/>
                <a:gd name="connsiteY1132" fmla="*/ 328646 h 8562303"/>
                <a:gd name="connsiteX1133" fmla="*/ 2218186 w 8622239"/>
                <a:gd name="connsiteY1133" fmla="*/ 324334 h 8562303"/>
                <a:gd name="connsiteX1134" fmla="*/ 2245269 w 8622239"/>
                <a:gd name="connsiteY1134" fmla="*/ 325369 h 8562303"/>
                <a:gd name="connsiteX1135" fmla="*/ 2279424 w 8622239"/>
                <a:gd name="connsiteY1135" fmla="*/ 334339 h 8562303"/>
                <a:gd name="connsiteX1136" fmla="*/ 2282874 w 8622239"/>
                <a:gd name="connsiteY1136" fmla="*/ 334166 h 8562303"/>
                <a:gd name="connsiteX1137" fmla="*/ 2284944 w 8622239"/>
                <a:gd name="connsiteY1137" fmla="*/ 332614 h 8562303"/>
                <a:gd name="connsiteX1138" fmla="*/ 2321170 w 8622239"/>
                <a:gd name="connsiteY1138" fmla="*/ 306566 h 8562303"/>
                <a:gd name="connsiteX1139" fmla="*/ 2370850 w 8622239"/>
                <a:gd name="connsiteY1139" fmla="*/ 353659 h 8562303"/>
                <a:gd name="connsiteX1140" fmla="*/ 2388963 w 8622239"/>
                <a:gd name="connsiteY1140" fmla="*/ 370046 h 8562303"/>
                <a:gd name="connsiteX1141" fmla="*/ 2400003 w 8622239"/>
                <a:gd name="connsiteY1141" fmla="*/ 380742 h 8562303"/>
                <a:gd name="connsiteX1142" fmla="*/ 2402763 w 8622239"/>
                <a:gd name="connsiteY1142" fmla="*/ 384364 h 8562303"/>
                <a:gd name="connsiteX1143" fmla="*/ 2406385 w 8622239"/>
                <a:gd name="connsiteY1143" fmla="*/ 385227 h 8562303"/>
                <a:gd name="connsiteX1144" fmla="*/ 2453306 w 8622239"/>
                <a:gd name="connsiteY1144" fmla="*/ 380742 h 8562303"/>
                <a:gd name="connsiteX1145" fmla="*/ 2460378 w 8622239"/>
                <a:gd name="connsiteY1145" fmla="*/ 379017 h 8562303"/>
                <a:gd name="connsiteX1146" fmla="*/ 2474696 w 8622239"/>
                <a:gd name="connsiteY1146" fmla="*/ 369356 h 8562303"/>
                <a:gd name="connsiteX1147" fmla="*/ 2472971 w 8622239"/>
                <a:gd name="connsiteY1147" fmla="*/ 343826 h 8562303"/>
                <a:gd name="connsiteX1148" fmla="*/ 2466588 w 8622239"/>
                <a:gd name="connsiteY1148" fmla="*/ 306739 h 8562303"/>
                <a:gd name="connsiteX1149" fmla="*/ 2494879 w 8622239"/>
                <a:gd name="connsiteY1149" fmla="*/ 280001 h 8562303"/>
                <a:gd name="connsiteX1150" fmla="*/ 2516269 w 8622239"/>
                <a:gd name="connsiteY1150" fmla="*/ 269823 h 8562303"/>
                <a:gd name="connsiteX1151" fmla="*/ 2608039 w 8622239"/>
                <a:gd name="connsiteY1151" fmla="*/ 267753 h 8562303"/>
                <a:gd name="connsiteX1152" fmla="*/ 2646162 w 8622239"/>
                <a:gd name="connsiteY1152" fmla="*/ 266718 h 8562303"/>
                <a:gd name="connsiteX1153" fmla="*/ 2678592 w 8622239"/>
                <a:gd name="connsiteY1153" fmla="*/ 242223 h 8562303"/>
                <a:gd name="connsiteX1154" fmla="*/ 2707745 w 8622239"/>
                <a:gd name="connsiteY1154" fmla="*/ 237393 h 8562303"/>
                <a:gd name="connsiteX1155" fmla="*/ 2713093 w 8622239"/>
                <a:gd name="connsiteY1155" fmla="*/ 237565 h 8562303"/>
                <a:gd name="connsiteX1156" fmla="*/ 2765360 w 8622239"/>
                <a:gd name="connsiteY1156" fmla="*/ 198753 h 8562303"/>
                <a:gd name="connsiteX1157" fmla="*/ 2777435 w 8622239"/>
                <a:gd name="connsiteY1157" fmla="*/ 183228 h 8562303"/>
                <a:gd name="connsiteX1158" fmla="*/ 2799861 w 8622239"/>
                <a:gd name="connsiteY1158" fmla="*/ 177708 h 8562303"/>
                <a:gd name="connsiteX1159" fmla="*/ 2827633 w 8622239"/>
                <a:gd name="connsiteY1159" fmla="*/ 181675 h 8562303"/>
                <a:gd name="connsiteX1160" fmla="*/ 2829703 w 8622239"/>
                <a:gd name="connsiteY1160" fmla="*/ 182365 h 8562303"/>
                <a:gd name="connsiteX1161" fmla="*/ 2831428 w 8622239"/>
                <a:gd name="connsiteY1161" fmla="*/ 182193 h 8562303"/>
                <a:gd name="connsiteX1162" fmla="*/ 2881626 w 8622239"/>
                <a:gd name="connsiteY1162" fmla="*/ 157697 h 8562303"/>
                <a:gd name="connsiteX1163" fmla="*/ 2928547 w 8622239"/>
                <a:gd name="connsiteY1163" fmla="*/ 115262 h 8562303"/>
                <a:gd name="connsiteX1164" fmla="*/ 2956837 w 8622239"/>
                <a:gd name="connsiteY1164" fmla="*/ 49367 h 8562303"/>
                <a:gd name="connsiteX1165" fmla="*/ 2957009 w 8622239"/>
                <a:gd name="connsiteY1165" fmla="*/ 30219 h 8562303"/>
                <a:gd name="connsiteX1166" fmla="*/ 2975812 w 8622239"/>
                <a:gd name="connsiteY1166" fmla="*/ 25389 h 8562303"/>
                <a:gd name="connsiteX1167" fmla="*/ 3022387 w 8622239"/>
                <a:gd name="connsiteY1167" fmla="*/ 21076 h 8562303"/>
                <a:gd name="connsiteX1168" fmla="*/ 3066548 w 8622239"/>
                <a:gd name="connsiteY1168" fmla="*/ 37982 h 8562303"/>
                <a:gd name="connsiteX1169" fmla="*/ 3068273 w 8622239"/>
                <a:gd name="connsiteY1169" fmla="*/ 39707 h 8562303"/>
                <a:gd name="connsiteX1170" fmla="*/ 3058958 w 8622239"/>
                <a:gd name="connsiteY1170" fmla="*/ 110260 h 8562303"/>
                <a:gd name="connsiteX1171" fmla="*/ 3049298 w 8622239"/>
                <a:gd name="connsiteY1171" fmla="*/ 178225 h 8562303"/>
                <a:gd name="connsiteX1172" fmla="*/ 3052920 w 8622239"/>
                <a:gd name="connsiteY1172" fmla="*/ 182020 h 8562303"/>
                <a:gd name="connsiteX1173" fmla="*/ 3060338 w 8622239"/>
                <a:gd name="connsiteY1173" fmla="*/ 181848 h 8562303"/>
                <a:gd name="connsiteX1174" fmla="*/ 3108983 w 8622239"/>
                <a:gd name="connsiteY1174" fmla="*/ 180640 h 8562303"/>
                <a:gd name="connsiteX1175" fmla="*/ 3133478 w 8622239"/>
                <a:gd name="connsiteY1175" fmla="*/ 192715 h 8562303"/>
                <a:gd name="connsiteX1176" fmla="*/ 3140723 w 8622239"/>
                <a:gd name="connsiteY1176" fmla="*/ 207033 h 8562303"/>
                <a:gd name="connsiteX1177" fmla="*/ 3169358 w 8622239"/>
                <a:gd name="connsiteY1177" fmla="*/ 260163 h 8562303"/>
                <a:gd name="connsiteX1178" fmla="*/ 3175051 w 8622239"/>
                <a:gd name="connsiteY1178" fmla="*/ 287763 h 8562303"/>
                <a:gd name="connsiteX1179" fmla="*/ 3152453 w 8622239"/>
                <a:gd name="connsiteY1179" fmla="*/ 314501 h 8562303"/>
                <a:gd name="connsiteX1180" fmla="*/ 3116055 w 8622239"/>
                <a:gd name="connsiteY1180" fmla="*/ 352106 h 8562303"/>
                <a:gd name="connsiteX1181" fmla="*/ 3113640 w 8622239"/>
                <a:gd name="connsiteY1181" fmla="*/ 379362 h 8562303"/>
                <a:gd name="connsiteX1182" fmla="*/ 3117953 w 8622239"/>
                <a:gd name="connsiteY1182" fmla="*/ 406444 h 8562303"/>
                <a:gd name="connsiteX1183" fmla="*/ 3111570 w 8622239"/>
                <a:gd name="connsiteY1183" fmla="*/ 434562 h 8562303"/>
                <a:gd name="connsiteX1184" fmla="*/ 3091905 w 8622239"/>
                <a:gd name="connsiteY1184" fmla="*/ 482345 h 8562303"/>
                <a:gd name="connsiteX1185" fmla="*/ 3097598 w 8622239"/>
                <a:gd name="connsiteY1185" fmla="*/ 597748 h 8562303"/>
                <a:gd name="connsiteX1186" fmla="*/ 3098633 w 8622239"/>
                <a:gd name="connsiteY1186" fmla="*/ 601543 h 8562303"/>
                <a:gd name="connsiteX1187" fmla="*/ 3101048 w 8622239"/>
                <a:gd name="connsiteY1187" fmla="*/ 611203 h 8562303"/>
                <a:gd name="connsiteX1188" fmla="*/ 3125026 w 8622239"/>
                <a:gd name="connsiteY1188" fmla="*/ 648291 h 8562303"/>
                <a:gd name="connsiteX1189" fmla="*/ 3144173 w 8622239"/>
                <a:gd name="connsiteY1189" fmla="*/ 676409 h 8562303"/>
                <a:gd name="connsiteX1190" fmla="*/ 3149693 w 8622239"/>
                <a:gd name="connsiteY1190" fmla="*/ 733334 h 8562303"/>
                <a:gd name="connsiteX1191" fmla="*/ 3154178 w 8622239"/>
                <a:gd name="connsiteY1191" fmla="*/ 741097 h 8562303"/>
                <a:gd name="connsiteX1192" fmla="*/ 3192991 w 8622239"/>
                <a:gd name="connsiteY1192" fmla="*/ 773009 h 8562303"/>
                <a:gd name="connsiteX1193" fmla="*/ 3221626 w 8622239"/>
                <a:gd name="connsiteY1193" fmla="*/ 795607 h 8562303"/>
                <a:gd name="connsiteX1194" fmla="*/ 3238186 w 8622239"/>
                <a:gd name="connsiteY1194" fmla="*/ 808372 h 8562303"/>
                <a:gd name="connsiteX1195" fmla="*/ 3242154 w 8622239"/>
                <a:gd name="connsiteY1195" fmla="*/ 812685 h 8562303"/>
                <a:gd name="connsiteX1196" fmla="*/ 3299597 w 8622239"/>
                <a:gd name="connsiteY1196" fmla="*/ 848565 h 8562303"/>
                <a:gd name="connsiteX1197" fmla="*/ 3299597 w 8622239"/>
                <a:gd name="connsiteY1197" fmla="*/ 1087307 h 8562303"/>
                <a:gd name="connsiteX1198" fmla="*/ 3105015 w 8622239"/>
                <a:gd name="connsiteY1198" fmla="*/ 1087307 h 8562303"/>
                <a:gd name="connsiteX1199" fmla="*/ 3065340 w 8622239"/>
                <a:gd name="connsiteY1199" fmla="*/ 1090757 h 8562303"/>
                <a:gd name="connsiteX1200" fmla="*/ 3050850 w 8622239"/>
                <a:gd name="connsiteY1200" fmla="*/ 1102142 h 8562303"/>
                <a:gd name="connsiteX1201" fmla="*/ 3023077 w 8622239"/>
                <a:gd name="connsiteY1201" fmla="*/ 1155962 h 8562303"/>
                <a:gd name="connsiteX1202" fmla="*/ 2996167 w 8622239"/>
                <a:gd name="connsiteY1202" fmla="*/ 1214958 h 8562303"/>
                <a:gd name="connsiteX1203" fmla="*/ 2985645 w 8622239"/>
                <a:gd name="connsiteY1203" fmla="*/ 1241868 h 8562303"/>
                <a:gd name="connsiteX1204" fmla="*/ 3012210 w 8622239"/>
                <a:gd name="connsiteY1204" fmla="*/ 1288271 h 8562303"/>
                <a:gd name="connsiteX1205" fmla="*/ 2965462 w 8622239"/>
                <a:gd name="connsiteY1205" fmla="*/ 1313111 h 8562303"/>
                <a:gd name="connsiteX1206" fmla="*/ 2941312 w 8622239"/>
                <a:gd name="connsiteY1206" fmla="*/ 1318458 h 8562303"/>
                <a:gd name="connsiteX1207" fmla="*/ 2890941 w 8622239"/>
                <a:gd name="connsiteY1207" fmla="*/ 1281026 h 8562303"/>
                <a:gd name="connsiteX1208" fmla="*/ 2854371 w 8622239"/>
                <a:gd name="connsiteY1208" fmla="*/ 1247560 h 8562303"/>
                <a:gd name="connsiteX1209" fmla="*/ 2824183 w 8622239"/>
                <a:gd name="connsiteY1209" fmla="*/ 1249975 h 8562303"/>
                <a:gd name="connsiteX1210" fmla="*/ 2733103 w 8622239"/>
                <a:gd name="connsiteY1210" fmla="*/ 1302933 h 8562303"/>
                <a:gd name="connsiteX1211" fmla="*/ 2719820 w 8622239"/>
                <a:gd name="connsiteY1211" fmla="*/ 1352096 h 8562303"/>
                <a:gd name="connsiteX1212" fmla="*/ 2718268 w 8622239"/>
                <a:gd name="connsiteY1212" fmla="*/ 1399534 h 8562303"/>
                <a:gd name="connsiteX1213" fmla="*/ 2704122 w 8622239"/>
                <a:gd name="connsiteY1213" fmla="*/ 1458012 h 8562303"/>
                <a:gd name="connsiteX1214" fmla="*/ 2695497 w 8622239"/>
                <a:gd name="connsiteY1214" fmla="*/ 1461289 h 8562303"/>
                <a:gd name="connsiteX1215" fmla="*/ 2667897 w 8622239"/>
                <a:gd name="connsiteY1215" fmla="*/ 1431964 h 8562303"/>
                <a:gd name="connsiteX1216" fmla="*/ 2595964 w 8622239"/>
                <a:gd name="connsiteY1216" fmla="*/ 1367104 h 8562303"/>
                <a:gd name="connsiteX1217" fmla="*/ 2561119 w 8622239"/>
                <a:gd name="connsiteY1217" fmla="*/ 1317078 h 8562303"/>
                <a:gd name="connsiteX1218" fmla="*/ 2564741 w 8622239"/>
                <a:gd name="connsiteY1218" fmla="*/ 1304831 h 8562303"/>
                <a:gd name="connsiteX1219" fmla="*/ 2579404 w 8622239"/>
                <a:gd name="connsiteY1219" fmla="*/ 1284821 h 8562303"/>
                <a:gd name="connsiteX1220" fmla="*/ 2570261 w 8622239"/>
                <a:gd name="connsiteY1220" fmla="*/ 1250665 h 8562303"/>
                <a:gd name="connsiteX1221" fmla="*/ 2530069 w 8622239"/>
                <a:gd name="connsiteY1221" fmla="*/ 1172350 h 8562303"/>
                <a:gd name="connsiteX1222" fmla="*/ 2529724 w 8622239"/>
                <a:gd name="connsiteY1222" fmla="*/ 1169935 h 8562303"/>
                <a:gd name="connsiteX1223" fmla="*/ 2529379 w 8622239"/>
                <a:gd name="connsiteY1223" fmla="*/ 1161655 h 8562303"/>
                <a:gd name="connsiteX1224" fmla="*/ 2531966 w 8622239"/>
                <a:gd name="connsiteY1224" fmla="*/ 1109732 h 8562303"/>
                <a:gd name="connsiteX1225" fmla="*/ 2523686 w 8622239"/>
                <a:gd name="connsiteY1225" fmla="*/ 1041421 h 8562303"/>
                <a:gd name="connsiteX1226" fmla="*/ 2528516 w 8622239"/>
                <a:gd name="connsiteY1226" fmla="*/ 1012786 h 8562303"/>
                <a:gd name="connsiteX1227" fmla="*/ 2533691 w 8622239"/>
                <a:gd name="connsiteY1227" fmla="*/ 986048 h 8562303"/>
                <a:gd name="connsiteX1228" fmla="*/ 2518166 w 8622239"/>
                <a:gd name="connsiteY1228" fmla="*/ 903420 h 8562303"/>
                <a:gd name="connsiteX1229" fmla="*/ 2484701 w 8622239"/>
                <a:gd name="connsiteY1229" fmla="*/ 816135 h 8562303"/>
                <a:gd name="connsiteX1230" fmla="*/ 2484011 w 8622239"/>
                <a:gd name="connsiteY1230" fmla="*/ 806475 h 8562303"/>
                <a:gd name="connsiteX1231" fmla="*/ 2492981 w 8622239"/>
                <a:gd name="connsiteY1231" fmla="*/ 743339 h 8562303"/>
                <a:gd name="connsiteX1232" fmla="*/ 2493326 w 8622239"/>
                <a:gd name="connsiteY1232" fmla="*/ 737647 h 8562303"/>
                <a:gd name="connsiteX1233" fmla="*/ 2480216 w 8622239"/>
                <a:gd name="connsiteY1233" fmla="*/ 717809 h 8562303"/>
                <a:gd name="connsiteX1234" fmla="*/ 2458998 w 8622239"/>
                <a:gd name="connsiteY1234" fmla="*/ 714876 h 8562303"/>
                <a:gd name="connsiteX1235" fmla="*/ 2443818 w 8622239"/>
                <a:gd name="connsiteY1235" fmla="*/ 715049 h 8562303"/>
                <a:gd name="connsiteX1236" fmla="*/ 2432950 w 8622239"/>
                <a:gd name="connsiteY1236" fmla="*/ 714186 h 8562303"/>
                <a:gd name="connsiteX1237" fmla="*/ 2430535 w 8622239"/>
                <a:gd name="connsiteY1237" fmla="*/ 713324 h 8562303"/>
                <a:gd name="connsiteX1238" fmla="*/ 2371368 w 8622239"/>
                <a:gd name="connsiteY1238" fmla="*/ 680204 h 8562303"/>
                <a:gd name="connsiteX1239" fmla="*/ 2334280 w 8622239"/>
                <a:gd name="connsiteY1239" fmla="*/ 666921 h 8562303"/>
                <a:gd name="connsiteX1240" fmla="*/ 2331692 w 8622239"/>
                <a:gd name="connsiteY1240" fmla="*/ 641046 h 8562303"/>
                <a:gd name="connsiteX1241" fmla="*/ 2305472 w 8622239"/>
                <a:gd name="connsiteY1241" fmla="*/ 622416 h 8562303"/>
                <a:gd name="connsiteX1242" fmla="*/ 148516 w 8622239"/>
                <a:gd name="connsiteY1242" fmla="*/ 2751426 h 8562303"/>
                <a:gd name="connsiteX1243" fmla="*/ 194229 w 8622239"/>
                <a:gd name="connsiteY1243" fmla="*/ 2691913 h 8562303"/>
                <a:gd name="connsiteX1244" fmla="*/ 193539 w 8622239"/>
                <a:gd name="connsiteY1244" fmla="*/ 2678976 h 8562303"/>
                <a:gd name="connsiteX1245" fmla="*/ 176289 w 8622239"/>
                <a:gd name="connsiteY1245" fmla="*/ 2647408 h 8562303"/>
                <a:gd name="connsiteX1246" fmla="*/ 167319 w 8622239"/>
                <a:gd name="connsiteY1246" fmla="*/ 2619808 h 8562303"/>
                <a:gd name="connsiteX1247" fmla="*/ 222002 w 8622239"/>
                <a:gd name="connsiteY1247" fmla="*/ 2538560 h 8562303"/>
                <a:gd name="connsiteX1248" fmla="*/ 224934 w 8622239"/>
                <a:gd name="connsiteY1248" fmla="*/ 2535110 h 8562303"/>
                <a:gd name="connsiteX1249" fmla="*/ 223899 w 8622239"/>
                <a:gd name="connsiteY1249" fmla="*/ 2420051 h 8562303"/>
                <a:gd name="connsiteX1250" fmla="*/ 275132 w 8622239"/>
                <a:gd name="connsiteY1250" fmla="*/ 2400214 h 8562303"/>
                <a:gd name="connsiteX1251" fmla="*/ 385188 w 8622239"/>
                <a:gd name="connsiteY1251" fmla="*/ 2314653 h 8562303"/>
                <a:gd name="connsiteX1252" fmla="*/ 389501 w 8622239"/>
                <a:gd name="connsiteY1252" fmla="*/ 2309996 h 8562303"/>
                <a:gd name="connsiteX1253" fmla="*/ 482651 w 8622239"/>
                <a:gd name="connsiteY1253" fmla="*/ 2267388 h 8562303"/>
                <a:gd name="connsiteX1254" fmla="*/ 553549 w 8622239"/>
                <a:gd name="connsiteY1254" fmla="*/ 2244790 h 8562303"/>
                <a:gd name="connsiteX1255" fmla="*/ 594087 w 8622239"/>
                <a:gd name="connsiteY1255" fmla="*/ 2230128 h 8562303"/>
                <a:gd name="connsiteX1256" fmla="*/ 680683 w 8622239"/>
                <a:gd name="connsiteY1256" fmla="*/ 2190280 h 8562303"/>
                <a:gd name="connsiteX1257" fmla="*/ 698968 w 8622239"/>
                <a:gd name="connsiteY1257" fmla="*/ 2168890 h 8562303"/>
                <a:gd name="connsiteX1258" fmla="*/ 728638 w 8622239"/>
                <a:gd name="connsiteY1258" fmla="*/ 2148017 h 8562303"/>
                <a:gd name="connsiteX1259" fmla="*/ 780388 w 8622239"/>
                <a:gd name="connsiteY1259" fmla="*/ 2172340 h 8562303"/>
                <a:gd name="connsiteX1260" fmla="*/ 831449 w 8622239"/>
                <a:gd name="connsiteY1260" fmla="*/ 2193730 h 8562303"/>
                <a:gd name="connsiteX1261" fmla="*/ 884062 w 8622239"/>
                <a:gd name="connsiteY1261" fmla="*/ 2112827 h 8562303"/>
                <a:gd name="connsiteX1262" fmla="*/ 885787 w 8622239"/>
                <a:gd name="connsiteY1262" fmla="*/ 2102132 h 8562303"/>
                <a:gd name="connsiteX1263" fmla="*/ 978420 w 8622239"/>
                <a:gd name="connsiteY1263" fmla="*/ 1554958 h 8562303"/>
                <a:gd name="connsiteX1264" fmla="*/ 978420 w 8622239"/>
                <a:gd name="connsiteY1264" fmla="*/ 1492512 h 8562303"/>
                <a:gd name="connsiteX1265" fmla="*/ 975487 w 8622239"/>
                <a:gd name="connsiteY1265" fmla="*/ 1470777 h 8562303"/>
                <a:gd name="connsiteX1266" fmla="*/ 920459 w 8622239"/>
                <a:gd name="connsiteY1266" fmla="*/ 1397981 h 8562303"/>
                <a:gd name="connsiteX1267" fmla="*/ 924082 w 8622239"/>
                <a:gd name="connsiteY1267" fmla="*/ 1374004 h 8562303"/>
                <a:gd name="connsiteX1268" fmla="*/ 928567 w 8622239"/>
                <a:gd name="connsiteY1268" fmla="*/ 1347266 h 8562303"/>
                <a:gd name="connsiteX1269" fmla="*/ 871469 w 8622239"/>
                <a:gd name="connsiteY1269" fmla="*/ 1298448 h 8562303"/>
                <a:gd name="connsiteX1270" fmla="*/ 866122 w 8622239"/>
                <a:gd name="connsiteY1270" fmla="*/ 1296896 h 8562303"/>
                <a:gd name="connsiteX1271" fmla="*/ 822134 w 8622239"/>
                <a:gd name="connsiteY1271" fmla="*/ 1258255 h 8562303"/>
                <a:gd name="connsiteX1272" fmla="*/ 828344 w 8622239"/>
                <a:gd name="connsiteY1272" fmla="*/ 1153030 h 8562303"/>
                <a:gd name="connsiteX1273" fmla="*/ 837314 w 8622239"/>
                <a:gd name="connsiteY1273" fmla="*/ 1118702 h 8562303"/>
                <a:gd name="connsiteX1274" fmla="*/ 916319 w 8622239"/>
                <a:gd name="connsiteY1274" fmla="*/ 1088687 h 8562303"/>
                <a:gd name="connsiteX1275" fmla="*/ 954960 w 8622239"/>
                <a:gd name="connsiteY1275" fmla="*/ 1091619 h 8562303"/>
                <a:gd name="connsiteX1276" fmla="*/ 979282 w 8622239"/>
                <a:gd name="connsiteY1276" fmla="*/ 1098002 h 8562303"/>
                <a:gd name="connsiteX1277" fmla="*/ 1014473 w 8622239"/>
                <a:gd name="connsiteY1277" fmla="*/ 1086617 h 8562303"/>
                <a:gd name="connsiteX1278" fmla="*/ 1023443 w 8622239"/>
                <a:gd name="connsiteY1278" fmla="*/ 1030381 h 8562303"/>
                <a:gd name="connsiteX1279" fmla="*/ 968587 w 8622239"/>
                <a:gd name="connsiteY1279" fmla="*/ 986048 h 8562303"/>
                <a:gd name="connsiteX1280" fmla="*/ 962032 w 8622239"/>
                <a:gd name="connsiteY1280" fmla="*/ 987256 h 8562303"/>
                <a:gd name="connsiteX1281" fmla="*/ 895619 w 8622239"/>
                <a:gd name="connsiteY1281" fmla="*/ 995363 h 8562303"/>
                <a:gd name="connsiteX1282" fmla="*/ 872504 w 8622239"/>
                <a:gd name="connsiteY1282" fmla="*/ 988118 h 8562303"/>
                <a:gd name="connsiteX1283" fmla="*/ 871469 w 8622239"/>
                <a:gd name="connsiteY1283" fmla="*/ 971041 h 8562303"/>
                <a:gd name="connsiteX1284" fmla="*/ 871814 w 8622239"/>
                <a:gd name="connsiteY1284" fmla="*/ 969488 h 8562303"/>
                <a:gd name="connsiteX1285" fmla="*/ 871814 w 8622239"/>
                <a:gd name="connsiteY1285" fmla="*/ 963106 h 8562303"/>
                <a:gd name="connsiteX1286" fmla="*/ 871124 w 8622239"/>
                <a:gd name="connsiteY1286" fmla="*/ 884618 h 8562303"/>
                <a:gd name="connsiteX1287" fmla="*/ 888547 w 8622239"/>
                <a:gd name="connsiteY1287" fmla="*/ 867195 h 8562303"/>
                <a:gd name="connsiteX1288" fmla="*/ 902692 w 8622239"/>
                <a:gd name="connsiteY1288" fmla="*/ 863573 h 8562303"/>
                <a:gd name="connsiteX1289" fmla="*/ 940297 w 8622239"/>
                <a:gd name="connsiteY1289" fmla="*/ 861675 h 8562303"/>
                <a:gd name="connsiteX1290" fmla="*/ 957375 w 8622239"/>
                <a:gd name="connsiteY1290" fmla="*/ 862365 h 8562303"/>
                <a:gd name="connsiteX1291" fmla="*/ 1117801 w 8622239"/>
                <a:gd name="connsiteY1291" fmla="*/ 858225 h 8562303"/>
                <a:gd name="connsiteX1292" fmla="*/ 1203189 w 8622239"/>
                <a:gd name="connsiteY1292" fmla="*/ 856155 h 8562303"/>
                <a:gd name="connsiteX1293" fmla="*/ 1227512 w 8622239"/>
                <a:gd name="connsiteY1293" fmla="*/ 848220 h 8562303"/>
                <a:gd name="connsiteX1294" fmla="*/ 1231134 w 8622239"/>
                <a:gd name="connsiteY1294" fmla="*/ 819930 h 8562303"/>
                <a:gd name="connsiteX1295" fmla="*/ 1229582 w 8622239"/>
                <a:gd name="connsiteY1295" fmla="*/ 804060 h 8562303"/>
                <a:gd name="connsiteX1296" fmla="*/ 1274777 w 8622239"/>
                <a:gd name="connsiteY1296" fmla="*/ 832350 h 8562303"/>
                <a:gd name="connsiteX1297" fmla="*/ 1284437 w 8622239"/>
                <a:gd name="connsiteY1297" fmla="*/ 841665 h 8562303"/>
                <a:gd name="connsiteX1298" fmla="*/ 1287025 w 8622239"/>
                <a:gd name="connsiteY1298" fmla="*/ 843562 h 8562303"/>
                <a:gd name="connsiteX1299" fmla="*/ 1289612 w 8622239"/>
                <a:gd name="connsiteY1299" fmla="*/ 843735 h 8562303"/>
                <a:gd name="connsiteX1300" fmla="*/ 1341708 w 8622239"/>
                <a:gd name="connsiteY1300" fmla="*/ 797160 h 8562303"/>
                <a:gd name="connsiteX1301" fmla="*/ 1413813 w 8622239"/>
                <a:gd name="connsiteY1301" fmla="*/ 746962 h 8562303"/>
                <a:gd name="connsiteX1302" fmla="*/ 1436411 w 8622239"/>
                <a:gd name="connsiteY1302" fmla="*/ 778874 h 8562303"/>
                <a:gd name="connsiteX1303" fmla="*/ 1439861 w 8622239"/>
                <a:gd name="connsiteY1303" fmla="*/ 793882 h 8562303"/>
                <a:gd name="connsiteX1304" fmla="*/ 1451936 w 8622239"/>
                <a:gd name="connsiteY1304" fmla="*/ 808890 h 8562303"/>
                <a:gd name="connsiteX1305" fmla="*/ 1472808 w 8622239"/>
                <a:gd name="connsiteY1305" fmla="*/ 834937 h 8562303"/>
                <a:gd name="connsiteX1306" fmla="*/ 1487471 w 8622239"/>
                <a:gd name="connsiteY1306" fmla="*/ 852705 h 8562303"/>
                <a:gd name="connsiteX1307" fmla="*/ 1509379 w 8622239"/>
                <a:gd name="connsiteY1307" fmla="*/ 882720 h 8562303"/>
                <a:gd name="connsiteX1308" fmla="*/ 1522834 w 8622239"/>
                <a:gd name="connsiteY1308" fmla="*/ 926018 h 8562303"/>
                <a:gd name="connsiteX1309" fmla="*/ 1543362 w 8622239"/>
                <a:gd name="connsiteY1309" fmla="*/ 942923 h 8562303"/>
                <a:gd name="connsiteX1310" fmla="*/ 1591144 w 8622239"/>
                <a:gd name="connsiteY1310" fmla="*/ 983288 h 8562303"/>
                <a:gd name="connsiteX1311" fmla="*/ 1643412 w 8622239"/>
                <a:gd name="connsiteY1311" fmla="*/ 1025034 h 8562303"/>
                <a:gd name="connsiteX1312" fmla="*/ 1675842 w 8622239"/>
                <a:gd name="connsiteY1312" fmla="*/ 1031934 h 8562303"/>
                <a:gd name="connsiteX1313" fmla="*/ 1713793 w 8622239"/>
                <a:gd name="connsiteY1313" fmla="*/ 1028484 h 8562303"/>
                <a:gd name="connsiteX1314" fmla="*/ 1730870 w 8622239"/>
                <a:gd name="connsiteY1314" fmla="*/ 1026586 h 8562303"/>
                <a:gd name="connsiteX1315" fmla="*/ 1758816 w 8622239"/>
                <a:gd name="connsiteY1315" fmla="*/ 1002954 h 8562303"/>
                <a:gd name="connsiteX1316" fmla="*/ 1792971 w 8622239"/>
                <a:gd name="connsiteY1316" fmla="*/ 973456 h 8562303"/>
                <a:gd name="connsiteX1317" fmla="*/ 1804528 w 8622239"/>
                <a:gd name="connsiteY1317" fmla="*/ 973283 h 8562303"/>
                <a:gd name="connsiteX1318" fmla="*/ 1825573 w 8622239"/>
                <a:gd name="connsiteY1318" fmla="*/ 975871 h 8562303"/>
                <a:gd name="connsiteX1319" fmla="*/ 1825919 w 8622239"/>
                <a:gd name="connsiteY1319" fmla="*/ 980356 h 8562303"/>
                <a:gd name="connsiteX1320" fmla="*/ 1821433 w 8622239"/>
                <a:gd name="connsiteY1320" fmla="*/ 996744 h 8562303"/>
                <a:gd name="connsiteX1321" fmla="*/ 1820743 w 8622239"/>
                <a:gd name="connsiteY1321" fmla="*/ 1044526 h 8562303"/>
                <a:gd name="connsiteX1322" fmla="*/ 1822813 w 8622239"/>
                <a:gd name="connsiteY1322" fmla="*/ 1047286 h 8562303"/>
                <a:gd name="connsiteX1323" fmla="*/ 1825228 w 8622239"/>
                <a:gd name="connsiteY1323" fmla="*/ 1048149 h 8562303"/>
                <a:gd name="connsiteX1324" fmla="*/ 1867319 w 8622239"/>
                <a:gd name="connsiteY1324" fmla="*/ 1043319 h 8562303"/>
                <a:gd name="connsiteX1325" fmla="*/ 1875254 w 8622239"/>
                <a:gd name="connsiteY1325" fmla="*/ 1023654 h 8562303"/>
                <a:gd name="connsiteX1326" fmla="*/ 1891641 w 8622239"/>
                <a:gd name="connsiteY1326" fmla="*/ 998641 h 8562303"/>
                <a:gd name="connsiteX1327" fmla="*/ 1917689 w 8622239"/>
                <a:gd name="connsiteY1327" fmla="*/ 966211 h 8562303"/>
                <a:gd name="connsiteX1328" fmla="*/ 2003940 w 8622239"/>
                <a:gd name="connsiteY1328" fmla="*/ 903938 h 8562303"/>
                <a:gd name="connsiteX1329" fmla="*/ 2004802 w 8622239"/>
                <a:gd name="connsiteY1329" fmla="*/ 903938 h 8562303"/>
                <a:gd name="connsiteX1330" fmla="*/ 2060003 w 8622239"/>
                <a:gd name="connsiteY1330" fmla="*/ 879788 h 8562303"/>
                <a:gd name="connsiteX1331" fmla="*/ 2085533 w 8622239"/>
                <a:gd name="connsiteY1331" fmla="*/ 857190 h 8562303"/>
                <a:gd name="connsiteX1332" fmla="*/ 2103473 w 8622239"/>
                <a:gd name="connsiteY1332" fmla="*/ 862538 h 8562303"/>
                <a:gd name="connsiteX1333" fmla="*/ 2135731 w 8622239"/>
                <a:gd name="connsiteY1333" fmla="*/ 847530 h 8562303"/>
                <a:gd name="connsiteX1334" fmla="*/ 2141768 w 8622239"/>
                <a:gd name="connsiteY1334" fmla="*/ 843045 h 8562303"/>
                <a:gd name="connsiteX1335" fmla="*/ 2179374 w 8622239"/>
                <a:gd name="connsiteY1335" fmla="*/ 769042 h 8562303"/>
                <a:gd name="connsiteX1336" fmla="*/ 2194899 w 8622239"/>
                <a:gd name="connsiteY1336" fmla="*/ 744374 h 8562303"/>
                <a:gd name="connsiteX1337" fmla="*/ 2253549 w 8622239"/>
                <a:gd name="connsiteY1337" fmla="*/ 722639 h 8562303"/>
                <a:gd name="connsiteX1338" fmla="*/ 2280804 w 8622239"/>
                <a:gd name="connsiteY1338" fmla="*/ 711081 h 8562303"/>
                <a:gd name="connsiteX1339" fmla="*/ 2329105 w 8622239"/>
                <a:gd name="connsiteY1339" fmla="*/ 682101 h 8562303"/>
                <a:gd name="connsiteX1340" fmla="*/ 2367400 w 8622239"/>
                <a:gd name="connsiteY1340" fmla="*/ 695901 h 8562303"/>
                <a:gd name="connsiteX1341" fmla="*/ 2417425 w 8622239"/>
                <a:gd name="connsiteY1341" fmla="*/ 720914 h 8562303"/>
                <a:gd name="connsiteX1342" fmla="*/ 2445543 w 8622239"/>
                <a:gd name="connsiteY1342" fmla="*/ 731782 h 8562303"/>
                <a:gd name="connsiteX1343" fmla="*/ 2460723 w 8622239"/>
                <a:gd name="connsiteY1343" fmla="*/ 731609 h 8562303"/>
                <a:gd name="connsiteX1344" fmla="*/ 2475731 w 8622239"/>
                <a:gd name="connsiteY1344" fmla="*/ 733334 h 8562303"/>
                <a:gd name="connsiteX1345" fmla="*/ 2478318 w 8622239"/>
                <a:gd name="connsiteY1345" fmla="*/ 736957 h 8562303"/>
                <a:gd name="connsiteX1346" fmla="*/ 2478146 w 8622239"/>
                <a:gd name="connsiteY1346" fmla="*/ 739717 h 8562303"/>
                <a:gd name="connsiteX1347" fmla="*/ 2469003 w 8622239"/>
                <a:gd name="connsiteY1347" fmla="*/ 805785 h 8562303"/>
                <a:gd name="connsiteX1348" fmla="*/ 2469866 w 8622239"/>
                <a:gd name="connsiteY1348" fmla="*/ 818205 h 8562303"/>
                <a:gd name="connsiteX1349" fmla="*/ 2502986 w 8622239"/>
                <a:gd name="connsiteY1349" fmla="*/ 904110 h 8562303"/>
                <a:gd name="connsiteX1350" fmla="*/ 2518511 w 8622239"/>
                <a:gd name="connsiteY1350" fmla="*/ 985703 h 8562303"/>
                <a:gd name="connsiteX1351" fmla="*/ 2514716 w 8622239"/>
                <a:gd name="connsiteY1351" fmla="*/ 1005714 h 8562303"/>
                <a:gd name="connsiteX1352" fmla="*/ 2508506 w 8622239"/>
                <a:gd name="connsiteY1352" fmla="*/ 1040904 h 8562303"/>
                <a:gd name="connsiteX1353" fmla="*/ 2516786 w 8622239"/>
                <a:gd name="connsiteY1353" fmla="*/ 1109214 h 8562303"/>
                <a:gd name="connsiteX1354" fmla="*/ 2514199 w 8622239"/>
                <a:gd name="connsiteY1354" fmla="*/ 1161137 h 8562303"/>
                <a:gd name="connsiteX1355" fmla="*/ 2518338 w 8622239"/>
                <a:gd name="connsiteY1355" fmla="*/ 1182010 h 8562303"/>
                <a:gd name="connsiteX1356" fmla="*/ 2556116 w 8622239"/>
                <a:gd name="connsiteY1356" fmla="*/ 1255323 h 8562303"/>
                <a:gd name="connsiteX1357" fmla="*/ 2564741 w 8622239"/>
                <a:gd name="connsiteY1357" fmla="*/ 1284303 h 8562303"/>
                <a:gd name="connsiteX1358" fmla="*/ 2561809 w 8622239"/>
                <a:gd name="connsiteY1358" fmla="*/ 1287753 h 8562303"/>
                <a:gd name="connsiteX1359" fmla="*/ 2546456 w 8622239"/>
                <a:gd name="connsiteY1359" fmla="*/ 1316561 h 8562303"/>
                <a:gd name="connsiteX1360" fmla="*/ 2591824 w 8622239"/>
                <a:gd name="connsiteY1360" fmla="*/ 1382629 h 8562303"/>
                <a:gd name="connsiteX1361" fmla="*/ 2653407 w 8622239"/>
                <a:gd name="connsiteY1361" fmla="*/ 1431274 h 8562303"/>
                <a:gd name="connsiteX1362" fmla="*/ 2697567 w 8622239"/>
                <a:gd name="connsiteY1362" fmla="*/ 1478022 h 8562303"/>
                <a:gd name="connsiteX1363" fmla="*/ 2697740 w 8622239"/>
                <a:gd name="connsiteY1363" fmla="*/ 1478022 h 8562303"/>
                <a:gd name="connsiteX1364" fmla="*/ 2717233 w 8622239"/>
                <a:gd name="connsiteY1364" fmla="*/ 1470087 h 8562303"/>
                <a:gd name="connsiteX1365" fmla="*/ 2736725 w 8622239"/>
                <a:gd name="connsiteY1365" fmla="*/ 1398671 h 8562303"/>
                <a:gd name="connsiteX1366" fmla="*/ 2737933 w 8622239"/>
                <a:gd name="connsiteY1366" fmla="*/ 1352786 h 8562303"/>
                <a:gd name="connsiteX1367" fmla="*/ 2741210 w 8622239"/>
                <a:gd name="connsiteY1367" fmla="*/ 1326738 h 8562303"/>
                <a:gd name="connsiteX1368" fmla="*/ 2743625 w 8622239"/>
                <a:gd name="connsiteY1368" fmla="*/ 1318458 h 8562303"/>
                <a:gd name="connsiteX1369" fmla="*/ 2744488 w 8622239"/>
                <a:gd name="connsiteY1369" fmla="*/ 1316561 h 8562303"/>
                <a:gd name="connsiteX1370" fmla="*/ 2825736 w 8622239"/>
                <a:gd name="connsiteY1370" fmla="*/ 1266881 h 8562303"/>
                <a:gd name="connsiteX1371" fmla="*/ 2855924 w 8622239"/>
                <a:gd name="connsiteY1371" fmla="*/ 1264466 h 8562303"/>
                <a:gd name="connsiteX1372" fmla="*/ 2876279 w 8622239"/>
                <a:gd name="connsiteY1372" fmla="*/ 1284303 h 8562303"/>
                <a:gd name="connsiteX1373" fmla="*/ 2942864 w 8622239"/>
                <a:gd name="connsiteY1373" fmla="*/ 1335191 h 8562303"/>
                <a:gd name="connsiteX1374" fmla="*/ 2974087 w 8622239"/>
                <a:gd name="connsiteY1374" fmla="*/ 1328119 h 8562303"/>
                <a:gd name="connsiteX1375" fmla="*/ 3011347 w 8622239"/>
                <a:gd name="connsiteY1375" fmla="*/ 1309833 h 8562303"/>
                <a:gd name="connsiteX1376" fmla="*/ 3031357 w 8622239"/>
                <a:gd name="connsiteY1376" fmla="*/ 1287408 h 8562303"/>
                <a:gd name="connsiteX1377" fmla="*/ 3026182 w 8622239"/>
                <a:gd name="connsiteY1377" fmla="*/ 1276023 h 8562303"/>
                <a:gd name="connsiteX1378" fmla="*/ 3003757 w 8622239"/>
                <a:gd name="connsiteY1378" fmla="*/ 1241350 h 8562303"/>
                <a:gd name="connsiteX1379" fmla="*/ 3010140 w 8622239"/>
                <a:gd name="connsiteY1379" fmla="*/ 1225998 h 8562303"/>
                <a:gd name="connsiteX1380" fmla="*/ 3040327 w 8622239"/>
                <a:gd name="connsiteY1380" fmla="*/ 1161655 h 8562303"/>
                <a:gd name="connsiteX1381" fmla="*/ 3061200 w 8622239"/>
                <a:gd name="connsiteY1381" fmla="*/ 1116632 h 8562303"/>
                <a:gd name="connsiteX1382" fmla="*/ 3073620 w 8622239"/>
                <a:gd name="connsiteY1382" fmla="*/ 1106454 h 8562303"/>
                <a:gd name="connsiteX1383" fmla="*/ 3106740 w 8622239"/>
                <a:gd name="connsiteY1383" fmla="*/ 1104557 h 8562303"/>
                <a:gd name="connsiteX1384" fmla="*/ 3303047 w 8622239"/>
                <a:gd name="connsiteY1384" fmla="*/ 1104557 h 8562303"/>
                <a:gd name="connsiteX1385" fmla="*/ 3303564 w 8622239"/>
                <a:gd name="connsiteY1385" fmla="*/ 1105419 h 8562303"/>
                <a:gd name="connsiteX1386" fmla="*/ 3304427 w 8622239"/>
                <a:gd name="connsiteY1386" fmla="*/ 1105419 h 8562303"/>
                <a:gd name="connsiteX1387" fmla="*/ 3319779 w 8622239"/>
                <a:gd name="connsiteY1387" fmla="*/ 1160102 h 8562303"/>
                <a:gd name="connsiteX1388" fmla="*/ 3317192 w 8622239"/>
                <a:gd name="connsiteY1388" fmla="*/ 1205988 h 8562303"/>
                <a:gd name="connsiteX1389" fmla="*/ 3339445 w 8622239"/>
                <a:gd name="connsiteY1389" fmla="*/ 1249458 h 8562303"/>
                <a:gd name="connsiteX1390" fmla="*/ 3383777 w 8622239"/>
                <a:gd name="connsiteY1390" fmla="*/ 1291721 h 8562303"/>
                <a:gd name="connsiteX1391" fmla="*/ 3436218 w 8622239"/>
                <a:gd name="connsiteY1391" fmla="*/ 1377281 h 8562303"/>
                <a:gd name="connsiteX1392" fmla="*/ 3561109 w 8622239"/>
                <a:gd name="connsiteY1392" fmla="*/ 1454734 h 8562303"/>
                <a:gd name="connsiteX1393" fmla="*/ 3686172 w 8622239"/>
                <a:gd name="connsiteY1393" fmla="*/ 1525115 h 8562303"/>
                <a:gd name="connsiteX1394" fmla="*/ 3726710 w 8622239"/>
                <a:gd name="connsiteY1394" fmla="*/ 1544263 h 8562303"/>
                <a:gd name="connsiteX1395" fmla="*/ 3747410 w 8622239"/>
                <a:gd name="connsiteY1395" fmla="*/ 1556683 h 8562303"/>
                <a:gd name="connsiteX1396" fmla="*/ 3752930 w 8622239"/>
                <a:gd name="connsiteY1396" fmla="*/ 1561340 h 8562303"/>
                <a:gd name="connsiteX1397" fmla="*/ 3753620 w 8622239"/>
                <a:gd name="connsiteY1397" fmla="*/ 1562203 h 8562303"/>
                <a:gd name="connsiteX1398" fmla="*/ 3784325 w 8622239"/>
                <a:gd name="connsiteY1398" fmla="*/ 1599290 h 8562303"/>
                <a:gd name="connsiteX1399" fmla="*/ 3828141 w 8622239"/>
                <a:gd name="connsiteY1399" fmla="*/ 1625511 h 8562303"/>
                <a:gd name="connsiteX1400" fmla="*/ 3874026 w 8622239"/>
                <a:gd name="connsiteY1400" fmla="*/ 1619128 h 8562303"/>
                <a:gd name="connsiteX1401" fmla="*/ 3880581 w 8622239"/>
                <a:gd name="connsiteY1401" fmla="*/ 1619991 h 8562303"/>
                <a:gd name="connsiteX1402" fmla="*/ 3671509 w 8622239"/>
                <a:gd name="connsiteY1402" fmla="*/ 2100752 h 8562303"/>
                <a:gd name="connsiteX1403" fmla="*/ 3471063 w 8622239"/>
                <a:gd name="connsiteY1403" fmla="*/ 2548910 h 8562303"/>
                <a:gd name="connsiteX1404" fmla="*/ 3425350 w 8622239"/>
                <a:gd name="connsiteY1404" fmla="*/ 2627225 h 8562303"/>
                <a:gd name="connsiteX1405" fmla="*/ 3425523 w 8622239"/>
                <a:gd name="connsiteY1405" fmla="*/ 2630676 h 8562303"/>
                <a:gd name="connsiteX1406" fmla="*/ 3464163 w 8622239"/>
                <a:gd name="connsiteY1406" fmla="*/ 2680356 h 8562303"/>
                <a:gd name="connsiteX1407" fmla="*/ 3496593 w 8622239"/>
                <a:gd name="connsiteY1407" fmla="*/ 2733659 h 8562303"/>
                <a:gd name="connsiteX1408" fmla="*/ 3495558 w 8622239"/>
                <a:gd name="connsiteY1408" fmla="*/ 2739179 h 8562303"/>
                <a:gd name="connsiteX1409" fmla="*/ 3456228 w 8622239"/>
                <a:gd name="connsiteY1409" fmla="*/ 2821634 h 8562303"/>
                <a:gd name="connsiteX1410" fmla="*/ 3450535 w 8622239"/>
                <a:gd name="connsiteY1410" fmla="*/ 2888737 h 8562303"/>
                <a:gd name="connsiteX1411" fmla="*/ 3450535 w 8622239"/>
                <a:gd name="connsiteY1411" fmla="*/ 2954460 h 8562303"/>
                <a:gd name="connsiteX1412" fmla="*/ 3439495 w 8622239"/>
                <a:gd name="connsiteY1412" fmla="*/ 2994136 h 8562303"/>
                <a:gd name="connsiteX1413" fmla="*/ 3441910 w 8622239"/>
                <a:gd name="connsiteY1413" fmla="*/ 3017596 h 8562303"/>
                <a:gd name="connsiteX1414" fmla="*/ 3407928 w 8622239"/>
                <a:gd name="connsiteY1414" fmla="*/ 3047783 h 8562303"/>
                <a:gd name="connsiteX1415" fmla="*/ 3381535 w 8622239"/>
                <a:gd name="connsiteY1415" fmla="*/ 3050371 h 8562303"/>
                <a:gd name="connsiteX1416" fmla="*/ 3323057 w 8622239"/>
                <a:gd name="connsiteY1416" fmla="*/ 3042264 h 8562303"/>
                <a:gd name="connsiteX1417" fmla="*/ 2978572 w 8622239"/>
                <a:gd name="connsiteY1417" fmla="*/ 3045023 h 8562303"/>
                <a:gd name="connsiteX1418" fmla="*/ 2743798 w 8622239"/>
                <a:gd name="connsiteY1418" fmla="*/ 3050544 h 8562303"/>
                <a:gd name="connsiteX1419" fmla="*/ 2741383 w 8622239"/>
                <a:gd name="connsiteY1419" fmla="*/ 3054166 h 8562303"/>
                <a:gd name="connsiteX1420" fmla="*/ 2730688 w 8622239"/>
                <a:gd name="connsiteY1420" fmla="*/ 3065206 h 8562303"/>
                <a:gd name="connsiteX1421" fmla="*/ 2699465 w 8622239"/>
                <a:gd name="connsiteY1421" fmla="*/ 3080386 h 8562303"/>
                <a:gd name="connsiteX1422" fmla="*/ 2690495 w 8622239"/>
                <a:gd name="connsiteY1422" fmla="*/ 3081249 h 8562303"/>
                <a:gd name="connsiteX1423" fmla="*/ 2647197 w 8622239"/>
                <a:gd name="connsiteY1423" fmla="*/ 3049681 h 8562303"/>
                <a:gd name="connsiteX1424" fmla="*/ 2607522 w 8622239"/>
                <a:gd name="connsiteY1424" fmla="*/ 2994308 h 8562303"/>
                <a:gd name="connsiteX1425" fmla="*/ 2562499 w 8622239"/>
                <a:gd name="connsiteY1425" fmla="*/ 2978265 h 8562303"/>
                <a:gd name="connsiteX1426" fmla="*/ 2536624 w 8622239"/>
                <a:gd name="connsiteY1426" fmla="*/ 2970158 h 8562303"/>
                <a:gd name="connsiteX1427" fmla="*/ 2461931 w 8622239"/>
                <a:gd name="connsiteY1427" fmla="*/ 2907022 h 8562303"/>
                <a:gd name="connsiteX1428" fmla="*/ 2375680 w 8622239"/>
                <a:gd name="connsiteY1428" fmla="*/ 2891497 h 8562303"/>
                <a:gd name="connsiteX1429" fmla="*/ 2339800 w 8622239"/>
                <a:gd name="connsiteY1429" fmla="*/ 2914612 h 8562303"/>
                <a:gd name="connsiteX1430" fmla="*/ 2296502 w 8622239"/>
                <a:gd name="connsiteY1430" fmla="*/ 2952390 h 8562303"/>
                <a:gd name="connsiteX1431" fmla="*/ 2253894 w 8622239"/>
                <a:gd name="connsiteY1431" fmla="*/ 2969813 h 8562303"/>
                <a:gd name="connsiteX1432" fmla="*/ 2250617 w 8622239"/>
                <a:gd name="connsiteY1432" fmla="*/ 2970675 h 8562303"/>
                <a:gd name="connsiteX1433" fmla="*/ 2248892 w 8622239"/>
                <a:gd name="connsiteY1433" fmla="*/ 2973608 h 8562303"/>
                <a:gd name="connsiteX1434" fmla="*/ 2231987 w 8622239"/>
                <a:gd name="connsiteY1434" fmla="*/ 3036743 h 8562303"/>
                <a:gd name="connsiteX1435" fmla="*/ 2234056 w 8622239"/>
                <a:gd name="connsiteY1435" fmla="*/ 3055719 h 8562303"/>
                <a:gd name="connsiteX1436" fmla="*/ 2235264 w 8622239"/>
                <a:gd name="connsiteY1436" fmla="*/ 3067449 h 8562303"/>
                <a:gd name="connsiteX1437" fmla="*/ 2223707 w 8622239"/>
                <a:gd name="connsiteY1437" fmla="*/ 3110747 h 8562303"/>
                <a:gd name="connsiteX1438" fmla="*/ 2200936 w 8622239"/>
                <a:gd name="connsiteY1438" fmla="*/ 3130584 h 8562303"/>
                <a:gd name="connsiteX1439" fmla="*/ 2195589 w 8622239"/>
                <a:gd name="connsiteY1439" fmla="*/ 3129376 h 8562303"/>
                <a:gd name="connsiteX1440" fmla="*/ 2167989 w 8622239"/>
                <a:gd name="connsiteY1440" fmla="*/ 3124202 h 8562303"/>
                <a:gd name="connsiteX1441" fmla="*/ 2112443 w 8622239"/>
                <a:gd name="connsiteY1441" fmla="*/ 3135932 h 8562303"/>
                <a:gd name="connsiteX1442" fmla="*/ 2080358 w 8622239"/>
                <a:gd name="connsiteY1442" fmla="*/ 3124892 h 8562303"/>
                <a:gd name="connsiteX1443" fmla="*/ 2056380 w 8622239"/>
                <a:gd name="connsiteY1443" fmla="*/ 3143004 h 8562303"/>
                <a:gd name="connsiteX1444" fmla="*/ 2035680 w 8622239"/>
                <a:gd name="connsiteY1444" fmla="*/ 3193375 h 8562303"/>
                <a:gd name="connsiteX1445" fmla="*/ 2022742 w 8622239"/>
                <a:gd name="connsiteY1445" fmla="*/ 3215110 h 8562303"/>
                <a:gd name="connsiteX1446" fmla="*/ 2017567 w 8622239"/>
                <a:gd name="connsiteY1446" fmla="*/ 3220630 h 8562303"/>
                <a:gd name="connsiteX1447" fmla="*/ 2016877 w 8622239"/>
                <a:gd name="connsiteY1447" fmla="*/ 3220975 h 8562303"/>
                <a:gd name="connsiteX1448" fmla="*/ 1974442 w 8622239"/>
                <a:gd name="connsiteY1448" fmla="*/ 3203552 h 8562303"/>
                <a:gd name="connsiteX1449" fmla="*/ 1950982 w 8622239"/>
                <a:gd name="connsiteY1449" fmla="*/ 3211487 h 8562303"/>
                <a:gd name="connsiteX1450" fmla="*/ 1876461 w 8622239"/>
                <a:gd name="connsiteY1450" fmla="*/ 3252887 h 8562303"/>
                <a:gd name="connsiteX1451" fmla="*/ 1744843 w 8622239"/>
                <a:gd name="connsiteY1451" fmla="*/ 3236500 h 8562303"/>
                <a:gd name="connsiteX1452" fmla="*/ 1683778 w 8622239"/>
                <a:gd name="connsiteY1452" fmla="*/ 3290320 h 8562303"/>
                <a:gd name="connsiteX1453" fmla="*/ 1648415 w 8622239"/>
                <a:gd name="connsiteY1453" fmla="*/ 3309813 h 8562303"/>
                <a:gd name="connsiteX1454" fmla="*/ 1600459 w 8622239"/>
                <a:gd name="connsiteY1454" fmla="*/ 3329478 h 8562303"/>
                <a:gd name="connsiteX1455" fmla="*/ 1357405 w 8622239"/>
                <a:gd name="connsiteY1455" fmla="*/ 3233222 h 8562303"/>
                <a:gd name="connsiteX1456" fmla="*/ 1191459 w 8622239"/>
                <a:gd name="connsiteY1456" fmla="*/ 3163359 h 8562303"/>
                <a:gd name="connsiteX1457" fmla="*/ 1106761 w 8622239"/>
                <a:gd name="connsiteY1457" fmla="*/ 3120407 h 8562303"/>
                <a:gd name="connsiteX1458" fmla="*/ 859049 w 8622239"/>
                <a:gd name="connsiteY1458" fmla="*/ 3004486 h 8562303"/>
                <a:gd name="connsiteX1459" fmla="*/ 369318 w 8622239"/>
                <a:gd name="connsiteY1459" fmla="*/ 2901330 h 8562303"/>
                <a:gd name="connsiteX1460" fmla="*/ 69166 w 8622239"/>
                <a:gd name="connsiteY1460" fmla="*/ 2803694 h 8562303"/>
                <a:gd name="connsiteX1461" fmla="*/ 148516 w 8622239"/>
                <a:gd name="connsiteY1461" fmla="*/ 2751426 h 8562303"/>
                <a:gd name="connsiteX1462" fmla="*/ 5133630 w 8622239"/>
                <a:gd name="connsiteY1462" fmla="*/ 7664434 h 8562303"/>
                <a:gd name="connsiteX1463" fmla="*/ 5023747 w 8622239"/>
                <a:gd name="connsiteY1463" fmla="*/ 7897311 h 8562303"/>
                <a:gd name="connsiteX1464" fmla="*/ 4906273 w 8622239"/>
                <a:gd name="connsiteY1464" fmla="*/ 8038762 h 8562303"/>
                <a:gd name="connsiteX1465" fmla="*/ 4742225 w 8622239"/>
                <a:gd name="connsiteY1465" fmla="*/ 8171243 h 8562303"/>
                <a:gd name="connsiteX1466" fmla="*/ 4708760 w 8622239"/>
                <a:gd name="connsiteY1466" fmla="*/ 8193669 h 8562303"/>
                <a:gd name="connsiteX1467" fmla="*/ 4662702 w 8622239"/>
                <a:gd name="connsiteY1467" fmla="*/ 8238691 h 8562303"/>
                <a:gd name="connsiteX1468" fmla="*/ 4628374 w 8622239"/>
                <a:gd name="connsiteY1468" fmla="*/ 8329772 h 8562303"/>
                <a:gd name="connsiteX1469" fmla="*/ 4600084 w 8622239"/>
                <a:gd name="connsiteY1469" fmla="*/ 8402050 h 8562303"/>
                <a:gd name="connsiteX1470" fmla="*/ 4539363 w 8622239"/>
                <a:gd name="connsiteY1470" fmla="*/ 8463633 h 8562303"/>
                <a:gd name="connsiteX1471" fmla="*/ 4495203 w 8622239"/>
                <a:gd name="connsiteY1471" fmla="*/ 8507966 h 8562303"/>
                <a:gd name="connsiteX1472" fmla="*/ 4449490 w 8622239"/>
                <a:gd name="connsiteY1472" fmla="*/ 8538498 h 8562303"/>
                <a:gd name="connsiteX1473" fmla="*/ 4438795 w 8622239"/>
                <a:gd name="connsiteY1473" fmla="*/ 8543155 h 8562303"/>
                <a:gd name="connsiteX1474" fmla="*/ 4426030 w 8622239"/>
                <a:gd name="connsiteY1474" fmla="*/ 8508138 h 8562303"/>
                <a:gd name="connsiteX1475" fmla="*/ 4445523 w 8622239"/>
                <a:gd name="connsiteY1475" fmla="*/ 8405327 h 8562303"/>
                <a:gd name="connsiteX1476" fmla="*/ 4507796 w 8622239"/>
                <a:gd name="connsiteY1476" fmla="*/ 8345642 h 8562303"/>
                <a:gd name="connsiteX1477" fmla="*/ 4499688 w 8622239"/>
                <a:gd name="connsiteY1477" fmla="*/ 8326840 h 8562303"/>
                <a:gd name="connsiteX1478" fmla="*/ 4469155 w 8622239"/>
                <a:gd name="connsiteY1478" fmla="*/ 8288199 h 8562303"/>
                <a:gd name="connsiteX1479" fmla="*/ 4437760 w 8622239"/>
                <a:gd name="connsiteY1479" fmla="*/ 8274572 h 8562303"/>
                <a:gd name="connsiteX1480" fmla="*/ 4407400 w 8622239"/>
                <a:gd name="connsiteY1480" fmla="*/ 8177971 h 8562303"/>
                <a:gd name="connsiteX1481" fmla="*/ 4333742 w 8622239"/>
                <a:gd name="connsiteY1481" fmla="*/ 8137950 h 8562303"/>
                <a:gd name="connsiteX1482" fmla="*/ 4271814 w 8622239"/>
                <a:gd name="connsiteY1482" fmla="*/ 8084130 h 8562303"/>
                <a:gd name="connsiteX1483" fmla="*/ 4243869 w 8622239"/>
                <a:gd name="connsiteY1483" fmla="*/ 8051873 h 8562303"/>
                <a:gd name="connsiteX1484" fmla="*/ 4228344 w 8622239"/>
                <a:gd name="connsiteY1484" fmla="*/ 8042557 h 8562303"/>
                <a:gd name="connsiteX1485" fmla="*/ 4173143 w 8622239"/>
                <a:gd name="connsiteY1485" fmla="*/ 8002710 h 8562303"/>
                <a:gd name="connsiteX1486" fmla="*/ 4172971 w 8622239"/>
                <a:gd name="connsiteY1486" fmla="*/ 8002710 h 8562303"/>
                <a:gd name="connsiteX1487" fmla="*/ 4161068 w 8622239"/>
                <a:gd name="connsiteY1487" fmla="*/ 8003572 h 8562303"/>
                <a:gd name="connsiteX1488" fmla="*/ 4123118 w 8622239"/>
                <a:gd name="connsiteY1488" fmla="*/ 7989772 h 8562303"/>
                <a:gd name="connsiteX1489" fmla="*/ 4114320 w 8622239"/>
                <a:gd name="connsiteY1489" fmla="*/ 7983734 h 8562303"/>
                <a:gd name="connsiteX1490" fmla="*/ 4085512 w 8622239"/>
                <a:gd name="connsiteY1490" fmla="*/ 7943714 h 8562303"/>
                <a:gd name="connsiteX1491" fmla="*/ 4052737 w 8622239"/>
                <a:gd name="connsiteY1491" fmla="*/ 7906971 h 8562303"/>
                <a:gd name="connsiteX1492" fmla="*/ 4047217 w 8622239"/>
                <a:gd name="connsiteY1492" fmla="*/ 7905419 h 8562303"/>
                <a:gd name="connsiteX1493" fmla="*/ 4043595 w 8622239"/>
                <a:gd name="connsiteY1493" fmla="*/ 7907834 h 8562303"/>
                <a:gd name="connsiteX1494" fmla="*/ 3994259 w 8622239"/>
                <a:gd name="connsiteY1494" fmla="*/ 7953547 h 8562303"/>
                <a:gd name="connsiteX1495" fmla="*/ 3979769 w 8622239"/>
                <a:gd name="connsiteY1495" fmla="*/ 7951649 h 8562303"/>
                <a:gd name="connsiteX1496" fmla="*/ 3976319 w 8622239"/>
                <a:gd name="connsiteY1496" fmla="*/ 7939229 h 8562303"/>
                <a:gd name="connsiteX1497" fmla="*/ 3967004 w 8622239"/>
                <a:gd name="connsiteY1497" fmla="*/ 7875576 h 8562303"/>
                <a:gd name="connsiteX1498" fmla="*/ 3965452 w 8622239"/>
                <a:gd name="connsiteY1498" fmla="*/ 7872126 h 8562303"/>
                <a:gd name="connsiteX1499" fmla="*/ 3963381 w 8622239"/>
                <a:gd name="connsiteY1499" fmla="*/ 7870574 h 8562303"/>
                <a:gd name="connsiteX1500" fmla="*/ 3908699 w 8622239"/>
                <a:gd name="connsiteY1500" fmla="*/ 7814683 h 8562303"/>
                <a:gd name="connsiteX1501" fmla="*/ 3869713 w 8622239"/>
                <a:gd name="connsiteY1501" fmla="*/ 7777595 h 8562303"/>
                <a:gd name="connsiteX1502" fmla="*/ 3832971 w 8622239"/>
                <a:gd name="connsiteY1502" fmla="*/ 7749305 h 8562303"/>
                <a:gd name="connsiteX1503" fmla="*/ 3830556 w 8622239"/>
                <a:gd name="connsiteY1503" fmla="*/ 7744130 h 8562303"/>
                <a:gd name="connsiteX1504" fmla="*/ 3826243 w 8622239"/>
                <a:gd name="connsiteY1504" fmla="*/ 7743095 h 8562303"/>
                <a:gd name="connsiteX1505" fmla="*/ 3740855 w 8622239"/>
                <a:gd name="connsiteY1505" fmla="*/ 7776215 h 8562303"/>
                <a:gd name="connsiteX1506" fmla="*/ 3719120 w 8622239"/>
                <a:gd name="connsiteY1506" fmla="*/ 7785358 h 8562303"/>
                <a:gd name="connsiteX1507" fmla="*/ 3687897 w 8622239"/>
                <a:gd name="connsiteY1507" fmla="*/ 7780873 h 8562303"/>
                <a:gd name="connsiteX1508" fmla="*/ 3672717 w 8622239"/>
                <a:gd name="connsiteY1508" fmla="*/ 7775353 h 8562303"/>
                <a:gd name="connsiteX1509" fmla="*/ 3675304 w 8622239"/>
                <a:gd name="connsiteY1509" fmla="*/ 7771730 h 8562303"/>
                <a:gd name="connsiteX1510" fmla="*/ 3677719 w 8622239"/>
                <a:gd name="connsiteY1510" fmla="*/ 7768798 h 8562303"/>
                <a:gd name="connsiteX1511" fmla="*/ 3687897 w 8622239"/>
                <a:gd name="connsiteY1511" fmla="*/ 7760863 h 8562303"/>
                <a:gd name="connsiteX1512" fmla="*/ 3731195 w 8622239"/>
                <a:gd name="connsiteY1512" fmla="*/ 7698072 h 8562303"/>
                <a:gd name="connsiteX1513" fmla="*/ 3734645 w 8622239"/>
                <a:gd name="connsiteY1513" fmla="*/ 7687205 h 8562303"/>
                <a:gd name="connsiteX1514" fmla="*/ 3751722 w 8622239"/>
                <a:gd name="connsiteY1514" fmla="*/ 7682375 h 8562303"/>
                <a:gd name="connsiteX1515" fmla="*/ 3757760 w 8622239"/>
                <a:gd name="connsiteY1515" fmla="*/ 7681684 h 8562303"/>
                <a:gd name="connsiteX1516" fmla="*/ 3760175 w 8622239"/>
                <a:gd name="connsiteY1516" fmla="*/ 7677717 h 8562303"/>
                <a:gd name="connsiteX1517" fmla="*/ 3819861 w 8622239"/>
                <a:gd name="connsiteY1517" fmla="*/ 7609579 h 8562303"/>
                <a:gd name="connsiteX1518" fmla="*/ 3847116 w 8622239"/>
                <a:gd name="connsiteY1518" fmla="*/ 7577321 h 8562303"/>
                <a:gd name="connsiteX1519" fmla="*/ 3859881 w 8622239"/>
                <a:gd name="connsiteY1519" fmla="*/ 7564556 h 8562303"/>
                <a:gd name="connsiteX1520" fmla="*/ 3885756 w 8622239"/>
                <a:gd name="connsiteY1520" fmla="*/ 7535749 h 8562303"/>
                <a:gd name="connsiteX1521" fmla="*/ 3921981 w 8622239"/>
                <a:gd name="connsiteY1521" fmla="*/ 7490726 h 8562303"/>
                <a:gd name="connsiteX1522" fmla="*/ 3942854 w 8622239"/>
                <a:gd name="connsiteY1522" fmla="*/ 7464678 h 8562303"/>
                <a:gd name="connsiteX1523" fmla="*/ 3959759 w 8622239"/>
                <a:gd name="connsiteY1523" fmla="*/ 7442081 h 8562303"/>
                <a:gd name="connsiteX1524" fmla="*/ 3992189 w 8622239"/>
                <a:gd name="connsiteY1524" fmla="*/ 7394643 h 8562303"/>
                <a:gd name="connsiteX1525" fmla="*/ 4012372 w 8622239"/>
                <a:gd name="connsiteY1525" fmla="*/ 7382223 h 8562303"/>
                <a:gd name="connsiteX1526" fmla="*/ 4027552 w 8622239"/>
                <a:gd name="connsiteY1526" fmla="*/ 7376012 h 8562303"/>
                <a:gd name="connsiteX1527" fmla="*/ 4051530 w 8622239"/>
                <a:gd name="connsiteY1527" fmla="*/ 7321847 h 8562303"/>
                <a:gd name="connsiteX1528" fmla="*/ 4087238 w 8622239"/>
                <a:gd name="connsiteY1528" fmla="*/ 7293902 h 8562303"/>
                <a:gd name="connsiteX1529" fmla="*/ 4117080 w 8622239"/>
                <a:gd name="connsiteY1529" fmla="*/ 7273892 h 8562303"/>
                <a:gd name="connsiteX1530" fmla="*/ 4149683 w 8622239"/>
                <a:gd name="connsiteY1530" fmla="*/ 7257677 h 8562303"/>
                <a:gd name="connsiteX1531" fmla="*/ 4207126 w 8622239"/>
                <a:gd name="connsiteY1531" fmla="*/ 7212826 h 8562303"/>
                <a:gd name="connsiteX1532" fmla="*/ 4247664 w 8622239"/>
                <a:gd name="connsiteY1532" fmla="*/ 7180569 h 8562303"/>
                <a:gd name="connsiteX1533" fmla="*/ 4325289 w 8622239"/>
                <a:gd name="connsiteY1533" fmla="*/ 7160731 h 8562303"/>
                <a:gd name="connsiteX1534" fmla="*/ 4330637 w 8622239"/>
                <a:gd name="connsiteY1534" fmla="*/ 7156763 h 8562303"/>
                <a:gd name="connsiteX1535" fmla="*/ 4393772 w 8622239"/>
                <a:gd name="connsiteY1535" fmla="*/ 7111051 h 8562303"/>
                <a:gd name="connsiteX1536" fmla="*/ 4411540 w 8622239"/>
                <a:gd name="connsiteY1536" fmla="*/ 7101908 h 8562303"/>
                <a:gd name="connsiteX1537" fmla="*/ 4434137 w 8622239"/>
                <a:gd name="connsiteY1537" fmla="*/ 7088626 h 8562303"/>
                <a:gd name="connsiteX1538" fmla="*/ 4496238 w 8622239"/>
                <a:gd name="connsiteY1538" fmla="*/ 7090868 h 8562303"/>
                <a:gd name="connsiteX1539" fmla="*/ 4576279 w 8622239"/>
                <a:gd name="connsiteY1539" fmla="*/ 7107256 h 8562303"/>
                <a:gd name="connsiteX1540" fmla="*/ 4672362 w 8622239"/>
                <a:gd name="connsiteY1540" fmla="*/ 7119676 h 8562303"/>
                <a:gd name="connsiteX1541" fmla="*/ 4730840 w 8622239"/>
                <a:gd name="connsiteY1541" fmla="*/ 7111395 h 8562303"/>
                <a:gd name="connsiteX1542" fmla="*/ 4742225 w 8622239"/>
                <a:gd name="connsiteY1542" fmla="*/ 7117778 h 8562303"/>
                <a:gd name="connsiteX1543" fmla="*/ 4847451 w 8622239"/>
                <a:gd name="connsiteY1543" fmla="*/ 7171599 h 8562303"/>
                <a:gd name="connsiteX1544" fmla="*/ 4933011 w 8622239"/>
                <a:gd name="connsiteY1544" fmla="*/ 7220589 h 8562303"/>
                <a:gd name="connsiteX1545" fmla="*/ 4978897 w 8622239"/>
                <a:gd name="connsiteY1545" fmla="*/ 7295282 h 8562303"/>
                <a:gd name="connsiteX1546" fmla="*/ 5033752 w 8622239"/>
                <a:gd name="connsiteY1546" fmla="*/ 7351000 h 8562303"/>
                <a:gd name="connsiteX1547" fmla="*/ 5141220 w 8622239"/>
                <a:gd name="connsiteY1547" fmla="*/ 7400163 h 8562303"/>
                <a:gd name="connsiteX1548" fmla="*/ 5187968 w 8622239"/>
                <a:gd name="connsiteY1548" fmla="*/ 7400163 h 8562303"/>
                <a:gd name="connsiteX1549" fmla="*/ 5168820 w 8622239"/>
                <a:gd name="connsiteY1549" fmla="*/ 7450361 h 8562303"/>
                <a:gd name="connsiteX1550" fmla="*/ 5167268 w 8622239"/>
                <a:gd name="connsiteY1550" fmla="*/ 7466403 h 8562303"/>
                <a:gd name="connsiteX1551" fmla="*/ 5168475 w 8622239"/>
                <a:gd name="connsiteY1551" fmla="*/ 7491588 h 8562303"/>
                <a:gd name="connsiteX1552" fmla="*/ 5156745 w 8622239"/>
                <a:gd name="connsiteY1552" fmla="*/ 7507631 h 8562303"/>
                <a:gd name="connsiteX1553" fmla="*/ 5137080 w 8622239"/>
                <a:gd name="connsiteY1553" fmla="*/ 7534541 h 8562303"/>
                <a:gd name="connsiteX1554" fmla="*/ 5188141 w 8622239"/>
                <a:gd name="connsiteY1554" fmla="*/ 7587672 h 8562303"/>
                <a:gd name="connsiteX1555" fmla="*/ 5133630 w 8622239"/>
                <a:gd name="connsiteY1555" fmla="*/ 7664434 h 8562303"/>
                <a:gd name="connsiteX1556" fmla="*/ 5451032 w 8622239"/>
                <a:gd name="connsiteY1556" fmla="*/ 6889559 h 8562303"/>
                <a:gd name="connsiteX1557" fmla="*/ 5429125 w 8622239"/>
                <a:gd name="connsiteY1557" fmla="*/ 6976327 h 8562303"/>
                <a:gd name="connsiteX1558" fmla="*/ 5428090 w 8622239"/>
                <a:gd name="connsiteY1558" fmla="*/ 6979605 h 8562303"/>
                <a:gd name="connsiteX1559" fmla="*/ 5429643 w 8622239"/>
                <a:gd name="connsiteY1559" fmla="*/ 6987712 h 8562303"/>
                <a:gd name="connsiteX1560" fmla="*/ 5441027 w 8622239"/>
                <a:gd name="connsiteY1560" fmla="*/ 7065338 h 8562303"/>
                <a:gd name="connsiteX1561" fmla="*/ 5436715 w 8622239"/>
                <a:gd name="connsiteY1561" fmla="*/ 7134166 h 8562303"/>
                <a:gd name="connsiteX1562" fmla="*/ 5434817 w 8622239"/>
                <a:gd name="connsiteY1562" fmla="*/ 7183846 h 8562303"/>
                <a:gd name="connsiteX1563" fmla="*/ 5434817 w 8622239"/>
                <a:gd name="connsiteY1563" fmla="*/ 7253364 h 8562303"/>
                <a:gd name="connsiteX1564" fmla="*/ 5415842 w 8622239"/>
                <a:gd name="connsiteY1564" fmla="*/ 7313912 h 8562303"/>
                <a:gd name="connsiteX1565" fmla="*/ 5408425 w 8622239"/>
                <a:gd name="connsiteY1565" fmla="*/ 7342892 h 8562303"/>
                <a:gd name="connsiteX1566" fmla="*/ 5380134 w 8622239"/>
                <a:gd name="connsiteY1566" fmla="*/ 7390330 h 8562303"/>
                <a:gd name="connsiteX1567" fmla="*/ 5358744 w 8622239"/>
                <a:gd name="connsiteY1567" fmla="*/ 7426210 h 8562303"/>
                <a:gd name="connsiteX1568" fmla="*/ 5344082 w 8622239"/>
                <a:gd name="connsiteY1568" fmla="*/ 7437078 h 8562303"/>
                <a:gd name="connsiteX1569" fmla="*/ 5199525 w 8622239"/>
                <a:gd name="connsiteY1569" fmla="*/ 7573182 h 8562303"/>
                <a:gd name="connsiteX1570" fmla="*/ 5177100 w 8622239"/>
                <a:gd name="connsiteY1570" fmla="*/ 7563522 h 8562303"/>
                <a:gd name="connsiteX1571" fmla="*/ 5153985 w 8622239"/>
                <a:gd name="connsiteY1571" fmla="*/ 7535058 h 8562303"/>
                <a:gd name="connsiteX1572" fmla="*/ 5161403 w 8622239"/>
                <a:gd name="connsiteY1572" fmla="*/ 7524881 h 8562303"/>
                <a:gd name="connsiteX1573" fmla="*/ 5185381 w 8622239"/>
                <a:gd name="connsiteY1573" fmla="*/ 7491933 h 8562303"/>
                <a:gd name="connsiteX1574" fmla="*/ 5184173 w 8622239"/>
                <a:gd name="connsiteY1574" fmla="*/ 7466748 h 8562303"/>
                <a:gd name="connsiteX1575" fmla="*/ 5185208 w 8622239"/>
                <a:gd name="connsiteY1575" fmla="*/ 7454328 h 8562303"/>
                <a:gd name="connsiteX1576" fmla="*/ 5206598 w 8622239"/>
                <a:gd name="connsiteY1576" fmla="*/ 7395160 h 8562303"/>
                <a:gd name="connsiteX1577" fmla="*/ 5203320 w 8622239"/>
                <a:gd name="connsiteY1577" fmla="*/ 7386535 h 8562303"/>
                <a:gd name="connsiteX1578" fmla="*/ 5194868 w 8622239"/>
                <a:gd name="connsiteY1578" fmla="*/ 7383085 h 8562303"/>
                <a:gd name="connsiteX1579" fmla="*/ 5141565 w 8622239"/>
                <a:gd name="connsiteY1579" fmla="*/ 7383085 h 8562303"/>
                <a:gd name="connsiteX1580" fmla="*/ 5035477 w 8622239"/>
                <a:gd name="connsiteY1580" fmla="*/ 7333750 h 8562303"/>
                <a:gd name="connsiteX1581" fmla="*/ 4993042 w 8622239"/>
                <a:gd name="connsiteY1581" fmla="*/ 7286139 h 8562303"/>
                <a:gd name="connsiteX1582" fmla="*/ 4946122 w 8622239"/>
                <a:gd name="connsiteY1582" fmla="*/ 7209721 h 8562303"/>
                <a:gd name="connsiteX1583" fmla="*/ 4847623 w 8622239"/>
                <a:gd name="connsiteY1583" fmla="*/ 7154349 h 8562303"/>
                <a:gd name="connsiteX1584" fmla="*/ 4756888 w 8622239"/>
                <a:gd name="connsiteY1584" fmla="*/ 7109671 h 8562303"/>
                <a:gd name="connsiteX1585" fmla="*/ 4730840 w 8622239"/>
                <a:gd name="connsiteY1585" fmla="*/ 7093800 h 8562303"/>
                <a:gd name="connsiteX1586" fmla="*/ 4672362 w 8622239"/>
                <a:gd name="connsiteY1586" fmla="*/ 7102081 h 8562303"/>
                <a:gd name="connsiteX1587" fmla="*/ 4584214 w 8622239"/>
                <a:gd name="connsiteY1587" fmla="*/ 7091558 h 8562303"/>
                <a:gd name="connsiteX1588" fmla="*/ 4498308 w 8622239"/>
                <a:gd name="connsiteY1588" fmla="*/ 7073273 h 8562303"/>
                <a:gd name="connsiteX1589" fmla="*/ 4447248 w 8622239"/>
                <a:gd name="connsiteY1589" fmla="*/ 7071203 h 8562303"/>
                <a:gd name="connsiteX1590" fmla="*/ 4452595 w 8622239"/>
                <a:gd name="connsiteY1590" fmla="*/ 7049467 h 8562303"/>
                <a:gd name="connsiteX1591" fmla="*/ 4447938 w 8622239"/>
                <a:gd name="connsiteY1591" fmla="*/ 6975810 h 8562303"/>
                <a:gd name="connsiteX1592" fmla="*/ 4444660 w 8622239"/>
                <a:gd name="connsiteY1592" fmla="*/ 6927682 h 8562303"/>
                <a:gd name="connsiteX1593" fmla="*/ 4449145 w 8622239"/>
                <a:gd name="connsiteY1593" fmla="*/ 6916469 h 8562303"/>
                <a:gd name="connsiteX1594" fmla="*/ 4507796 w 8622239"/>
                <a:gd name="connsiteY1594" fmla="*/ 6901116 h 8562303"/>
                <a:gd name="connsiteX1595" fmla="*/ 4507968 w 8622239"/>
                <a:gd name="connsiteY1595" fmla="*/ 6901116 h 8562303"/>
                <a:gd name="connsiteX1596" fmla="*/ 4574208 w 8622239"/>
                <a:gd name="connsiteY1596" fmla="*/ 6923024 h 8562303"/>
                <a:gd name="connsiteX1597" fmla="*/ 4656664 w 8622239"/>
                <a:gd name="connsiteY1597" fmla="*/ 6919229 h 8562303"/>
                <a:gd name="connsiteX1598" fmla="*/ 4690475 w 8622239"/>
                <a:gd name="connsiteY1598" fmla="*/ 6922852 h 8562303"/>
                <a:gd name="connsiteX1599" fmla="*/ 4814158 w 8622239"/>
                <a:gd name="connsiteY1599" fmla="*/ 6975637 h 8562303"/>
                <a:gd name="connsiteX1600" fmla="*/ 4900063 w 8622239"/>
                <a:gd name="connsiteY1600" fmla="*/ 6975637 h 8562303"/>
                <a:gd name="connsiteX1601" fmla="*/ 4926283 w 8622239"/>
                <a:gd name="connsiteY1601" fmla="*/ 6956144 h 8562303"/>
                <a:gd name="connsiteX1602" fmla="*/ 4941981 w 8622239"/>
                <a:gd name="connsiteY1602" fmla="*/ 6937170 h 8562303"/>
                <a:gd name="connsiteX1603" fmla="*/ 4995457 w 8622239"/>
                <a:gd name="connsiteY1603" fmla="*/ 6923369 h 8562303"/>
                <a:gd name="connsiteX1604" fmla="*/ 5034614 w 8622239"/>
                <a:gd name="connsiteY1604" fmla="*/ 6894734 h 8562303"/>
                <a:gd name="connsiteX1605" fmla="*/ 5052899 w 8622239"/>
                <a:gd name="connsiteY1605" fmla="*/ 6863338 h 8562303"/>
                <a:gd name="connsiteX1606" fmla="*/ 5078947 w 8622239"/>
                <a:gd name="connsiteY1606" fmla="*/ 6850229 h 8562303"/>
                <a:gd name="connsiteX1607" fmla="*/ 5092575 w 8622239"/>
                <a:gd name="connsiteY1607" fmla="*/ 6850401 h 8562303"/>
                <a:gd name="connsiteX1608" fmla="*/ 5194695 w 8622239"/>
                <a:gd name="connsiteY1608" fmla="*/ 6867651 h 8562303"/>
                <a:gd name="connsiteX1609" fmla="*/ 5227816 w 8622239"/>
                <a:gd name="connsiteY1609" fmla="*/ 6881451 h 8562303"/>
                <a:gd name="connsiteX1610" fmla="*/ 5261454 w 8622239"/>
                <a:gd name="connsiteY1610" fmla="*/ 6891284 h 8562303"/>
                <a:gd name="connsiteX1611" fmla="*/ 5332524 w 8622239"/>
                <a:gd name="connsiteY1611" fmla="*/ 6873517 h 8562303"/>
                <a:gd name="connsiteX1612" fmla="*/ 5445512 w 8622239"/>
                <a:gd name="connsiteY1612" fmla="*/ 6865064 h 8562303"/>
                <a:gd name="connsiteX1613" fmla="*/ 5453275 w 8622239"/>
                <a:gd name="connsiteY1613" fmla="*/ 6864719 h 8562303"/>
                <a:gd name="connsiteX1614" fmla="*/ 5451032 w 8622239"/>
                <a:gd name="connsiteY1614" fmla="*/ 6889559 h 8562303"/>
                <a:gd name="connsiteX1615" fmla="*/ 6240226 w 8622239"/>
                <a:gd name="connsiteY1615" fmla="*/ 6287702 h 8562303"/>
                <a:gd name="connsiteX1616" fmla="*/ 6150180 w 8622239"/>
                <a:gd name="connsiteY1616" fmla="*/ 6350837 h 8562303"/>
                <a:gd name="connsiteX1617" fmla="*/ 6150007 w 8622239"/>
                <a:gd name="connsiteY1617" fmla="*/ 6351872 h 8562303"/>
                <a:gd name="connsiteX1618" fmla="*/ 6093082 w 8622239"/>
                <a:gd name="connsiteY1618" fmla="*/ 6360843 h 8562303"/>
                <a:gd name="connsiteX1619" fmla="*/ 6013731 w 8622239"/>
                <a:gd name="connsiteY1619" fmla="*/ 6385855 h 8562303"/>
                <a:gd name="connsiteX1620" fmla="*/ 5906091 w 8622239"/>
                <a:gd name="connsiteY1620" fmla="*/ 6422771 h 8562303"/>
                <a:gd name="connsiteX1621" fmla="*/ 5804833 w 8622239"/>
                <a:gd name="connsiteY1621" fmla="*/ 6495049 h 8562303"/>
                <a:gd name="connsiteX1622" fmla="*/ 5783270 w 8622239"/>
                <a:gd name="connsiteY1622" fmla="*/ 6504363 h 8562303"/>
                <a:gd name="connsiteX1623" fmla="*/ 5724792 w 8622239"/>
                <a:gd name="connsiteY1623" fmla="*/ 6552836 h 8562303"/>
                <a:gd name="connsiteX1624" fmla="*/ 5702194 w 8622239"/>
                <a:gd name="connsiteY1624" fmla="*/ 6561634 h 8562303"/>
                <a:gd name="connsiteX1625" fmla="*/ 5649926 w 8622239"/>
                <a:gd name="connsiteY1625" fmla="*/ 6592512 h 8562303"/>
                <a:gd name="connsiteX1626" fmla="*/ 5614564 w 8622239"/>
                <a:gd name="connsiteY1626" fmla="*/ 6632877 h 8562303"/>
                <a:gd name="connsiteX1627" fmla="*/ 5588171 w 8622239"/>
                <a:gd name="connsiteY1627" fmla="*/ 6669102 h 8562303"/>
                <a:gd name="connsiteX1628" fmla="*/ 5585238 w 8622239"/>
                <a:gd name="connsiteY1628" fmla="*/ 6683420 h 8562303"/>
                <a:gd name="connsiteX1629" fmla="*/ 5497090 w 8622239"/>
                <a:gd name="connsiteY1629" fmla="*/ 6613040 h 8562303"/>
                <a:gd name="connsiteX1630" fmla="*/ 5480185 w 8622239"/>
                <a:gd name="connsiteY1630" fmla="*/ 6598377 h 8562303"/>
                <a:gd name="connsiteX1631" fmla="*/ 5472078 w 8622239"/>
                <a:gd name="connsiteY1631" fmla="*/ 6566292 h 8562303"/>
                <a:gd name="connsiteX1632" fmla="*/ 5432402 w 8622239"/>
                <a:gd name="connsiteY1632" fmla="*/ 6544729 h 8562303"/>
                <a:gd name="connsiteX1633" fmla="*/ 5351672 w 8622239"/>
                <a:gd name="connsiteY1633" fmla="*/ 6551801 h 8562303"/>
                <a:gd name="connsiteX1634" fmla="*/ 5338044 w 8622239"/>
                <a:gd name="connsiteY1634" fmla="*/ 6543694 h 8562303"/>
                <a:gd name="connsiteX1635" fmla="*/ 5357019 w 8622239"/>
                <a:gd name="connsiteY1635" fmla="*/ 6470898 h 8562303"/>
                <a:gd name="connsiteX1636" fmla="*/ 5321829 w 8622239"/>
                <a:gd name="connsiteY1636" fmla="*/ 6423288 h 8562303"/>
                <a:gd name="connsiteX1637" fmla="*/ 5293539 w 8622239"/>
                <a:gd name="connsiteY1637" fmla="*/ 6391548 h 8562303"/>
                <a:gd name="connsiteX1638" fmla="*/ 5294401 w 8622239"/>
                <a:gd name="connsiteY1638" fmla="*/ 6387063 h 8562303"/>
                <a:gd name="connsiteX1639" fmla="*/ 5298369 w 8622239"/>
                <a:gd name="connsiteY1639" fmla="*/ 6362913 h 8562303"/>
                <a:gd name="connsiteX1640" fmla="*/ 5285776 w 8622239"/>
                <a:gd name="connsiteY1640" fmla="*/ 6277180 h 8562303"/>
                <a:gd name="connsiteX1641" fmla="*/ 5261971 w 8622239"/>
                <a:gd name="connsiteY1641" fmla="*/ 6218184 h 8562303"/>
                <a:gd name="connsiteX1642" fmla="*/ 5238338 w 8622239"/>
                <a:gd name="connsiteY1642" fmla="*/ 6182994 h 8562303"/>
                <a:gd name="connsiteX1643" fmla="*/ 5189003 w 8622239"/>
                <a:gd name="connsiteY1643" fmla="*/ 6154359 h 8562303"/>
                <a:gd name="connsiteX1644" fmla="*/ 5129318 w 8622239"/>
                <a:gd name="connsiteY1644" fmla="*/ 6161431 h 8562303"/>
                <a:gd name="connsiteX1645" fmla="*/ 5052210 w 8622239"/>
                <a:gd name="connsiteY1645" fmla="*/ 6152634 h 8562303"/>
                <a:gd name="connsiteX1646" fmla="*/ 4988039 w 8622239"/>
                <a:gd name="connsiteY1646" fmla="*/ 6139351 h 8562303"/>
                <a:gd name="connsiteX1647" fmla="*/ 4916451 w 8622239"/>
                <a:gd name="connsiteY1647" fmla="*/ 6097778 h 8562303"/>
                <a:gd name="connsiteX1648" fmla="*/ 4820885 w 8622239"/>
                <a:gd name="connsiteY1648" fmla="*/ 6083288 h 8562303"/>
                <a:gd name="connsiteX1649" fmla="*/ 4722387 w 8622239"/>
                <a:gd name="connsiteY1649" fmla="*/ 6098641 h 8562303"/>
                <a:gd name="connsiteX1650" fmla="*/ 4714452 w 8622239"/>
                <a:gd name="connsiteY1650" fmla="*/ 6099848 h 8562303"/>
                <a:gd name="connsiteX1651" fmla="*/ 4647521 w 8622239"/>
                <a:gd name="connsiteY1651" fmla="*/ 6083116 h 8562303"/>
                <a:gd name="connsiteX1652" fmla="*/ 4615954 w 8622239"/>
                <a:gd name="connsiteY1652" fmla="*/ 6071386 h 8562303"/>
                <a:gd name="connsiteX1653" fmla="*/ 4605086 w 8622239"/>
                <a:gd name="connsiteY1653" fmla="*/ 6085703 h 8562303"/>
                <a:gd name="connsiteX1654" fmla="*/ 4714452 w 8622239"/>
                <a:gd name="connsiteY1654" fmla="*/ 6117271 h 8562303"/>
                <a:gd name="connsiteX1655" fmla="*/ 4729115 w 8622239"/>
                <a:gd name="connsiteY1655" fmla="*/ 6114511 h 8562303"/>
                <a:gd name="connsiteX1656" fmla="*/ 4820541 w 8622239"/>
                <a:gd name="connsiteY1656" fmla="*/ 6100883 h 8562303"/>
                <a:gd name="connsiteX1657" fmla="*/ 4914726 w 8622239"/>
                <a:gd name="connsiteY1657" fmla="*/ 6115373 h 8562303"/>
                <a:gd name="connsiteX1658" fmla="*/ 4979586 w 8622239"/>
                <a:gd name="connsiteY1658" fmla="*/ 6154876 h 8562303"/>
                <a:gd name="connsiteX1659" fmla="*/ 5051864 w 8622239"/>
                <a:gd name="connsiteY1659" fmla="*/ 6170401 h 8562303"/>
                <a:gd name="connsiteX1660" fmla="*/ 5128972 w 8622239"/>
                <a:gd name="connsiteY1660" fmla="*/ 6179199 h 8562303"/>
                <a:gd name="connsiteX1661" fmla="*/ 5188658 w 8622239"/>
                <a:gd name="connsiteY1661" fmla="*/ 6172126 h 8562303"/>
                <a:gd name="connsiteX1662" fmla="*/ 5221778 w 8622239"/>
                <a:gd name="connsiteY1662" fmla="*/ 6186271 h 8562303"/>
                <a:gd name="connsiteX1663" fmla="*/ 5250069 w 8622239"/>
                <a:gd name="connsiteY1663" fmla="*/ 6230949 h 8562303"/>
                <a:gd name="connsiteX1664" fmla="*/ 5269216 w 8622239"/>
                <a:gd name="connsiteY1664" fmla="*/ 6277524 h 8562303"/>
                <a:gd name="connsiteX1665" fmla="*/ 5281809 w 8622239"/>
                <a:gd name="connsiteY1665" fmla="*/ 6363258 h 8562303"/>
                <a:gd name="connsiteX1666" fmla="*/ 5278531 w 8622239"/>
                <a:gd name="connsiteY1666" fmla="*/ 6381370 h 8562303"/>
                <a:gd name="connsiteX1667" fmla="*/ 5276806 w 8622239"/>
                <a:gd name="connsiteY1667" fmla="*/ 6391548 h 8562303"/>
                <a:gd name="connsiteX1668" fmla="*/ 5311997 w 8622239"/>
                <a:gd name="connsiteY1668" fmla="*/ 6437433 h 8562303"/>
                <a:gd name="connsiteX1669" fmla="*/ 5340286 w 8622239"/>
                <a:gd name="connsiteY1669" fmla="*/ 6470898 h 8562303"/>
                <a:gd name="connsiteX1670" fmla="*/ 5321312 w 8622239"/>
                <a:gd name="connsiteY1670" fmla="*/ 6543694 h 8562303"/>
                <a:gd name="connsiteX1671" fmla="*/ 5328901 w 8622239"/>
                <a:gd name="connsiteY1671" fmla="*/ 6562497 h 8562303"/>
                <a:gd name="connsiteX1672" fmla="*/ 5351327 w 8622239"/>
                <a:gd name="connsiteY1672" fmla="*/ 6569051 h 8562303"/>
                <a:gd name="connsiteX1673" fmla="*/ 5432057 w 8622239"/>
                <a:gd name="connsiteY1673" fmla="*/ 6561979 h 8562303"/>
                <a:gd name="connsiteX1674" fmla="*/ 5455863 w 8622239"/>
                <a:gd name="connsiteY1674" fmla="*/ 6571639 h 8562303"/>
                <a:gd name="connsiteX1675" fmla="*/ 5464143 w 8622239"/>
                <a:gd name="connsiteY1675" fmla="*/ 6604759 h 8562303"/>
                <a:gd name="connsiteX1676" fmla="*/ 5490190 w 8622239"/>
                <a:gd name="connsiteY1676" fmla="*/ 6629082 h 8562303"/>
                <a:gd name="connsiteX1677" fmla="*/ 5573163 w 8622239"/>
                <a:gd name="connsiteY1677" fmla="*/ 6699117 h 8562303"/>
                <a:gd name="connsiteX1678" fmla="*/ 5570576 w 8622239"/>
                <a:gd name="connsiteY1678" fmla="*/ 6700843 h 8562303"/>
                <a:gd name="connsiteX1679" fmla="*/ 5557983 w 8622239"/>
                <a:gd name="connsiteY1679" fmla="*/ 6692390 h 8562303"/>
                <a:gd name="connsiteX1680" fmla="*/ 5523655 w 8622239"/>
                <a:gd name="connsiteY1680" fmla="*/ 6674967 h 8562303"/>
                <a:gd name="connsiteX1681" fmla="*/ 5515548 w 8622239"/>
                <a:gd name="connsiteY1681" fmla="*/ 6676175 h 8562303"/>
                <a:gd name="connsiteX1682" fmla="*/ 5514513 w 8622239"/>
                <a:gd name="connsiteY1682" fmla="*/ 6683075 h 8562303"/>
                <a:gd name="connsiteX1683" fmla="*/ 5494675 w 8622239"/>
                <a:gd name="connsiteY1683" fmla="*/ 6701015 h 8562303"/>
                <a:gd name="connsiteX1684" fmla="*/ 5471905 w 8622239"/>
                <a:gd name="connsiteY1684" fmla="*/ 6713435 h 8562303"/>
                <a:gd name="connsiteX1685" fmla="*/ 5484325 w 8622239"/>
                <a:gd name="connsiteY1685" fmla="*/ 6751041 h 8562303"/>
                <a:gd name="connsiteX1686" fmla="*/ 5498815 w 8622239"/>
                <a:gd name="connsiteY1686" fmla="*/ 6773811 h 8562303"/>
                <a:gd name="connsiteX1687" fmla="*/ 5481048 w 8622239"/>
                <a:gd name="connsiteY1687" fmla="*/ 6793648 h 8562303"/>
                <a:gd name="connsiteX1688" fmla="*/ 5463280 w 8622239"/>
                <a:gd name="connsiteY1688" fmla="*/ 6819524 h 8562303"/>
                <a:gd name="connsiteX1689" fmla="*/ 5459485 w 8622239"/>
                <a:gd name="connsiteY1689" fmla="*/ 6836601 h 8562303"/>
                <a:gd name="connsiteX1690" fmla="*/ 5458795 w 8622239"/>
                <a:gd name="connsiteY1690" fmla="*/ 6839016 h 8562303"/>
                <a:gd name="connsiteX1691" fmla="*/ 5456553 w 8622239"/>
                <a:gd name="connsiteY1691" fmla="*/ 6847986 h 8562303"/>
                <a:gd name="connsiteX1692" fmla="*/ 5445168 w 8622239"/>
                <a:gd name="connsiteY1692" fmla="*/ 6848331 h 8562303"/>
                <a:gd name="connsiteX1693" fmla="*/ 5327522 w 8622239"/>
                <a:gd name="connsiteY1693" fmla="*/ 6857301 h 8562303"/>
                <a:gd name="connsiteX1694" fmla="*/ 5262143 w 8622239"/>
                <a:gd name="connsiteY1694" fmla="*/ 6874206 h 8562303"/>
                <a:gd name="connsiteX1695" fmla="*/ 5237131 w 8622239"/>
                <a:gd name="connsiteY1695" fmla="*/ 6867306 h 8562303"/>
                <a:gd name="connsiteX1696" fmla="*/ 5198318 w 8622239"/>
                <a:gd name="connsiteY1696" fmla="*/ 6851264 h 8562303"/>
                <a:gd name="connsiteX1697" fmla="*/ 5092748 w 8622239"/>
                <a:gd name="connsiteY1697" fmla="*/ 6833669 h 8562303"/>
                <a:gd name="connsiteX1698" fmla="*/ 5079120 w 8622239"/>
                <a:gd name="connsiteY1698" fmla="*/ 6833496 h 8562303"/>
                <a:gd name="connsiteX1699" fmla="*/ 5043585 w 8622239"/>
                <a:gd name="connsiteY1699" fmla="*/ 6849883 h 8562303"/>
                <a:gd name="connsiteX1700" fmla="*/ 5019779 w 8622239"/>
                <a:gd name="connsiteY1700" fmla="*/ 6887661 h 8562303"/>
                <a:gd name="connsiteX1701" fmla="*/ 4994422 w 8622239"/>
                <a:gd name="connsiteY1701" fmla="*/ 6906292 h 8562303"/>
                <a:gd name="connsiteX1702" fmla="*/ 4935081 w 8622239"/>
                <a:gd name="connsiteY1702" fmla="*/ 6921472 h 8562303"/>
                <a:gd name="connsiteX1703" fmla="*/ 4912311 w 8622239"/>
                <a:gd name="connsiteY1703" fmla="*/ 6946830 h 8562303"/>
                <a:gd name="connsiteX1704" fmla="*/ 4899891 w 8622239"/>
                <a:gd name="connsiteY1704" fmla="*/ 6958387 h 8562303"/>
                <a:gd name="connsiteX1705" fmla="*/ 4813986 w 8622239"/>
                <a:gd name="connsiteY1705" fmla="*/ 6958387 h 8562303"/>
                <a:gd name="connsiteX1706" fmla="*/ 4694442 w 8622239"/>
                <a:gd name="connsiteY1706" fmla="*/ 6906464 h 8562303"/>
                <a:gd name="connsiteX1707" fmla="*/ 4656319 w 8622239"/>
                <a:gd name="connsiteY1707" fmla="*/ 6902151 h 8562303"/>
                <a:gd name="connsiteX1708" fmla="*/ 4573864 w 8622239"/>
                <a:gd name="connsiteY1708" fmla="*/ 6905946 h 8562303"/>
                <a:gd name="connsiteX1709" fmla="*/ 4507623 w 8622239"/>
                <a:gd name="connsiteY1709" fmla="*/ 6884039 h 8562303"/>
                <a:gd name="connsiteX1710" fmla="*/ 4497790 w 8622239"/>
                <a:gd name="connsiteY1710" fmla="*/ 6887316 h 8562303"/>
                <a:gd name="connsiteX1711" fmla="*/ 4455355 w 8622239"/>
                <a:gd name="connsiteY1711" fmla="*/ 6898011 h 8562303"/>
                <a:gd name="connsiteX1712" fmla="*/ 4458115 w 8622239"/>
                <a:gd name="connsiteY1712" fmla="*/ 6862476 h 8562303"/>
                <a:gd name="connsiteX1713" fmla="*/ 4452595 w 8622239"/>
                <a:gd name="connsiteY1713" fmla="*/ 6853506 h 8562303"/>
                <a:gd name="connsiteX1714" fmla="*/ 4432930 w 8622239"/>
                <a:gd name="connsiteY1714" fmla="*/ 6798306 h 8562303"/>
                <a:gd name="connsiteX1715" fmla="*/ 4389805 w 8622239"/>
                <a:gd name="connsiteY1715" fmla="*/ 6722405 h 8562303"/>
                <a:gd name="connsiteX1716" fmla="*/ 4357892 w 8622239"/>
                <a:gd name="connsiteY1716" fmla="*/ 6730686 h 8562303"/>
                <a:gd name="connsiteX1717" fmla="*/ 4305279 w 8622239"/>
                <a:gd name="connsiteY1717" fmla="*/ 6743278 h 8562303"/>
                <a:gd name="connsiteX1718" fmla="*/ 4278024 w 8622239"/>
                <a:gd name="connsiteY1718" fmla="*/ 6720853 h 8562303"/>
                <a:gd name="connsiteX1719" fmla="*/ 4274401 w 8622239"/>
                <a:gd name="connsiteY1719" fmla="*/ 6710330 h 8562303"/>
                <a:gd name="connsiteX1720" fmla="*/ 4289409 w 8622239"/>
                <a:gd name="connsiteY1720" fmla="*/ 6687560 h 8562303"/>
                <a:gd name="connsiteX1721" fmla="*/ 4305624 w 8622239"/>
                <a:gd name="connsiteY1721" fmla="*/ 6659960 h 8562303"/>
                <a:gd name="connsiteX1722" fmla="*/ 4331154 w 8622239"/>
                <a:gd name="connsiteY1722" fmla="*/ 6629600 h 8562303"/>
                <a:gd name="connsiteX1723" fmla="*/ 4332362 w 8622239"/>
                <a:gd name="connsiteY1723" fmla="*/ 6627012 h 8562303"/>
                <a:gd name="connsiteX1724" fmla="*/ 4344092 w 8622239"/>
                <a:gd name="connsiteY1724" fmla="*/ 6558702 h 8562303"/>
                <a:gd name="connsiteX1725" fmla="*/ 4350129 w 8622239"/>
                <a:gd name="connsiteY1725" fmla="*/ 6526789 h 8562303"/>
                <a:gd name="connsiteX1726" fmla="*/ 4355650 w 8622239"/>
                <a:gd name="connsiteY1726" fmla="*/ 6498671 h 8562303"/>
                <a:gd name="connsiteX1727" fmla="*/ 4350820 w 8622239"/>
                <a:gd name="connsiteY1727" fmla="*/ 6466758 h 8562303"/>
                <a:gd name="connsiteX1728" fmla="*/ 4344609 w 8622239"/>
                <a:gd name="connsiteY1728" fmla="*/ 6424496 h 8562303"/>
                <a:gd name="connsiteX1729" fmla="*/ 4343575 w 8622239"/>
                <a:gd name="connsiteY1729" fmla="*/ 6411386 h 8562303"/>
                <a:gd name="connsiteX1730" fmla="*/ 4380317 w 8622239"/>
                <a:gd name="connsiteY1730" fmla="*/ 6392928 h 8562303"/>
                <a:gd name="connsiteX1731" fmla="*/ 4394980 w 8622239"/>
                <a:gd name="connsiteY1731" fmla="*/ 6351355 h 8562303"/>
                <a:gd name="connsiteX1732" fmla="*/ 4394117 w 8622239"/>
                <a:gd name="connsiteY1732" fmla="*/ 6335140 h 8562303"/>
                <a:gd name="connsiteX1733" fmla="*/ 4416888 w 8622239"/>
                <a:gd name="connsiteY1733" fmla="*/ 6278732 h 8562303"/>
                <a:gd name="connsiteX1734" fmla="*/ 4462945 w 8622239"/>
                <a:gd name="connsiteY1734" fmla="*/ 6231984 h 8562303"/>
                <a:gd name="connsiteX1735" fmla="*/ 4496238 w 8622239"/>
                <a:gd name="connsiteY1735" fmla="*/ 6170056 h 8562303"/>
                <a:gd name="connsiteX1736" fmla="*/ 4548161 w 8622239"/>
                <a:gd name="connsiteY1736" fmla="*/ 6132796 h 8562303"/>
                <a:gd name="connsiteX1737" fmla="*/ 4603706 w 8622239"/>
                <a:gd name="connsiteY1737" fmla="*/ 6086048 h 8562303"/>
                <a:gd name="connsiteX1738" fmla="*/ 4603706 w 8622239"/>
                <a:gd name="connsiteY1738" fmla="*/ 6086048 h 8562303"/>
                <a:gd name="connsiteX1739" fmla="*/ 4604396 w 8622239"/>
                <a:gd name="connsiteY1739" fmla="*/ 6085186 h 8562303"/>
                <a:gd name="connsiteX1740" fmla="*/ 4604569 w 8622239"/>
                <a:gd name="connsiteY1740" fmla="*/ 6085013 h 8562303"/>
                <a:gd name="connsiteX1741" fmla="*/ 4604569 w 8622239"/>
                <a:gd name="connsiteY1741" fmla="*/ 6085013 h 8562303"/>
                <a:gd name="connsiteX1742" fmla="*/ 4615092 w 8622239"/>
                <a:gd name="connsiteY1742" fmla="*/ 6070696 h 8562303"/>
                <a:gd name="connsiteX1743" fmla="*/ 4615264 w 8622239"/>
                <a:gd name="connsiteY1743" fmla="*/ 6070868 h 8562303"/>
                <a:gd name="connsiteX1744" fmla="*/ 4641484 w 8622239"/>
                <a:gd name="connsiteY1744" fmla="*/ 6042923 h 8562303"/>
                <a:gd name="connsiteX1745" fmla="*/ 4729977 w 8622239"/>
                <a:gd name="connsiteY1745" fmla="*/ 5994967 h 8562303"/>
                <a:gd name="connsiteX1746" fmla="*/ 4808465 w 8622239"/>
                <a:gd name="connsiteY1746" fmla="*/ 5885774 h 8562303"/>
                <a:gd name="connsiteX1747" fmla="*/ 4829166 w 8622239"/>
                <a:gd name="connsiteY1747" fmla="*/ 5812116 h 8562303"/>
                <a:gd name="connsiteX1748" fmla="*/ 4876086 w 8622239"/>
                <a:gd name="connsiteY1748" fmla="*/ 5740701 h 8562303"/>
                <a:gd name="connsiteX1749" fmla="*/ 4910758 w 8622239"/>
                <a:gd name="connsiteY1749" fmla="*/ 5684638 h 8562303"/>
                <a:gd name="connsiteX1750" fmla="*/ 4922661 w 8622239"/>
                <a:gd name="connsiteY1750" fmla="*/ 5621848 h 8562303"/>
                <a:gd name="connsiteX1751" fmla="*/ 5029439 w 8622239"/>
                <a:gd name="connsiteY1751" fmla="*/ 5584070 h 8562303"/>
                <a:gd name="connsiteX1752" fmla="*/ 5047897 w 8622239"/>
                <a:gd name="connsiteY1752" fmla="*/ 5565094 h 8562303"/>
                <a:gd name="connsiteX1753" fmla="*/ 5038409 w 8622239"/>
                <a:gd name="connsiteY1753" fmla="*/ 5535769 h 8562303"/>
                <a:gd name="connsiteX1754" fmla="*/ 5086882 w 8622239"/>
                <a:gd name="connsiteY1754" fmla="*/ 5517484 h 8562303"/>
                <a:gd name="connsiteX1755" fmla="*/ 5162438 w 8622239"/>
                <a:gd name="connsiteY1755" fmla="*/ 5503684 h 8562303"/>
                <a:gd name="connsiteX1756" fmla="*/ 5170373 w 8622239"/>
                <a:gd name="connsiteY1756" fmla="*/ 5504029 h 8562303"/>
                <a:gd name="connsiteX1757" fmla="*/ 5229713 w 8622239"/>
                <a:gd name="connsiteY1757" fmla="*/ 5509722 h 8562303"/>
                <a:gd name="connsiteX1758" fmla="*/ 5316654 w 8622239"/>
                <a:gd name="connsiteY1758" fmla="*/ 5539391 h 8562303"/>
                <a:gd name="connsiteX1759" fmla="*/ 5367714 w 8622239"/>
                <a:gd name="connsiteY1759" fmla="*/ 5558884 h 8562303"/>
                <a:gd name="connsiteX1760" fmla="*/ 5370992 w 8622239"/>
                <a:gd name="connsiteY1760" fmla="*/ 5590107 h 8562303"/>
                <a:gd name="connsiteX1761" fmla="*/ 5373924 w 8622239"/>
                <a:gd name="connsiteY1761" fmla="*/ 5604252 h 8562303"/>
                <a:gd name="connsiteX1762" fmla="*/ 5386172 w 8622239"/>
                <a:gd name="connsiteY1762" fmla="*/ 5614775 h 8562303"/>
                <a:gd name="connsiteX1763" fmla="*/ 5388587 w 8622239"/>
                <a:gd name="connsiteY1763" fmla="*/ 5614602 h 8562303"/>
                <a:gd name="connsiteX1764" fmla="*/ 5391002 w 8622239"/>
                <a:gd name="connsiteY1764" fmla="*/ 5625642 h 8562303"/>
                <a:gd name="connsiteX1765" fmla="*/ 5409287 w 8622239"/>
                <a:gd name="connsiteY1765" fmla="*/ 5646170 h 8562303"/>
                <a:gd name="connsiteX1766" fmla="*/ 5429125 w 8622239"/>
                <a:gd name="connsiteY1766" fmla="*/ 5634785 h 8562303"/>
                <a:gd name="connsiteX1767" fmla="*/ 5456380 w 8622239"/>
                <a:gd name="connsiteY1767" fmla="*/ 5599595 h 8562303"/>
                <a:gd name="connsiteX1768" fmla="*/ 5492433 w 8622239"/>
                <a:gd name="connsiteY1768" fmla="*/ 5591314 h 8562303"/>
                <a:gd name="connsiteX1769" fmla="*/ 5628709 w 8622239"/>
                <a:gd name="connsiteY1769" fmla="*/ 5561644 h 8562303"/>
                <a:gd name="connsiteX1770" fmla="*/ 5731692 w 8622239"/>
                <a:gd name="connsiteY1770" fmla="*/ 5561644 h 8562303"/>
                <a:gd name="connsiteX1771" fmla="*/ 5746355 w 8622239"/>
                <a:gd name="connsiteY1771" fmla="*/ 5572685 h 8562303"/>
                <a:gd name="connsiteX1772" fmla="*/ 5761535 w 8622239"/>
                <a:gd name="connsiteY1772" fmla="*/ 5593212 h 8562303"/>
                <a:gd name="connsiteX1773" fmla="*/ 5761880 w 8622239"/>
                <a:gd name="connsiteY1773" fmla="*/ 5593384 h 8562303"/>
                <a:gd name="connsiteX1774" fmla="*/ 5773265 w 8622239"/>
                <a:gd name="connsiteY1774" fmla="*/ 5636682 h 8562303"/>
                <a:gd name="connsiteX1775" fmla="*/ 5789307 w 8622239"/>
                <a:gd name="connsiteY1775" fmla="*/ 5666353 h 8562303"/>
                <a:gd name="connsiteX1776" fmla="*/ 5798450 w 8622239"/>
                <a:gd name="connsiteY1776" fmla="*/ 5677910 h 8562303"/>
                <a:gd name="connsiteX1777" fmla="*/ 5800865 w 8622239"/>
                <a:gd name="connsiteY1777" fmla="*/ 5681878 h 8562303"/>
                <a:gd name="connsiteX1778" fmla="*/ 5801210 w 8622239"/>
                <a:gd name="connsiteY1778" fmla="*/ 5682568 h 8562303"/>
                <a:gd name="connsiteX1779" fmla="*/ 5784823 w 8622239"/>
                <a:gd name="connsiteY1779" fmla="*/ 5729143 h 8562303"/>
                <a:gd name="connsiteX1780" fmla="*/ 5783788 w 8622239"/>
                <a:gd name="connsiteY1780" fmla="*/ 5740528 h 8562303"/>
                <a:gd name="connsiteX1781" fmla="*/ 5804487 w 8622239"/>
                <a:gd name="connsiteY1781" fmla="*/ 5823501 h 8562303"/>
                <a:gd name="connsiteX1782" fmla="*/ 5868313 w 8622239"/>
                <a:gd name="connsiteY1782" fmla="*/ 5859382 h 8562303"/>
                <a:gd name="connsiteX1783" fmla="*/ 5873833 w 8622239"/>
                <a:gd name="connsiteY1783" fmla="*/ 5859209 h 8562303"/>
                <a:gd name="connsiteX1784" fmla="*/ 5893498 w 8622239"/>
                <a:gd name="connsiteY1784" fmla="*/ 5858174 h 8562303"/>
                <a:gd name="connsiteX1785" fmla="*/ 5911438 w 8622239"/>
                <a:gd name="connsiteY1785" fmla="*/ 5860934 h 8562303"/>
                <a:gd name="connsiteX1786" fmla="*/ 5915924 w 8622239"/>
                <a:gd name="connsiteY1786" fmla="*/ 5868869 h 8562303"/>
                <a:gd name="connsiteX1787" fmla="*/ 5899881 w 8622239"/>
                <a:gd name="connsiteY1787" fmla="*/ 5907682 h 8562303"/>
                <a:gd name="connsiteX1788" fmla="*/ 5877456 w 8622239"/>
                <a:gd name="connsiteY1788" fmla="*/ 5986515 h 8562303"/>
                <a:gd name="connsiteX1789" fmla="*/ 5878146 w 8622239"/>
                <a:gd name="connsiteY1789" fmla="*/ 6013425 h 8562303"/>
                <a:gd name="connsiteX1790" fmla="*/ 5867968 w 8622239"/>
                <a:gd name="connsiteY1790" fmla="*/ 6044130 h 8562303"/>
                <a:gd name="connsiteX1791" fmla="*/ 5863828 w 8622239"/>
                <a:gd name="connsiteY1791" fmla="*/ 6047925 h 8562303"/>
                <a:gd name="connsiteX1792" fmla="*/ 5865726 w 8622239"/>
                <a:gd name="connsiteY1792" fmla="*/ 6053273 h 8562303"/>
                <a:gd name="connsiteX1793" fmla="*/ 5897983 w 8622239"/>
                <a:gd name="connsiteY1793" fmla="*/ 6089325 h 8562303"/>
                <a:gd name="connsiteX1794" fmla="*/ 5917994 w 8622239"/>
                <a:gd name="connsiteY1794" fmla="*/ 6112613 h 8562303"/>
                <a:gd name="connsiteX1795" fmla="*/ 5926619 w 8622239"/>
                <a:gd name="connsiteY1795" fmla="*/ 6157464 h 8562303"/>
                <a:gd name="connsiteX1796" fmla="*/ 5995446 w 8622239"/>
                <a:gd name="connsiteY1796" fmla="*/ 6200416 h 8562303"/>
                <a:gd name="connsiteX1797" fmla="*/ 6010454 w 8622239"/>
                <a:gd name="connsiteY1797" fmla="*/ 6200072 h 8562303"/>
                <a:gd name="connsiteX1798" fmla="*/ 6057202 w 8622239"/>
                <a:gd name="connsiteY1798" fmla="*/ 6196276 h 8562303"/>
                <a:gd name="connsiteX1799" fmla="*/ 6084802 w 8622239"/>
                <a:gd name="connsiteY1799" fmla="*/ 6169884 h 8562303"/>
                <a:gd name="connsiteX1800" fmla="*/ 6079972 w 8622239"/>
                <a:gd name="connsiteY1800" fmla="*/ 6146079 h 8562303"/>
                <a:gd name="connsiteX1801" fmla="*/ 6104467 w 8622239"/>
                <a:gd name="connsiteY1801" fmla="*/ 6143491 h 8562303"/>
                <a:gd name="connsiteX1802" fmla="*/ 6200551 w 8622239"/>
                <a:gd name="connsiteY1802" fmla="*/ 6113648 h 8562303"/>
                <a:gd name="connsiteX1803" fmla="*/ 6243331 w 8622239"/>
                <a:gd name="connsiteY1803" fmla="*/ 6110888 h 8562303"/>
                <a:gd name="connsiteX1804" fmla="*/ 6279211 w 8622239"/>
                <a:gd name="connsiteY1804" fmla="*/ 6105713 h 8562303"/>
                <a:gd name="connsiteX1805" fmla="*/ 6295081 w 8622239"/>
                <a:gd name="connsiteY1805" fmla="*/ 6126241 h 8562303"/>
                <a:gd name="connsiteX1806" fmla="*/ 6335274 w 8622239"/>
                <a:gd name="connsiteY1806" fmla="*/ 6149356 h 8562303"/>
                <a:gd name="connsiteX1807" fmla="*/ 6365807 w 8622239"/>
                <a:gd name="connsiteY1807" fmla="*/ 6161431 h 8562303"/>
                <a:gd name="connsiteX1808" fmla="*/ 6380297 w 8622239"/>
                <a:gd name="connsiteY1808" fmla="*/ 6178682 h 8562303"/>
                <a:gd name="connsiteX1809" fmla="*/ 6379952 w 8622239"/>
                <a:gd name="connsiteY1809" fmla="*/ 6178682 h 8562303"/>
                <a:gd name="connsiteX1810" fmla="*/ 6368911 w 8622239"/>
                <a:gd name="connsiteY1810" fmla="*/ 6180579 h 8562303"/>
                <a:gd name="connsiteX1811" fmla="*/ 6314746 w 8622239"/>
                <a:gd name="connsiteY1811" fmla="*/ 6178682 h 8562303"/>
                <a:gd name="connsiteX1812" fmla="*/ 6249886 w 8622239"/>
                <a:gd name="connsiteY1812" fmla="*/ 6216804 h 8562303"/>
                <a:gd name="connsiteX1813" fmla="*/ 6244193 w 8622239"/>
                <a:gd name="connsiteY1813" fmla="*/ 6249234 h 8562303"/>
                <a:gd name="connsiteX1814" fmla="*/ 6261098 w 8622239"/>
                <a:gd name="connsiteY1814" fmla="*/ 6280802 h 8562303"/>
                <a:gd name="connsiteX1815" fmla="*/ 6240226 w 8622239"/>
                <a:gd name="connsiteY1815" fmla="*/ 6287702 h 8562303"/>
                <a:gd name="connsiteX1816" fmla="*/ 5036857 w 8622239"/>
                <a:gd name="connsiteY1816" fmla="*/ 5534044 h 8562303"/>
                <a:gd name="connsiteX1817" fmla="*/ 5037202 w 8622239"/>
                <a:gd name="connsiteY1817" fmla="*/ 5534561 h 8562303"/>
                <a:gd name="connsiteX1818" fmla="*/ 5037202 w 8622239"/>
                <a:gd name="connsiteY1818" fmla="*/ 5534561 h 8562303"/>
                <a:gd name="connsiteX1819" fmla="*/ 5036857 w 8622239"/>
                <a:gd name="connsiteY1819" fmla="*/ 5534044 h 8562303"/>
                <a:gd name="connsiteX1820" fmla="*/ 7207958 w 8622239"/>
                <a:gd name="connsiteY1820" fmla="*/ 5765713 h 8562303"/>
                <a:gd name="connsiteX1821" fmla="*/ 7196917 w 8622239"/>
                <a:gd name="connsiteY1821" fmla="*/ 5773821 h 8562303"/>
                <a:gd name="connsiteX1822" fmla="*/ 7192778 w 8622239"/>
                <a:gd name="connsiteY1822" fmla="*/ 5774856 h 8562303"/>
                <a:gd name="connsiteX1823" fmla="*/ 7200195 w 8622239"/>
                <a:gd name="connsiteY1823" fmla="*/ 5768128 h 8562303"/>
                <a:gd name="connsiteX1824" fmla="*/ 7210890 w 8622239"/>
                <a:gd name="connsiteY1824" fmla="*/ 5758123 h 8562303"/>
                <a:gd name="connsiteX1825" fmla="*/ 7207958 w 8622239"/>
                <a:gd name="connsiteY1825" fmla="*/ 5765713 h 8562303"/>
                <a:gd name="connsiteX1826" fmla="*/ 7374939 w 8622239"/>
                <a:gd name="connsiteY1826" fmla="*/ 5398286 h 8562303"/>
                <a:gd name="connsiteX1827" fmla="*/ 7375974 w 8622239"/>
                <a:gd name="connsiteY1827" fmla="*/ 5421401 h 8562303"/>
                <a:gd name="connsiteX1828" fmla="*/ 7319049 w 8622239"/>
                <a:gd name="connsiteY1828" fmla="*/ 5544049 h 8562303"/>
                <a:gd name="connsiteX1829" fmla="*/ 7244183 w 8622239"/>
                <a:gd name="connsiteY1829" fmla="*/ 5669457 h 8562303"/>
                <a:gd name="connsiteX1830" fmla="*/ 7214513 w 8622239"/>
                <a:gd name="connsiteY1830" fmla="*/ 5727073 h 8562303"/>
                <a:gd name="connsiteX1831" fmla="*/ 7205543 w 8622239"/>
                <a:gd name="connsiteY1831" fmla="*/ 5721553 h 8562303"/>
                <a:gd name="connsiteX1832" fmla="*/ 7177253 w 8622239"/>
                <a:gd name="connsiteY1832" fmla="*/ 5713446 h 8562303"/>
                <a:gd name="connsiteX1833" fmla="*/ 7151722 w 8622239"/>
                <a:gd name="connsiteY1833" fmla="*/ 5703958 h 8562303"/>
                <a:gd name="connsiteX1834" fmla="*/ 7146892 w 8622239"/>
                <a:gd name="connsiteY1834" fmla="*/ 5692400 h 8562303"/>
                <a:gd name="connsiteX1835" fmla="*/ 7153792 w 8622239"/>
                <a:gd name="connsiteY1835" fmla="*/ 5678773 h 8562303"/>
                <a:gd name="connsiteX1836" fmla="*/ 7176218 w 8622239"/>
                <a:gd name="connsiteY1836" fmla="*/ 5673080 h 8562303"/>
                <a:gd name="connsiteX1837" fmla="*/ 7198643 w 8622239"/>
                <a:gd name="connsiteY1837" fmla="*/ 5679290 h 8562303"/>
                <a:gd name="connsiteX1838" fmla="*/ 7207440 w 8622239"/>
                <a:gd name="connsiteY1838" fmla="*/ 5697920 h 8562303"/>
                <a:gd name="connsiteX1839" fmla="*/ 7223656 w 8622239"/>
                <a:gd name="connsiteY1839" fmla="*/ 5696713 h 8562303"/>
                <a:gd name="connsiteX1840" fmla="*/ 7217273 w 8622239"/>
                <a:gd name="connsiteY1840" fmla="*/ 5676185 h 8562303"/>
                <a:gd name="connsiteX1841" fmla="*/ 7200540 w 8622239"/>
                <a:gd name="connsiteY1841" fmla="*/ 5662558 h 8562303"/>
                <a:gd name="connsiteX1842" fmla="*/ 7175355 w 8622239"/>
                <a:gd name="connsiteY1842" fmla="*/ 5657900 h 8562303"/>
                <a:gd name="connsiteX1843" fmla="*/ 7151895 w 8622239"/>
                <a:gd name="connsiteY1843" fmla="*/ 5662385 h 8562303"/>
                <a:gd name="connsiteX1844" fmla="*/ 7135852 w 8622239"/>
                <a:gd name="connsiteY1844" fmla="*/ 5675495 h 8562303"/>
                <a:gd name="connsiteX1845" fmla="*/ 7130332 w 8622239"/>
                <a:gd name="connsiteY1845" fmla="*/ 5693953 h 8562303"/>
                <a:gd name="connsiteX1846" fmla="*/ 7134817 w 8622239"/>
                <a:gd name="connsiteY1846" fmla="*/ 5710168 h 8562303"/>
                <a:gd name="connsiteX1847" fmla="*/ 7148617 w 8622239"/>
                <a:gd name="connsiteY1847" fmla="*/ 5722071 h 8562303"/>
                <a:gd name="connsiteX1848" fmla="*/ 7173285 w 8622239"/>
                <a:gd name="connsiteY1848" fmla="*/ 5730178 h 8562303"/>
                <a:gd name="connsiteX1849" fmla="*/ 7196055 w 8622239"/>
                <a:gd name="connsiteY1849" fmla="*/ 5736561 h 8562303"/>
                <a:gd name="connsiteX1850" fmla="*/ 7202782 w 8622239"/>
                <a:gd name="connsiteY1850" fmla="*/ 5740010 h 8562303"/>
                <a:gd name="connsiteX1851" fmla="*/ 7185705 w 8622239"/>
                <a:gd name="connsiteY1851" fmla="*/ 5756226 h 8562303"/>
                <a:gd name="connsiteX1852" fmla="*/ 7176045 w 8622239"/>
                <a:gd name="connsiteY1852" fmla="*/ 5765023 h 8562303"/>
                <a:gd name="connsiteX1853" fmla="*/ 7164142 w 8622239"/>
                <a:gd name="connsiteY1853" fmla="*/ 5774511 h 8562303"/>
                <a:gd name="connsiteX1854" fmla="*/ 7160003 w 8622239"/>
                <a:gd name="connsiteY1854" fmla="*/ 5773131 h 8562303"/>
                <a:gd name="connsiteX1855" fmla="*/ 7147065 w 8622239"/>
                <a:gd name="connsiteY1855" fmla="*/ 5763126 h 8562303"/>
                <a:gd name="connsiteX1856" fmla="*/ 7141717 w 8622239"/>
                <a:gd name="connsiteY1856" fmla="*/ 5747083 h 8562303"/>
                <a:gd name="connsiteX1857" fmla="*/ 7125674 w 8622239"/>
                <a:gd name="connsiteY1857" fmla="*/ 5748635 h 8562303"/>
                <a:gd name="connsiteX1858" fmla="*/ 7132057 w 8622239"/>
                <a:gd name="connsiteY1858" fmla="*/ 5771923 h 8562303"/>
                <a:gd name="connsiteX1859" fmla="*/ 7147755 w 8622239"/>
                <a:gd name="connsiteY1859" fmla="*/ 5785724 h 8562303"/>
                <a:gd name="connsiteX1860" fmla="*/ 7146202 w 8622239"/>
                <a:gd name="connsiteY1860" fmla="*/ 5786759 h 8562303"/>
                <a:gd name="connsiteX1861" fmla="*/ 7073407 w 8622239"/>
                <a:gd name="connsiteY1861" fmla="*/ 5858691 h 8562303"/>
                <a:gd name="connsiteX1862" fmla="*/ 7060642 w 8622239"/>
                <a:gd name="connsiteY1862" fmla="*/ 5914927 h 8562303"/>
                <a:gd name="connsiteX1863" fmla="*/ 7004924 w 8622239"/>
                <a:gd name="connsiteY1863" fmla="*/ 5878529 h 8562303"/>
                <a:gd name="connsiteX1864" fmla="*/ 6960074 w 8622239"/>
                <a:gd name="connsiteY1864" fmla="*/ 5851791 h 8562303"/>
                <a:gd name="connsiteX1865" fmla="*/ 6957658 w 8622239"/>
                <a:gd name="connsiteY1865" fmla="*/ 5849894 h 8562303"/>
                <a:gd name="connsiteX1866" fmla="*/ 6940236 w 8622239"/>
                <a:gd name="connsiteY1866" fmla="*/ 5834541 h 8562303"/>
                <a:gd name="connsiteX1867" fmla="*/ 6935406 w 8622239"/>
                <a:gd name="connsiteY1867" fmla="*/ 5822811 h 8562303"/>
                <a:gd name="connsiteX1868" fmla="*/ 6928850 w 8622239"/>
                <a:gd name="connsiteY1868" fmla="*/ 5808666 h 8562303"/>
                <a:gd name="connsiteX1869" fmla="*/ 6907978 w 8622239"/>
                <a:gd name="connsiteY1869" fmla="*/ 5789691 h 8562303"/>
                <a:gd name="connsiteX1870" fmla="*/ 6895903 w 8622239"/>
                <a:gd name="connsiteY1870" fmla="*/ 5779341 h 8562303"/>
                <a:gd name="connsiteX1871" fmla="*/ 6899181 w 8622239"/>
                <a:gd name="connsiteY1871" fmla="*/ 5775546 h 8562303"/>
                <a:gd name="connsiteX1872" fmla="*/ 6907116 w 8622239"/>
                <a:gd name="connsiteY1872" fmla="*/ 5725176 h 8562303"/>
                <a:gd name="connsiteX1873" fmla="*/ 6913671 w 8622239"/>
                <a:gd name="connsiteY1873" fmla="*/ 5673943 h 8562303"/>
                <a:gd name="connsiteX1874" fmla="*/ 6953518 w 8622239"/>
                <a:gd name="connsiteY1874" fmla="*/ 5653070 h 8562303"/>
                <a:gd name="connsiteX1875" fmla="*/ 7024244 w 8622239"/>
                <a:gd name="connsiteY1875" fmla="*/ 5582517 h 8562303"/>
                <a:gd name="connsiteX1876" fmla="*/ 7053914 w 8622239"/>
                <a:gd name="connsiteY1876" fmla="*/ 5530249 h 8562303"/>
                <a:gd name="connsiteX1877" fmla="*/ 7097039 w 8622239"/>
                <a:gd name="connsiteY1877" fmla="*/ 5460386 h 8562303"/>
                <a:gd name="connsiteX1878" fmla="*/ 7103249 w 8622239"/>
                <a:gd name="connsiteY1878" fmla="*/ 5421746 h 8562303"/>
                <a:gd name="connsiteX1879" fmla="*/ 7084274 w 8622239"/>
                <a:gd name="connsiteY1879" fmla="*/ 5368443 h 8562303"/>
                <a:gd name="connsiteX1880" fmla="*/ 7078754 w 8622239"/>
                <a:gd name="connsiteY1880" fmla="*/ 5358438 h 8562303"/>
                <a:gd name="connsiteX1881" fmla="*/ 7078582 w 8622239"/>
                <a:gd name="connsiteY1881" fmla="*/ 5358438 h 8562303"/>
                <a:gd name="connsiteX1882" fmla="*/ 7113082 w 8622239"/>
                <a:gd name="connsiteY1882" fmla="*/ 5319798 h 8562303"/>
                <a:gd name="connsiteX1883" fmla="*/ 7107562 w 8622239"/>
                <a:gd name="connsiteY1883" fmla="*/ 5295130 h 8562303"/>
                <a:gd name="connsiteX1884" fmla="*/ 7074269 w 8622239"/>
                <a:gd name="connsiteY1884" fmla="*/ 5231995 h 8562303"/>
                <a:gd name="connsiteX1885" fmla="*/ 7079444 w 8622239"/>
                <a:gd name="connsiteY1885" fmla="*/ 5219057 h 8562303"/>
                <a:gd name="connsiteX1886" fmla="*/ 7154138 w 8622239"/>
                <a:gd name="connsiteY1886" fmla="*/ 5181451 h 8562303"/>
                <a:gd name="connsiteX1887" fmla="*/ 7199333 w 8622239"/>
                <a:gd name="connsiteY1887" fmla="*/ 5170411 h 8562303"/>
                <a:gd name="connsiteX1888" fmla="*/ 7262296 w 8622239"/>
                <a:gd name="connsiteY1888" fmla="*/ 5185246 h 8562303"/>
                <a:gd name="connsiteX1889" fmla="*/ 7262468 w 8622239"/>
                <a:gd name="connsiteY1889" fmla="*/ 5185592 h 8562303"/>
                <a:gd name="connsiteX1890" fmla="*/ 7264021 w 8622239"/>
                <a:gd name="connsiteY1890" fmla="*/ 5186282 h 8562303"/>
                <a:gd name="connsiteX1891" fmla="*/ 7264366 w 8622239"/>
                <a:gd name="connsiteY1891" fmla="*/ 5185419 h 8562303"/>
                <a:gd name="connsiteX1892" fmla="*/ 7265056 w 8622239"/>
                <a:gd name="connsiteY1892" fmla="*/ 5186282 h 8562303"/>
                <a:gd name="connsiteX1893" fmla="*/ 7387532 w 8622239"/>
                <a:gd name="connsiteY1893" fmla="*/ 5270635 h 8562303"/>
                <a:gd name="connsiteX1894" fmla="*/ 7374939 w 8622239"/>
                <a:gd name="connsiteY1894" fmla="*/ 5398286 h 8562303"/>
                <a:gd name="connsiteX1895" fmla="*/ 7930393 w 8622239"/>
                <a:gd name="connsiteY1895" fmla="*/ 3916845 h 8562303"/>
                <a:gd name="connsiteX1896" fmla="*/ 7784285 w 8622239"/>
                <a:gd name="connsiteY1896" fmla="*/ 4064333 h 8562303"/>
                <a:gd name="connsiteX1897" fmla="*/ 7757892 w 8622239"/>
                <a:gd name="connsiteY1897" fmla="*/ 4036733 h 8562303"/>
                <a:gd name="connsiteX1898" fmla="*/ 7757029 w 8622239"/>
                <a:gd name="connsiteY1898" fmla="*/ 4034663 h 8562303"/>
                <a:gd name="connsiteX1899" fmla="*/ 7720804 w 8622239"/>
                <a:gd name="connsiteY1899" fmla="*/ 4005165 h 8562303"/>
                <a:gd name="connsiteX1900" fmla="*/ 7691996 w 8622239"/>
                <a:gd name="connsiteY1900" fmla="*/ 4053811 h 8562303"/>
                <a:gd name="connsiteX1901" fmla="*/ 7658704 w 8622239"/>
                <a:gd name="connsiteY1901" fmla="*/ 4144546 h 8562303"/>
                <a:gd name="connsiteX1902" fmla="*/ 7623513 w 8622239"/>
                <a:gd name="connsiteY1902" fmla="*/ 4223725 h 8562303"/>
                <a:gd name="connsiteX1903" fmla="*/ 7623168 w 8622239"/>
                <a:gd name="connsiteY1903" fmla="*/ 4273233 h 8562303"/>
                <a:gd name="connsiteX1904" fmla="*/ 7622823 w 8622239"/>
                <a:gd name="connsiteY1904" fmla="*/ 4312218 h 8562303"/>
                <a:gd name="connsiteX1905" fmla="*/ 7611266 w 8622239"/>
                <a:gd name="connsiteY1905" fmla="*/ 4354826 h 8562303"/>
                <a:gd name="connsiteX1906" fmla="*/ 7593326 w 8622239"/>
                <a:gd name="connsiteY1906" fmla="*/ 4434176 h 8562303"/>
                <a:gd name="connsiteX1907" fmla="*/ 7594361 w 8622239"/>
                <a:gd name="connsiteY1907" fmla="*/ 4594775 h 8562303"/>
                <a:gd name="connsiteX1908" fmla="*/ 7594533 w 8622239"/>
                <a:gd name="connsiteY1908" fmla="*/ 4607367 h 8562303"/>
                <a:gd name="connsiteX1909" fmla="*/ 7597811 w 8622239"/>
                <a:gd name="connsiteY1909" fmla="*/ 4744161 h 8562303"/>
                <a:gd name="connsiteX1910" fmla="*/ 7560033 w 8622239"/>
                <a:gd name="connsiteY1910" fmla="*/ 4875952 h 8562303"/>
                <a:gd name="connsiteX1911" fmla="*/ 7550718 w 8622239"/>
                <a:gd name="connsiteY1911" fmla="*/ 4903207 h 8562303"/>
                <a:gd name="connsiteX1912" fmla="*/ 7544335 w 8622239"/>
                <a:gd name="connsiteY1912" fmla="*/ 4922010 h 8562303"/>
                <a:gd name="connsiteX1913" fmla="*/ 7513457 w 8622239"/>
                <a:gd name="connsiteY1913" fmla="*/ 5063461 h 8562303"/>
                <a:gd name="connsiteX1914" fmla="*/ 7462742 w 8622239"/>
                <a:gd name="connsiteY1914" fmla="*/ 5159717 h 8562303"/>
                <a:gd name="connsiteX1915" fmla="*/ 7411164 w 8622239"/>
                <a:gd name="connsiteY1915" fmla="*/ 5223542 h 8562303"/>
                <a:gd name="connsiteX1916" fmla="*/ 7394604 w 8622239"/>
                <a:gd name="connsiteY1916" fmla="*/ 5253902 h 8562303"/>
                <a:gd name="connsiteX1917" fmla="*/ 7352341 w 8622239"/>
                <a:gd name="connsiteY1917" fmla="*/ 5230614 h 8562303"/>
                <a:gd name="connsiteX1918" fmla="*/ 7293001 w 8622239"/>
                <a:gd name="connsiteY1918" fmla="*/ 5189387 h 8562303"/>
                <a:gd name="connsiteX1919" fmla="*/ 7277476 w 8622239"/>
                <a:gd name="connsiteY1919" fmla="*/ 5174724 h 8562303"/>
                <a:gd name="connsiteX1920" fmla="*/ 7274026 w 8622239"/>
                <a:gd name="connsiteY1920" fmla="*/ 5170929 h 8562303"/>
                <a:gd name="connsiteX1921" fmla="*/ 7274026 w 8622239"/>
                <a:gd name="connsiteY1921" fmla="*/ 5169204 h 8562303"/>
                <a:gd name="connsiteX1922" fmla="*/ 7264021 w 8622239"/>
                <a:gd name="connsiteY1922" fmla="*/ 5093994 h 8562303"/>
                <a:gd name="connsiteX1923" fmla="*/ 7236076 w 8622239"/>
                <a:gd name="connsiteY1923" fmla="*/ 5057251 h 8562303"/>
                <a:gd name="connsiteX1924" fmla="*/ 7197780 w 8622239"/>
                <a:gd name="connsiteY1924" fmla="*/ 5022060 h 8562303"/>
                <a:gd name="connsiteX1925" fmla="*/ 7190362 w 8622239"/>
                <a:gd name="connsiteY1925" fmla="*/ 4993943 h 8562303"/>
                <a:gd name="connsiteX1926" fmla="*/ 7234350 w 8622239"/>
                <a:gd name="connsiteY1926" fmla="*/ 4942710 h 8562303"/>
                <a:gd name="connsiteX1927" fmla="*/ 7260743 w 8622239"/>
                <a:gd name="connsiteY1927" fmla="*/ 4939087 h 8562303"/>
                <a:gd name="connsiteX1928" fmla="*/ 7281960 w 8622239"/>
                <a:gd name="connsiteY1928" fmla="*/ 4919767 h 8562303"/>
                <a:gd name="connsiteX1929" fmla="*/ 7312838 w 8622239"/>
                <a:gd name="connsiteY1929" fmla="*/ 4850249 h 8562303"/>
                <a:gd name="connsiteX1930" fmla="*/ 7368211 w 8622239"/>
                <a:gd name="connsiteY1930" fmla="*/ 4767448 h 8562303"/>
                <a:gd name="connsiteX1931" fmla="*/ 7345613 w 8622239"/>
                <a:gd name="connsiteY1931" fmla="*/ 4736571 h 8562303"/>
                <a:gd name="connsiteX1932" fmla="*/ 7309733 w 8622239"/>
                <a:gd name="connsiteY1932" fmla="*/ 4699311 h 8562303"/>
                <a:gd name="connsiteX1933" fmla="*/ 7178805 w 8622239"/>
                <a:gd name="connsiteY1933" fmla="*/ 4651700 h 8562303"/>
                <a:gd name="connsiteX1934" fmla="*/ 7161727 w 8622239"/>
                <a:gd name="connsiteY1934" fmla="*/ 4652563 h 8562303"/>
                <a:gd name="connsiteX1935" fmla="*/ 7103249 w 8622239"/>
                <a:gd name="connsiteY1935" fmla="*/ 4659118 h 8562303"/>
                <a:gd name="connsiteX1936" fmla="*/ 7092727 w 8622239"/>
                <a:gd name="connsiteY1936" fmla="*/ 4658945 h 8562303"/>
                <a:gd name="connsiteX1937" fmla="*/ 7061849 w 8622239"/>
                <a:gd name="connsiteY1937" fmla="*/ 4622893 h 8562303"/>
                <a:gd name="connsiteX1938" fmla="*/ 7045461 w 8622239"/>
                <a:gd name="connsiteY1938" fmla="*/ 4573212 h 8562303"/>
                <a:gd name="connsiteX1939" fmla="*/ 7023036 w 8622239"/>
                <a:gd name="connsiteY1939" fmla="*/ 4546992 h 8562303"/>
                <a:gd name="connsiteX1940" fmla="*/ 7011134 w 8622239"/>
                <a:gd name="connsiteY1940" fmla="*/ 4540955 h 8562303"/>
                <a:gd name="connsiteX1941" fmla="*/ 7008374 w 8622239"/>
                <a:gd name="connsiteY1941" fmla="*/ 4539229 h 8562303"/>
                <a:gd name="connsiteX1942" fmla="*/ 6997679 w 8622239"/>
                <a:gd name="connsiteY1942" fmla="*/ 4532330 h 8562303"/>
                <a:gd name="connsiteX1943" fmla="*/ 6984224 w 8622239"/>
                <a:gd name="connsiteY1943" fmla="*/ 4531295 h 8562303"/>
                <a:gd name="connsiteX1944" fmla="*/ 6925228 w 8622239"/>
                <a:gd name="connsiteY1944" fmla="*/ 4536642 h 8562303"/>
                <a:gd name="connsiteX1945" fmla="*/ 6919881 w 8622239"/>
                <a:gd name="connsiteY1945" fmla="*/ 4536987 h 8562303"/>
                <a:gd name="connsiteX1946" fmla="*/ 6896593 w 8622239"/>
                <a:gd name="connsiteY1946" fmla="*/ 4520944 h 8562303"/>
                <a:gd name="connsiteX1947" fmla="*/ 6829835 w 8622239"/>
                <a:gd name="connsiteY1947" fmla="*/ 4479716 h 8562303"/>
                <a:gd name="connsiteX1948" fmla="*/ 6765147 w 8622239"/>
                <a:gd name="connsiteY1948" fmla="*/ 4431071 h 8562303"/>
                <a:gd name="connsiteX1949" fmla="*/ 6694767 w 8622239"/>
                <a:gd name="connsiteY1949" fmla="*/ 4390361 h 8562303"/>
                <a:gd name="connsiteX1950" fmla="*/ 6663889 w 8622239"/>
                <a:gd name="connsiteY1950" fmla="*/ 4386911 h 8562303"/>
                <a:gd name="connsiteX1951" fmla="*/ 6646466 w 8622239"/>
                <a:gd name="connsiteY1951" fmla="*/ 4392431 h 8562303"/>
                <a:gd name="connsiteX1952" fmla="*/ 6640946 w 8622239"/>
                <a:gd name="connsiteY1952" fmla="*/ 4404161 h 8562303"/>
                <a:gd name="connsiteX1953" fmla="*/ 6617659 w 8622239"/>
                <a:gd name="connsiteY1953" fmla="*/ 4410716 h 8562303"/>
                <a:gd name="connsiteX1954" fmla="*/ 6592646 w 8622239"/>
                <a:gd name="connsiteY1954" fmla="*/ 4412441 h 8562303"/>
                <a:gd name="connsiteX1955" fmla="*/ 6572981 w 8622239"/>
                <a:gd name="connsiteY1955" fmla="*/ 4407266 h 8562303"/>
                <a:gd name="connsiteX1956" fmla="*/ 6569186 w 8622239"/>
                <a:gd name="connsiteY1956" fmla="*/ 4382253 h 8562303"/>
                <a:gd name="connsiteX1957" fmla="*/ 6569875 w 8622239"/>
                <a:gd name="connsiteY1957" fmla="*/ 4357758 h 8562303"/>
                <a:gd name="connsiteX1958" fmla="*/ 6570738 w 8622239"/>
                <a:gd name="connsiteY1958" fmla="*/ 4333953 h 8562303"/>
                <a:gd name="connsiteX1959" fmla="*/ 6569703 w 8622239"/>
                <a:gd name="connsiteY1959" fmla="*/ 4325845 h 8562303"/>
                <a:gd name="connsiteX1960" fmla="*/ 6560043 w 8622239"/>
                <a:gd name="connsiteY1960" fmla="*/ 4319290 h 8562303"/>
                <a:gd name="connsiteX1961" fmla="*/ 6536583 w 8622239"/>
                <a:gd name="connsiteY1961" fmla="*/ 4323085 h 8562303"/>
                <a:gd name="connsiteX1962" fmla="*/ 6496045 w 8622239"/>
                <a:gd name="connsiteY1962" fmla="*/ 4314288 h 8562303"/>
                <a:gd name="connsiteX1963" fmla="*/ 6451022 w 8622239"/>
                <a:gd name="connsiteY1963" fmla="*/ 4305490 h 8562303"/>
                <a:gd name="connsiteX1964" fmla="*/ 6342691 w 8622239"/>
                <a:gd name="connsiteY1964" fmla="*/ 4348961 h 8562303"/>
                <a:gd name="connsiteX1965" fmla="*/ 6306811 w 8622239"/>
                <a:gd name="connsiteY1965" fmla="*/ 4373111 h 8562303"/>
                <a:gd name="connsiteX1966" fmla="*/ 6286283 w 8622239"/>
                <a:gd name="connsiteY1966" fmla="*/ 4397606 h 8562303"/>
                <a:gd name="connsiteX1967" fmla="*/ 6236086 w 8622239"/>
                <a:gd name="connsiteY1967" fmla="*/ 4421066 h 8562303"/>
                <a:gd name="connsiteX1968" fmla="*/ 6193823 w 8622239"/>
                <a:gd name="connsiteY1968" fmla="*/ 4442629 h 8562303"/>
                <a:gd name="connsiteX1969" fmla="*/ 6187268 w 8622239"/>
                <a:gd name="connsiteY1969" fmla="*/ 4442284 h 8562303"/>
                <a:gd name="connsiteX1970" fmla="*/ 6181230 w 8622239"/>
                <a:gd name="connsiteY1970" fmla="*/ 4441939 h 8562303"/>
                <a:gd name="connsiteX1971" fmla="*/ 6100500 w 8622239"/>
                <a:gd name="connsiteY1971" fmla="*/ 4479027 h 8562303"/>
                <a:gd name="connsiteX1972" fmla="*/ 6086872 w 8622239"/>
                <a:gd name="connsiteY1972" fmla="*/ 4481786 h 8562303"/>
                <a:gd name="connsiteX1973" fmla="*/ 6081352 w 8622239"/>
                <a:gd name="connsiteY1973" fmla="*/ 4477129 h 8562303"/>
                <a:gd name="connsiteX1974" fmla="*/ 6100327 w 8622239"/>
                <a:gd name="connsiteY1974" fmla="*/ 4432624 h 8562303"/>
                <a:gd name="connsiteX1975" fmla="*/ 6072554 w 8622239"/>
                <a:gd name="connsiteY1975" fmla="*/ 4448839 h 8562303"/>
                <a:gd name="connsiteX1976" fmla="*/ 6064620 w 8622239"/>
                <a:gd name="connsiteY1976" fmla="*/ 4477819 h 8562303"/>
                <a:gd name="connsiteX1977" fmla="*/ 6070139 w 8622239"/>
                <a:gd name="connsiteY1977" fmla="*/ 4493344 h 8562303"/>
                <a:gd name="connsiteX1978" fmla="*/ 6086872 w 8622239"/>
                <a:gd name="connsiteY1978" fmla="*/ 4499727 h 8562303"/>
                <a:gd name="connsiteX1979" fmla="*/ 6105502 w 8622239"/>
                <a:gd name="connsiteY1979" fmla="*/ 4496277 h 8562303"/>
                <a:gd name="connsiteX1980" fmla="*/ 6181230 w 8622239"/>
                <a:gd name="connsiteY1980" fmla="*/ 4459879 h 8562303"/>
                <a:gd name="connsiteX1981" fmla="*/ 6185025 w 8622239"/>
                <a:gd name="connsiteY1981" fmla="*/ 4460051 h 8562303"/>
                <a:gd name="connsiteX1982" fmla="*/ 6193823 w 8622239"/>
                <a:gd name="connsiteY1982" fmla="*/ 4460396 h 8562303"/>
                <a:gd name="connsiteX1983" fmla="*/ 6244193 w 8622239"/>
                <a:gd name="connsiteY1983" fmla="*/ 4436764 h 8562303"/>
                <a:gd name="connsiteX1984" fmla="*/ 6295254 w 8622239"/>
                <a:gd name="connsiteY1984" fmla="*/ 4412613 h 8562303"/>
                <a:gd name="connsiteX1985" fmla="*/ 6321129 w 8622239"/>
                <a:gd name="connsiteY1985" fmla="*/ 4382253 h 8562303"/>
                <a:gd name="connsiteX1986" fmla="*/ 6346487 w 8622239"/>
                <a:gd name="connsiteY1986" fmla="*/ 4366038 h 8562303"/>
                <a:gd name="connsiteX1987" fmla="*/ 6450850 w 8622239"/>
                <a:gd name="connsiteY1987" fmla="*/ 4322913 h 8562303"/>
                <a:gd name="connsiteX1988" fmla="*/ 6490180 w 8622239"/>
                <a:gd name="connsiteY1988" fmla="*/ 4330675 h 8562303"/>
                <a:gd name="connsiteX1989" fmla="*/ 6536583 w 8622239"/>
                <a:gd name="connsiteY1989" fmla="*/ 4340508 h 8562303"/>
                <a:gd name="connsiteX1990" fmla="*/ 6554006 w 8622239"/>
                <a:gd name="connsiteY1990" fmla="*/ 4338610 h 8562303"/>
                <a:gd name="connsiteX1991" fmla="*/ 6553315 w 8622239"/>
                <a:gd name="connsiteY1991" fmla="*/ 4357413 h 8562303"/>
                <a:gd name="connsiteX1992" fmla="*/ 6552625 w 8622239"/>
                <a:gd name="connsiteY1992" fmla="*/ 4382426 h 8562303"/>
                <a:gd name="connsiteX1993" fmla="*/ 6560043 w 8622239"/>
                <a:gd name="connsiteY1993" fmla="*/ 4417961 h 8562303"/>
                <a:gd name="connsiteX1994" fmla="*/ 6592991 w 8622239"/>
                <a:gd name="connsiteY1994" fmla="*/ 4429691 h 8562303"/>
                <a:gd name="connsiteX1995" fmla="*/ 6619384 w 8622239"/>
                <a:gd name="connsiteY1995" fmla="*/ 4428139 h 8562303"/>
                <a:gd name="connsiteX1996" fmla="*/ 6657334 w 8622239"/>
                <a:gd name="connsiteY1996" fmla="*/ 4408474 h 8562303"/>
                <a:gd name="connsiteX1997" fmla="*/ 6658369 w 8622239"/>
                <a:gd name="connsiteY1997" fmla="*/ 4404851 h 8562303"/>
                <a:gd name="connsiteX1998" fmla="*/ 6663889 w 8622239"/>
                <a:gd name="connsiteY1998" fmla="*/ 4404161 h 8562303"/>
                <a:gd name="connsiteX1999" fmla="*/ 6692007 w 8622239"/>
                <a:gd name="connsiteY1999" fmla="*/ 4407439 h 8562303"/>
                <a:gd name="connsiteX2000" fmla="*/ 6752899 w 8622239"/>
                <a:gd name="connsiteY2000" fmla="*/ 4442456 h 8562303"/>
                <a:gd name="connsiteX2001" fmla="*/ 6824487 w 8622239"/>
                <a:gd name="connsiteY2001" fmla="*/ 4495759 h 8562303"/>
                <a:gd name="connsiteX2002" fmla="*/ 6885553 w 8622239"/>
                <a:gd name="connsiteY2002" fmla="*/ 4533019 h 8562303"/>
                <a:gd name="connsiteX2003" fmla="*/ 6920571 w 8622239"/>
                <a:gd name="connsiteY2003" fmla="*/ 4553720 h 8562303"/>
                <a:gd name="connsiteX2004" fmla="*/ 6927815 w 8622239"/>
                <a:gd name="connsiteY2004" fmla="*/ 4553029 h 8562303"/>
                <a:gd name="connsiteX2005" fmla="*/ 6984568 w 8622239"/>
                <a:gd name="connsiteY2005" fmla="*/ 4547855 h 8562303"/>
                <a:gd name="connsiteX2006" fmla="*/ 6995091 w 8622239"/>
                <a:gd name="connsiteY2006" fmla="*/ 4548545 h 8562303"/>
                <a:gd name="connsiteX2007" fmla="*/ 6995954 w 8622239"/>
                <a:gd name="connsiteY2007" fmla="*/ 4548717 h 8562303"/>
                <a:gd name="connsiteX2008" fmla="*/ 7015964 w 8622239"/>
                <a:gd name="connsiteY2008" fmla="*/ 4561310 h 8562303"/>
                <a:gd name="connsiteX2009" fmla="*/ 7029419 w 8622239"/>
                <a:gd name="connsiteY2009" fmla="*/ 4573730 h 8562303"/>
                <a:gd name="connsiteX2010" fmla="*/ 7047531 w 8622239"/>
                <a:gd name="connsiteY2010" fmla="*/ 4629447 h 8562303"/>
                <a:gd name="connsiteX2011" fmla="*/ 7092727 w 8622239"/>
                <a:gd name="connsiteY2011" fmla="*/ 4675161 h 8562303"/>
                <a:gd name="connsiteX2012" fmla="*/ 7104112 w 8622239"/>
                <a:gd name="connsiteY2012" fmla="*/ 4675333 h 8562303"/>
                <a:gd name="connsiteX2013" fmla="*/ 7164142 w 8622239"/>
                <a:gd name="connsiteY2013" fmla="*/ 4668778 h 8562303"/>
                <a:gd name="connsiteX2014" fmla="*/ 7179667 w 8622239"/>
                <a:gd name="connsiteY2014" fmla="*/ 4668088 h 8562303"/>
                <a:gd name="connsiteX2015" fmla="*/ 7296623 w 8622239"/>
                <a:gd name="connsiteY2015" fmla="*/ 4707763 h 8562303"/>
                <a:gd name="connsiteX2016" fmla="*/ 7336126 w 8622239"/>
                <a:gd name="connsiteY2016" fmla="*/ 4749163 h 8562303"/>
                <a:gd name="connsiteX2017" fmla="*/ 7352341 w 8622239"/>
                <a:gd name="connsiteY2017" fmla="*/ 4766413 h 8562303"/>
                <a:gd name="connsiteX2018" fmla="*/ 7300073 w 8622239"/>
                <a:gd name="connsiteY2018" fmla="*/ 4838864 h 8562303"/>
                <a:gd name="connsiteX2019" fmla="*/ 7265918 w 8622239"/>
                <a:gd name="connsiteY2019" fmla="*/ 4918387 h 8562303"/>
                <a:gd name="connsiteX2020" fmla="*/ 7265746 w 8622239"/>
                <a:gd name="connsiteY2020" fmla="*/ 4918215 h 8562303"/>
                <a:gd name="connsiteX2021" fmla="*/ 7231935 w 8622239"/>
                <a:gd name="connsiteY2021" fmla="*/ 4924252 h 8562303"/>
                <a:gd name="connsiteX2022" fmla="*/ 7174320 w 8622239"/>
                <a:gd name="connsiteY2022" fmla="*/ 4992563 h 8562303"/>
                <a:gd name="connsiteX2023" fmla="*/ 7183635 w 8622239"/>
                <a:gd name="connsiteY2023" fmla="*/ 5028788 h 8562303"/>
                <a:gd name="connsiteX2024" fmla="*/ 7231418 w 8622239"/>
                <a:gd name="connsiteY2024" fmla="*/ 5072431 h 8562303"/>
                <a:gd name="connsiteX2025" fmla="*/ 7247806 w 8622239"/>
                <a:gd name="connsiteY2025" fmla="*/ 5093131 h 8562303"/>
                <a:gd name="connsiteX2026" fmla="*/ 7257121 w 8622239"/>
                <a:gd name="connsiteY2026" fmla="*/ 5161786 h 8562303"/>
                <a:gd name="connsiteX2027" fmla="*/ 7271783 w 8622239"/>
                <a:gd name="connsiteY2027" fmla="*/ 5167824 h 8562303"/>
                <a:gd name="connsiteX2028" fmla="*/ 7266781 w 8622239"/>
                <a:gd name="connsiteY2028" fmla="*/ 5179554 h 8562303"/>
                <a:gd name="connsiteX2029" fmla="*/ 7271093 w 8622239"/>
                <a:gd name="connsiteY2029" fmla="*/ 5168859 h 8562303"/>
                <a:gd name="connsiteX2030" fmla="*/ 7256603 w 8622239"/>
                <a:gd name="connsiteY2030" fmla="*/ 5162649 h 8562303"/>
                <a:gd name="connsiteX2031" fmla="*/ 7257293 w 8622239"/>
                <a:gd name="connsiteY2031" fmla="*/ 5168859 h 8562303"/>
                <a:gd name="connsiteX2032" fmla="*/ 7257293 w 8622239"/>
                <a:gd name="connsiteY2032" fmla="*/ 5170411 h 8562303"/>
                <a:gd name="connsiteX2033" fmla="*/ 7257121 w 8622239"/>
                <a:gd name="connsiteY2033" fmla="*/ 5172137 h 8562303"/>
                <a:gd name="connsiteX2034" fmla="*/ 7260915 w 8622239"/>
                <a:gd name="connsiteY2034" fmla="*/ 5182141 h 8562303"/>
                <a:gd name="connsiteX2035" fmla="*/ 7256948 w 8622239"/>
                <a:gd name="connsiteY2035" fmla="*/ 5172309 h 8562303"/>
                <a:gd name="connsiteX2036" fmla="*/ 7257121 w 8622239"/>
                <a:gd name="connsiteY2036" fmla="*/ 5170584 h 8562303"/>
                <a:gd name="connsiteX2037" fmla="*/ 7257121 w 8622239"/>
                <a:gd name="connsiteY2037" fmla="*/ 5169377 h 8562303"/>
                <a:gd name="connsiteX2038" fmla="*/ 7256431 w 8622239"/>
                <a:gd name="connsiteY2038" fmla="*/ 5163339 h 8562303"/>
                <a:gd name="connsiteX2039" fmla="*/ 7199678 w 8622239"/>
                <a:gd name="connsiteY2039" fmla="*/ 5152299 h 8562303"/>
                <a:gd name="connsiteX2040" fmla="*/ 7145857 w 8622239"/>
                <a:gd name="connsiteY2040" fmla="*/ 5165581 h 8562303"/>
                <a:gd name="connsiteX2041" fmla="*/ 7064954 w 8622239"/>
                <a:gd name="connsiteY2041" fmla="*/ 5209397 h 8562303"/>
                <a:gd name="connsiteX2042" fmla="*/ 7057537 w 8622239"/>
                <a:gd name="connsiteY2042" fmla="*/ 5231132 h 8562303"/>
                <a:gd name="connsiteX2043" fmla="*/ 7092037 w 8622239"/>
                <a:gd name="connsiteY2043" fmla="*/ 5300995 h 8562303"/>
                <a:gd name="connsiteX2044" fmla="*/ 7096349 w 8622239"/>
                <a:gd name="connsiteY2044" fmla="*/ 5319107 h 8562303"/>
                <a:gd name="connsiteX2045" fmla="*/ 7083929 w 8622239"/>
                <a:gd name="connsiteY2045" fmla="*/ 5335150 h 8562303"/>
                <a:gd name="connsiteX2046" fmla="*/ 7062021 w 8622239"/>
                <a:gd name="connsiteY2046" fmla="*/ 5357748 h 8562303"/>
                <a:gd name="connsiteX2047" fmla="*/ 7071164 w 8622239"/>
                <a:gd name="connsiteY2047" fmla="*/ 5378621 h 8562303"/>
                <a:gd name="connsiteX2048" fmla="*/ 7086517 w 8622239"/>
                <a:gd name="connsiteY2048" fmla="*/ 5421056 h 8562303"/>
                <a:gd name="connsiteX2049" fmla="*/ 7080479 w 8622239"/>
                <a:gd name="connsiteY2049" fmla="*/ 5459696 h 8562303"/>
                <a:gd name="connsiteX2050" fmla="*/ 7040114 w 8622239"/>
                <a:gd name="connsiteY2050" fmla="*/ 5519899 h 8562303"/>
                <a:gd name="connsiteX2051" fmla="*/ 7008719 w 8622239"/>
                <a:gd name="connsiteY2051" fmla="*/ 5575617 h 8562303"/>
                <a:gd name="connsiteX2052" fmla="*/ 6951966 w 8622239"/>
                <a:gd name="connsiteY2052" fmla="*/ 5634957 h 8562303"/>
                <a:gd name="connsiteX2053" fmla="*/ 6897628 w 8622239"/>
                <a:gd name="connsiteY2053" fmla="*/ 5668078 h 8562303"/>
                <a:gd name="connsiteX2054" fmla="*/ 6890383 w 8622239"/>
                <a:gd name="connsiteY2054" fmla="*/ 5722933 h 8562303"/>
                <a:gd name="connsiteX2055" fmla="*/ 6884690 w 8622239"/>
                <a:gd name="connsiteY2055" fmla="*/ 5766231 h 8562303"/>
                <a:gd name="connsiteX2056" fmla="*/ 6861058 w 8622239"/>
                <a:gd name="connsiteY2056" fmla="*/ 5768991 h 8562303"/>
                <a:gd name="connsiteX2057" fmla="*/ 6823452 w 8622239"/>
                <a:gd name="connsiteY2057" fmla="*/ 5776926 h 8562303"/>
                <a:gd name="connsiteX2058" fmla="*/ 6810687 w 8622239"/>
                <a:gd name="connsiteY2058" fmla="*/ 5799696 h 8562303"/>
                <a:gd name="connsiteX2059" fmla="*/ 6811377 w 8622239"/>
                <a:gd name="connsiteY2059" fmla="*/ 5815221 h 8562303"/>
                <a:gd name="connsiteX2060" fmla="*/ 6808790 w 8622239"/>
                <a:gd name="connsiteY2060" fmla="*/ 5838854 h 8562303"/>
                <a:gd name="connsiteX2061" fmla="*/ 6763767 w 8622239"/>
                <a:gd name="connsiteY2061" fmla="*/ 5902162 h 8562303"/>
                <a:gd name="connsiteX2062" fmla="*/ 6747724 w 8622239"/>
                <a:gd name="connsiteY2062" fmla="*/ 5928209 h 8562303"/>
                <a:gd name="connsiteX2063" fmla="*/ 6756694 w 8622239"/>
                <a:gd name="connsiteY2063" fmla="*/ 5943562 h 8562303"/>
                <a:gd name="connsiteX2064" fmla="*/ 6761352 w 8622239"/>
                <a:gd name="connsiteY2064" fmla="*/ 5959777 h 8562303"/>
                <a:gd name="connsiteX2065" fmla="*/ 6760490 w 8622239"/>
                <a:gd name="connsiteY2065" fmla="*/ 5976165 h 8562303"/>
                <a:gd name="connsiteX2066" fmla="*/ 6760144 w 8622239"/>
                <a:gd name="connsiteY2066" fmla="*/ 5977717 h 8562303"/>
                <a:gd name="connsiteX2067" fmla="*/ 6755487 w 8622239"/>
                <a:gd name="connsiteY2067" fmla="*/ 5978752 h 8562303"/>
                <a:gd name="connsiteX2068" fmla="*/ 6738582 w 8622239"/>
                <a:gd name="connsiteY2068" fmla="*/ 5984445 h 8562303"/>
                <a:gd name="connsiteX2069" fmla="*/ 6704081 w 8622239"/>
                <a:gd name="connsiteY2069" fmla="*/ 5999797 h 8562303"/>
                <a:gd name="connsiteX2070" fmla="*/ 6689764 w 8622239"/>
                <a:gd name="connsiteY2070" fmla="*/ 5987723 h 8562303"/>
                <a:gd name="connsiteX2071" fmla="*/ 6663544 w 8622239"/>
                <a:gd name="connsiteY2071" fmla="*/ 5984272 h 8562303"/>
                <a:gd name="connsiteX2072" fmla="*/ 6606273 w 8622239"/>
                <a:gd name="connsiteY2072" fmla="*/ 5984272 h 8562303"/>
                <a:gd name="connsiteX2073" fmla="*/ 6606273 w 8622239"/>
                <a:gd name="connsiteY2073" fmla="*/ 6033608 h 8562303"/>
                <a:gd name="connsiteX2074" fmla="*/ 6605411 w 8622239"/>
                <a:gd name="connsiteY2074" fmla="*/ 6033608 h 8562303"/>
                <a:gd name="connsiteX2075" fmla="*/ 6525715 w 8622239"/>
                <a:gd name="connsiteY2075" fmla="*/ 6010493 h 8562303"/>
                <a:gd name="connsiteX2076" fmla="*/ 6462235 w 8622239"/>
                <a:gd name="connsiteY2076" fmla="*/ 6021533 h 8562303"/>
                <a:gd name="connsiteX2077" fmla="*/ 6385644 w 8622239"/>
                <a:gd name="connsiteY2077" fmla="*/ 6060345 h 8562303"/>
                <a:gd name="connsiteX2078" fmla="*/ 6323026 w 8622239"/>
                <a:gd name="connsiteY2078" fmla="*/ 6077768 h 8562303"/>
                <a:gd name="connsiteX2079" fmla="*/ 6279383 w 8622239"/>
                <a:gd name="connsiteY2079" fmla="*/ 6085530 h 8562303"/>
                <a:gd name="connsiteX2080" fmla="*/ 6297668 w 8622239"/>
                <a:gd name="connsiteY2080" fmla="*/ 6100020 h 8562303"/>
                <a:gd name="connsiteX2081" fmla="*/ 6394097 w 8622239"/>
                <a:gd name="connsiteY2081" fmla="*/ 6075353 h 8562303"/>
                <a:gd name="connsiteX2082" fmla="*/ 6467237 w 8622239"/>
                <a:gd name="connsiteY2082" fmla="*/ 6038265 h 8562303"/>
                <a:gd name="connsiteX2083" fmla="*/ 6525888 w 8622239"/>
                <a:gd name="connsiteY2083" fmla="*/ 6027743 h 8562303"/>
                <a:gd name="connsiteX2084" fmla="*/ 6605583 w 8622239"/>
                <a:gd name="connsiteY2084" fmla="*/ 6051030 h 8562303"/>
                <a:gd name="connsiteX2085" fmla="*/ 6606446 w 8622239"/>
                <a:gd name="connsiteY2085" fmla="*/ 6051030 h 8562303"/>
                <a:gd name="connsiteX2086" fmla="*/ 6606446 w 8622239"/>
                <a:gd name="connsiteY2086" fmla="*/ 6112613 h 8562303"/>
                <a:gd name="connsiteX2087" fmla="*/ 6623524 w 8622239"/>
                <a:gd name="connsiteY2087" fmla="*/ 6112613 h 8562303"/>
                <a:gd name="connsiteX2088" fmla="*/ 6623524 w 8622239"/>
                <a:gd name="connsiteY2088" fmla="*/ 6055515 h 8562303"/>
                <a:gd name="connsiteX2089" fmla="*/ 6643361 w 8622239"/>
                <a:gd name="connsiteY2089" fmla="*/ 6055515 h 8562303"/>
                <a:gd name="connsiteX2090" fmla="*/ 6653021 w 8622239"/>
                <a:gd name="connsiteY2090" fmla="*/ 6056206 h 8562303"/>
                <a:gd name="connsiteX2091" fmla="*/ 6660956 w 8622239"/>
                <a:gd name="connsiteY2091" fmla="*/ 6059655 h 8562303"/>
                <a:gd name="connsiteX2092" fmla="*/ 6669754 w 8622239"/>
                <a:gd name="connsiteY2092" fmla="*/ 6068280 h 8562303"/>
                <a:gd name="connsiteX2093" fmla="*/ 6682174 w 8622239"/>
                <a:gd name="connsiteY2093" fmla="*/ 6086048 h 8562303"/>
                <a:gd name="connsiteX2094" fmla="*/ 6699251 w 8622239"/>
                <a:gd name="connsiteY2094" fmla="*/ 6112613 h 8562303"/>
                <a:gd name="connsiteX2095" fmla="*/ 6720814 w 8622239"/>
                <a:gd name="connsiteY2095" fmla="*/ 6112613 h 8562303"/>
                <a:gd name="connsiteX2096" fmla="*/ 6698216 w 8622239"/>
                <a:gd name="connsiteY2096" fmla="*/ 6077768 h 8562303"/>
                <a:gd name="connsiteX2097" fmla="*/ 6684244 w 8622239"/>
                <a:gd name="connsiteY2097" fmla="*/ 6060690 h 8562303"/>
                <a:gd name="connsiteX2098" fmla="*/ 6673894 w 8622239"/>
                <a:gd name="connsiteY2098" fmla="*/ 6054308 h 8562303"/>
                <a:gd name="connsiteX2099" fmla="*/ 6701322 w 8622239"/>
                <a:gd name="connsiteY2099" fmla="*/ 6042405 h 8562303"/>
                <a:gd name="connsiteX2100" fmla="*/ 6710292 w 8622239"/>
                <a:gd name="connsiteY2100" fmla="*/ 6019290 h 8562303"/>
                <a:gd name="connsiteX2101" fmla="*/ 6709947 w 8622239"/>
                <a:gd name="connsiteY2101" fmla="*/ 6016530 h 8562303"/>
                <a:gd name="connsiteX2102" fmla="*/ 6746689 w 8622239"/>
                <a:gd name="connsiteY2102" fmla="*/ 6000143 h 8562303"/>
                <a:gd name="connsiteX2103" fmla="*/ 6769287 w 8622239"/>
                <a:gd name="connsiteY2103" fmla="*/ 5992725 h 8562303"/>
                <a:gd name="connsiteX2104" fmla="*/ 6779119 w 8622239"/>
                <a:gd name="connsiteY2104" fmla="*/ 5959777 h 8562303"/>
                <a:gd name="connsiteX2105" fmla="*/ 6770150 w 8622239"/>
                <a:gd name="connsiteY2105" fmla="*/ 5932004 h 8562303"/>
                <a:gd name="connsiteX2106" fmla="*/ 6765837 w 8622239"/>
                <a:gd name="connsiteY2106" fmla="*/ 5927519 h 8562303"/>
                <a:gd name="connsiteX2107" fmla="*/ 6776705 w 8622239"/>
                <a:gd name="connsiteY2107" fmla="*/ 5914237 h 8562303"/>
                <a:gd name="connsiteX2108" fmla="*/ 6826040 w 8622239"/>
                <a:gd name="connsiteY2108" fmla="*/ 5842476 h 8562303"/>
                <a:gd name="connsiteX2109" fmla="*/ 6829317 w 8622239"/>
                <a:gd name="connsiteY2109" fmla="*/ 5814876 h 8562303"/>
                <a:gd name="connsiteX2110" fmla="*/ 6828627 w 8622239"/>
                <a:gd name="connsiteY2110" fmla="*/ 5799351 h 8562303"/>
                <a:gd name="connsiteX2111" fmla="*/ 6833457 w 8622239"/>
                <a:gd name="connsiteY2111" fmla="*/ 5791416 h 8562303"/>
                <a:gd name="connsiteX2112" fmla="*/ 6865715 w 8622239"/>
                <a:gd name="connsiteY2112" fmla="*/ 5785896 h 8562303"/>
                <a:gd name="connsiteX2113" fmla="*/ 6885725 w 8622239"/>
                <a:gd name="connsiteY2113" fmla="*/ 5784171 h 8562303"/>
                <a:gd name="connsiteX2114" fmla="*/ 6901595 w 8622239"/>
                <a:gd name="connsiteY2114" fmla="*/ 5797971 h 8562303"/>
                <a:gd name="connsiteX2115" fmla="*/ 6920915 w 8622239"/>
                <a:gd name="connsiteY2115" fmla="*/ 5815566 h 8562303"/>
                <a:gd name="connsiteX2116" fmla="*/ 6924883 w 8622239"/>
                <a:gd name="connsiteY2116" fmla="*/ 5825399 h 8562303"/>
                <a:gd name="connsiteX2117" fmla="*/ 6931438 w 8622239"/>
                <a:gd name="connsiteY2117" fmla="*/ 5840406 h 8562303"/>
                <a:gd name="connsiteX2118" fmla="*/ 6951276 w 8622239"/>
                <a:gd name="connsiteY2118" fmla="*/ 5858174 h 8562303"/>
                <a:gd name="connsiteX2119" fmla="*/ 6953691 w 8622239"/>
                <a:gd name="connsiteY2119" fmla="*/ 5860072 h 8562303"/>
                <a:gd name="connsiteX2120" fmla="*/ 7000784 w 8622239"/>
                <a:gd name="connsiteY2120" fmla="*/ 5888362 h 8562303"/>
                <a:gd name="connsiteX2121" fmla="*/ 7061677 w 8622239"/>
                <a:gd name="connsiteY2121" fmla="*/ 5932004 h 8562303"/>
                <a:gd name="connsiteX2122" fmla="*/ 7061849 w 8622239"/>
                <a:gd name="connsiteY2122" fmla="*/ 5941320 h 8562303"/>
                <a:gd name="connsiteX2123" fmla="*/ 7062194 w 8622239"/>
                <a:gd name="connsiteY2123" fmla="*/ 5956500 h 8562303"/>
                <a:gd name="connsiteX2124" fmla="*/ 7064264 w 8622239"/>
                <a:gd name="connsiteY2124" fmla="*/ 5989620 h 8562303"/>
                <a:gd name="connsiteX2125" fmla="*/ 7064437 w 8622239"/>
                <a:gd name="connsiteY2125" fmla="*/ 5991690 h 8562303"/>
                <a:gd name="connsiteX2126" fmla="*/ 7064092 w 8622239"/>
                <a:gd name="connsiteY2126" fmla="*/ 6055515 h 8562303"/>
                <a:gd name="connsiteX2127" fmla="*/ 7047014 w 8622239"/>
                <a:gd name="connsiteY2127" fmla="*/ 6056550 h 8562303"/>
                <a:gd name="connsiteX2128" fmla="*/ 6968009 w 8622239"/>
                <a:gd name="connsiteY2128" fmla="*/ 6073110 h 8562303"/>
                <a:gd name="connsiteX2129" fmla="*/ 6941271 w 8622239"/>
                <a:gd name="connsiteY2129" fmla="*/ 6084151 h 8562303"/>
                <a:gd name="connsiteX2130" fmla="*/ 6842945 w 8622239"/>
                <a:gd name="connsiteY2130" fmla="*/ 6175231 h 8562303"/>
                <a:gd name="connsiteX2131" fmla="*/ 6809653 w 8622239"/>
                <a:gd name="connsiteY2131" fmla="*/ 6240782 h 8562303"/>
                <a:gd name="connsiteX2132" fmla="*/ 6710809 w 8622239"/>
                <a:gd name="connsiteY2132" fmla="*/ 6230087 h 8562303"/>
                <a:gd name="connsiteX2133" fmla="*/ 6707359 w 8622239"/>
                <a:gd name="connsiteY2133" fmla="*/ 6229396 h 8562303"/>
                <a:gd name="connsiteX2134" fmla="*/ 6687177 w 8622239"/>
                <a:gd name="connsiteY2134" fmla="*/ 6226464 h 8562303"/>
                <a:gd name="connsiteX2135" fmla="*/ 6673894 w 8622239"/>
                <a:gd name="connsiteY2135" fmla="*/ 6225602 h 8562303"/>
                <a:gd name="connsiteX2136" fmla="*/ 6638531 w 8622239"/>
                <a:gd name="connsiteY2136" fmla="*/ 6219047 h 8562303"/>
                <a:gd name="connsiteX2137" fmla="*/ 6637496 w 8622239"/>
                <a:gd name="connsiteY2137" fmla="*/ 6169366 h 8562303"/>
                <a:gd name="connsiteX2138" fmla="*/ 6635944 w 8622239"/>
                <a:gd name="connsiteY2138" fmla="*/ 6160569 h 8562303"/>
                <a:gd name="connsiteX2139" fmla="*/ 6630768 w 8622239"/>
                <a:gd name="connsiteY2139" fmla="*/ 6158843 h 8562303"/>
                <a:gd name="connsiteX2140" fmla="*/ 6610759 w 8622239"/>
                <a:gd name="connsiteY2140" fmla="*/ 6155048 h 8562303"/>
                <a:gd name="connsiteX2141" fmla="*/ 6576258 w 8622239"/>
                <a:gd name="connsiteY2141" fmla="*/ 6191446 h 8562303"/>
                <a:gd name="connsiteX2142" fmla="*/ 6530890 w 8622239"/>
                <a:gd name="connsiteY2142" fmla="*/ 6229224 h 8562303"/>
                <a:gd name="connsiteX2143" fmla="*/ 6476897 w 8622239"/>
                <a:gd name="connsiteY2143" fmla="*/ 6192826 h 8562303"/>
                <a:gd name="connsiteX2144" fmla="*/ 6436360 w 8622239"/>
                <a:gd name="connsiteY2144" fmla="*/ 6178336 h 8562303"/>
                <a:gd name="connsiteX2145" fmla="*/ 6428942 w 8622239"/>
                <a:gd name="connsiteY2145" fmla="*/ 6179371 h 8562303"/>
                <a:gd name="connsiteX2146" fmla="*/ 6427390 w 8622239"/>
                <a:gd name="connsiteY2146" fmla="*/ 6185409 h 8562303"/>
                <a:gd name="connsiteX2147" fmla="*/ 6340104 w 8622239"/>
                <a:gd name="connsiteY2147" fmla="*/ 6217666 h 8562303"/>
                <a:gd name="connsiteX2148" fmla="*/ 6293011 w 8622239"/>
                <a:gd name="connsiteY2148" fmla="*/ 6235779 h 8562303"/>
                <a:gd name="connsiteX2149" fmla="*/ 6299049 w 8622239"/>
                <a:gd name="connsiteY2149" fmla="*/ 6253547 h 8562303"/>
                <a:gd name="connsiteX2150" fmla="*/ 6301119 w 8622239"/>
                <a:gd name="connsiteY2150" fmla="*/ 6256307 h 8562303"/>
                <a:gd name="connsiteX2151" fmla="*/ 6279038 w 8622239"/>
                <a:gd name="connsiteY2151" fmla="*/ 6271142 h 8562303"/>
                <a:gd name="connsiteX2152" fmla="*/ 6259201 w 8622239"/>
                <a:gd name="connsiteY2152" fmla="*/ 6246819 h 8562303"/>
                <a:gd name="connsiteX2153" fmla="*/ 6264376 w 8622239"/>
                <a:gd name="connsiteY2153" fmla="*/ 6218874 h 8562303"/>
                <a:gd name="connsiteX2154" fmla="*/ 6313194 w 8622239"/>
                <a:gd name="connsiteY2154" fmla="*/ 6193516 h 8562303"/>
                <a:gd name="connsiteX2155" fmla="*/ 6367359 w 8622239"/>
                <a:gd name="connsiteY2155" fmla="*/ 6195586 h 8562303"/>
                <a:gd name="connsiteX2156" fmla="*/ 6395477 w 8622239"/>
                <a:gd name="connsiteY2156" fmla="*/ 6176266 h 8562303"/>
                <a:gd name="connsiteX2157" fmla="*/ 6374087 w 8622239"/>
                <a:gd name="connsiteY2157" fmla="*/ 6144699 h 8562303"/>
                <a:gd name="connsiteX2158" fmla="*/ 6333894 w 8622239"/>
                <a:gd name="connsiteY2158" fmla="*/ 6129519 h 8562303"/>
                <a:gd name="connsiteX2159" fmla="*/ 6304914 w 8622239"/>
                <a:gd name="connsiteY2159" fmla="*/ 6110716 h 8562303"/>
                <a:gd name="connsiteX2160" fmla="*/ 6297151 w 8622239"/>
                <a:gd name="connsiteY2160" fmla="*/ 6100193 h 8562303"/>
                <a:gd name="connsiteX2161" fmla="*/ 6276796 w 8622239"/>
                <a:gd name="connsiteY2161" fmla="*/ 6103643 h 8562303"/>
                <a:gd name="connsiteX2162" fmla="*/ 6276623 w 8622239"/>
                <a:gd name="connsiteY2162" fmla="*/ 6102263 h 8562303"/>
                <a:gd name="connsiteX2163" fmla="*/ 6295944 w 8622239"/>
                <a:gd name="connsiteY2163" fmla="*/ 6099331 h 8562303"/>
                <a:gd name="connsiteX2164" fmla="*/ 6277831 w 8622239"/>
                <a:gd name="connsiteY2164" fmla="*/ 6086048 h 8562303"/>
                <a:gd name="connsiteX2165" fmla="*/ 6279038 w 8622239"/>
                <a:gd name="connsiteY2165" fmla="*/ 6085876 h 8562303"/>
                <a:gd name="connsiteX2166" fmla="*/ 6278348 w 8622239"/>
                <a:gd name="connsiteY2166" fmla="*/ 6085703 h 8562303"/>
                <a:gd name="connsiteX2167" fmla="*/ 6274036 w 8622239"/>
                <a:gd name="connsiteY2167" fmla="*/ 6086565 h 8562303"/>
                <a:gd name="connsiteX2168" fmla="*/ 6273174 w 8622239"/>
                <a:gd name="connsiteY2168" fmla="*/ 6086738 h 8562303"/>
                <a:gd name="connsiteX2169" fmla="*/ 6273174 w 8622239"/>
                <a:gd name="connsiteY2169" fmla="*/ 6087083 h 8562303"/>
                <a:gd name="connsiteX2170" fmla="*/ 6270758 w 8622239"/>
                <a:gd name="connsiteY2170" fmla="*/ 6088463 h 8562303"/>
                <a:gd name="connsiteX2171" fmla="*/ 6241778 w 8622239"/>
                <a:gd name="connsiteY2171" fmla="*/ 6091913 h 8562303"/>
                <a:gd name="connsiteX2172" fmla="*/ 6196238 w 8622239"/>
                <a:gd name="connsiteY2172" fmla="*/ 6095190 h 8562303"/>
                <a:gd name="connsiteX2173" fmla="*/ 6103604 w 8622239"/>
                <a:gd name="connsiteY2173" fmla="*/ 6124689 h 8562303"/>
                <a:gd name="connsiteX2174" fmla="*/ 6074624 w 8622239"/>
                <a:gd name="connsiteY2174" fmla="*/ 6127966 h 8562303"/>
                <a:gd name="connsiteX2175" fmla="*/ 6062722 w 8622239"/>
                <a:gd name="connsiteY2175" fmla="*/ 6144009 h 8562303"/>
                <a:gd name="connsiteX2176" fmla="*/ 6067552 w 8622239"/>
                <a:gd name="connsiteY2176" fmla="*/ 6168503 h 8562303"/>
                <a:gd name="connsiteX2177" fmla="*/ 6053407 w 8622239"/>
                <a:gd name="connsiteY2177" fmla="*/ 6177819 h 8562303"/>
                <a:gd name="connsiteX2178" fmla="*/ 6008384 w 8622239"/>
                <a:gd name="connsiteY2178" fmla="*/ 6181441 h 8562303"/>
                <a:gd name="connsiteX2179" fmla="*/ 5994756 w 8622239"/>
                <a:gd name="connsiteY2179" fmla="*/ 6182131 h 8562303"/>
                <a:gd name="connsiteX2180" fmla="*/ 5942316 w 8622239"/>
                <a:gd name="connsiteY2180" fmla="*/ 6153496 h 8562303"/>
                <a:gd name="connsiteX2181" fmla="*/ 5934036 w 8622239"/>
                <a:gd name="connsiteY2181" fmla="*/ 6111923 h 8562303"/>
                <a:gd name="connsiteX2182" fmla="*/ 5907643 w 8622239"/>
                <a:gd name="connsiteY2182" fmla="*/ 6074835 h 8562303"/>
                <a:gd name="connsiteX2183" fmla="*/ 5883148 w 8622239"/>
                <a:gd name="connsiteY2183" fmla="*/ 6051376 h 8562303"/>
                <a:gd name="connsiteX2184" fmla="*/ 5894533 w 8622239"/>
                <a:gd name="connsiteY2184" fmla="*/ 6012563 h 8562303"/>
                <a:gd name="connsiteX2185" fmla="*/ 5893843 w 8622239"/>
                <a:gd name="connsiteY2185" fmla="*/ 5985653 h 8562303"/>
                <a:gd name="connsiteX2186" fmla="*/ 5913508 w 8622239"/>
                <a:gd name="connsiteY2186" fmla="*/ 5916307 h 8562303"/>
                <a:gd name="connsiteX2187" fmla="*/ 5932311 w 8622239"/>
                <a:gd name="connsiteY2187" fmla="*/ 5867834 h 8562303"/>
                <a:gd name="connsiteX2188" fmla="*/ 5918683 w 8622239"/>
                <a:gd name="connsiteY2188" fmla="*/ 5844201 h 8562303"/>
                <a:gd name="connsiteX2189" fmla="*/ 5893325 w 8622239"/>
                <a:gd name="connsiteY2189" fmla="*/ 5839716 h 8562303"/>
                <a:gd name="connsiteX2190" fmla="*/ 5872798 w 8622239"/>
                <a:gd name="connsiteY2190" fmla="*/ 5840751 h 8562303"/>
                <a:gd name="connsiteX2191" fmla="*/ 5868313 w 8622239"/>
                <a:gd name="connsiteY2191" fmla="*/ 5840924 h 8562303"/>
                <a:gd name="connsiteX2192" fmla="*/ 5820358 w 8622239"/>
                <a:gd name="connsiteY2192" fmla="*/ 5816774 h 8562303"/>
                <a:gd name="connsiteX2193" fmla="*/ 5800520 w 8622239"/>
                <a:gd name="connsiteY2193" fmla="*/ 5739838 h 8562303"/>
                <a:gd name="connsiteX2194" fmla="*/ 5801210 w 8622239"/>
                <a:gd name="connsiteY2194" fmla="*/ 5732766 h 8562303"/>
                <a:gd name="connsiteX2195" fmla="*/ 5818115 w 8622239"/>
                <a:gd name="connsiteY2195" fmla="*/ 5682050 h 8562303"/>
                <a:gd name="connsiteX2196" fmla="*/ 5802245 w 8622239"/>
                <a:gd name="connsiteY2196" fmla="*/ 5654623 h 8562303"/>
                <a:gd name="connsiteX2197" fmla="*/ 5790342 w 8622239"/>
                <a:gd name="connsiteY2197" fmla="*/ 5636338 h 8562303"/>
                <a:gd name="connsiteX2198" fmla="*/ 5784823 w 8622239"/>
                <a:gd name="connsiteY2198" fmla="*/ 5604079 h 8562303"/>
                <a:gd name="connsiteX2199" fmla="*/ 5768607 w 8622239"/>
                <a:gd name="connsiteY2199" fmla="*/ 5576997 h 8562303"/>
                <a:gd name="connsiteX2200" fmla="*/ 5732037 w 8622239"/>
                <a:gd name="connsiteY2200" fmla="*/ 5543877 h 8562303"/>
                <a:gd name="connsiteX2201" fmla="*/ 5629054 w 8622239"/>
                <a:gd name="connsiteY2201" fmla="*/ 5543877 h 8562303"/>
                <a:gd name="connsiteX2202" fmla="*/ 5492777 w 8622239"/>
                <a:gd name="connsiteY2202" fmla="*/ 5573547 h 8562303"/>
                <a:gd name="connsiteX2203" fmla="*/ 5444995 w 8622239"/>
                <a:gd name="connsiteY2203" fmla="*/ 5586829 h 8562303"/>
                <a:gd name="connsiteX2204" fmla="*/ 5417395 w 8622239"/>
                <a:gd name="connsiteY2204" fmla="*/ 5622020 h 8562303"/>
                <a:gd name="connsiteX2205" fmla="*/ 5409632 w 8622239"/>
                <a:gd name="connsiteY2205" fmla="*/ 5628057 h 8562303"/>
                <a:gd name="connsiteX2206" fmla="*/ 5405837 w 8622239"/>
                <a:gd name="connsiteY2206" fmla="*/ 5614775 h 8562303"/>
                <a:gd name="connsiteX2207" fmla="*/ 5403250 w 8622239"/>
                <a:gd name="connsiteY2207" fmla="*/ 5604079 h 8562303"/>
                <a:gd name="connsiteX2208" fmla="*/ 5392210 w 8622239"/>
                <a:gd name="connsiteY2208" fmla="*/ 5593902 h 8562303"/>
                <a:gd name="connsiteX2209" fmla="*/ 5388759 w 8622239"/>
                <a:gd name="connsiteY2209" fmla="*/ 5594592 h 8562303"/>
                <a:gd name="connsiteX2210" fmla="*/ 5384447 w 8622239"/>
                <a:gd name="connsiteY2210" fmla="*/ 5556814 h 8562303"/>
                <a:gd name="connsiteX2211" fmla="*/ 5318724 w 8622239"/>
                <a:gd name="connsiteY2211" fmla="*/ 5522314 h 8562303"/>
                <a:gd name="connsiteX2212" fmla="*/ 5235061 w 8622239"/>
                <a:gd name="connsiteY2212" fmla="*/ 5493334 h 8562303"/>
                <a:gd name="connsiteX2213" fmla="*/ 5233508 w 8622239"/>
                <a:gd name="connsiteY2213" fmla="*/ 5492644 h 8562303"/>
                <a:gd name="connsiteX2214" fmla="*/ 5231784 w 8622239"/>
                <a:gd name="connsiteY2214" fmla="*/ 5492644 h 8562303"/>
                <a:gd name="connsiteX2215" fmla="*/ 5175893 w 8622239"/>
                <a:gd name="connsiteY2215" fmla="*/ 5487469 h 8562303"/>
                <a:gd name="connsiteX2216" fmla="*/ 5162783 w 8622239"/>
                <a:gd name="connsiteY2216" fmla="*/ 5486261 h 8562303"/>
                <a:gd name="connsiteX2217" fmla="*/ 5081707 w 8622239"/>
                <a:gd name="connsiteY2217" fmla="*/ 5501269 h 8562303"/>
                <a:gd name="connsiteX2218" fmla="*/ 5031509 w 8622239"/>
                <a:gd name="connsiteY2218" fmla="*/ 5520244 h 8562303"/>
                <a:gd name="connsiteX2219" fmla="*/ 5033062 w 8622239"/>
                <a:gd name="connsiteY2219" fmla="*/ 5524729 h 8562303"/>
                <a:gd name="connsiteX2220" fmla="*/ 5012017 w 8622239"/>
                <a:gd name="connsiteY2220" fmla="*/ 5476946 h 8562303"/>
                <a:gd name="connsiteX2221" fmla="*/ 5011327 w 8622239"/>
                <a:gd name="connsiteY2221" fmla="*/ 5469873 h 8562303"/>
                <a:gd name="connsiteX2222" fmla="*/ 5036857 w 8622239"/>
                <a:gd name="connsiteY2222" fmla="*/ 5405358 h 8562303"/>
                <a:gd name="connsiteX2223" fmla="*/ 5040480 w 8622239"/>
                <a:gd name="connsiteY2223" fmla="*/ 5390178 h 8562303"/>
                <a:gd name="connsiteX2224" fmla="*/ 5076532 w 8622239"/>
                <a:gd name="connsiteY2224" fmla="*/ 5367408 h 8562303"/>
                <a:gd name="connsiteX2225" fmla="*/ 5151570 w 8622239"/>
                <a:gd name="connsiteY2225" fmla="*/ 5281158 h 8562303"/>
                <a:gd name="connsiteX2226" fmla="*/ 5215568 w 8622239"/>
                <a:gd name="connsiteY2226" fmla="*/ 5253040 h 8562303"/>
                <a:gd name="connsiteX2227" fmla="*/ 5278531 w 8622239"/>
                <a:gd name="connsiteY2227" fmla="*/ 5235962 h 8562303"/>
                <a:gd name="connsiteX2228" fmla="*/ 5292331 w 8622239"/>
                <a:gd name="connsiteY2228" fmla="*/ 5231649 h 8562303"/>
                <a:gd name="connsiteX2229" fmla="*/ 5342184 w 8622239"/>
                <a:gd name="connsiteY2229" fmla="*/ 5245794 h 8562303"/>
                <a:gd name="connsiteX2230" fmla="*/ 5347359 w 8622239"/>
                <a:gd name="connsiteY2230" fmla="*/ 5246657 h 8562303"/>
                <a:gd name="connsiteX2231" fmla="*/ 5411357 w 8622239"/>
                <a:gd name="connsiteY2231" fmla="*/ 5219919 h 8562303"/>
                <a:gd name="connsiteX2232" fmla="*/ 5475527 w 8622239"/>
                <a:gd name="connsiteY2232" fmla="*/ 5194907 h 8562303"/>
                <a:gd name="connsiteX2233" fmla="*/ 5594898 w 8622239"/>
                <a:gd name="connsiteY2233" fmla="*/ 5194907 h 8562303"/>
                <a:gd name="connsiteX2234" fmla="*/ 5663726 w 8622239"/>
                <a:gd name="connsiteY2234" fmla="*/ 5203014 h 8562303"/>
                <a:gd name="connsiteX2235" fmla="*/ 5667349 w 8622239"/>
                <a:gd name="connsiteY2235" fmla="*/ 5203014 h 8562303"/>
                <a:gd name="connsiteX2236" fmla="*/ 5770677 w 8622239"/>
                <a:gd name="connsiteY2236" fmla="*/ 5139706 h 8562303"/>
                <a:gd name="connsiteX2237" fmla="*/ 5805350 w 8622239"/>
                <a:gd name="connsiteY2237" fmla="*/ 5078813 h 8562303"/>
                <a:gd name="connsiteX2238" fmla="*/ 5814147 w 8622239"/>
                <a:gd name="connsiteY2238" fmla="*/ 5041898 h 8562303"/>
                <a:gd name="connsiteX2239" fmla="*/ 5788790 w 8622239"/>
                <a:gd name="connsiteY2239" fmla="*/ 4998600 h 8562303"/>
                <a:gd name="connsiteX2240" fmla="*/ 5768262 w 8622239"/>
                <a:gd name="connsiteY2240" fmla="*/ 4970655 h 8562303"/>
                <a:gd name="connsiteX2241" fmla="*/ 5790687 w 8622239"/>
                <a:gd name="connsiteY2241" fmla="*/ 4949955 h 8562303"/>
                <a:gd name="connsiteX2242" fmla="*/ 5827430 w 8622239"/>
                <a:gd name="connsiteY2242" fmla="*/ 4845592 h 8562303"/>
                <a:gd name="connsiteX2243" fmla="*/ 5812250 w 8622239"/>
                <a:gd name="connsiteY2243" fmla="*/ 4802639 h 8562303"/>
                <a:gd name="connsiteX2244" fmla="*/ 5802417 w 8622239"/>
                <a:gd name="connsiteY2244" fmla="*/ 4756408 h 8562303"/>
                <a:gd name="connsiteX2245" fmla="*/ 5852443 w 8622239"/>
                <a:gd name="connsiteY2245" fmla="*/ 4673608 h 8562303"/>
                <a:gd name="connsiteX2246" fmla="*/ 5907816 w 8622239"/>
                <a:gd name="connsiteY2246" fmla="*/ 4627723 h 8562303"/>
                <a:gd name="connsiteX2247" fmla="*/ 5914716 w 8622239"/>
                <a:gd name="connsiteY2247" fmla="*/ 4610817 h 8562303"/>
                <a:gd name="connsiteX2248" fmla="*/ 5892808 w 8622239"/>
                <a:gd name="connsiteY2248" fmla="*/ 4554410 h 8562303"/>
                <a:gd name="connsiteX2249" fmla="*/ 5895568 w 8622239"/>
                <a:gd name="connsiteY2249" fmla="*/ 4550097 h 8562303"/>
                <a:gd name="connsiteX2250" fmla="*/ 5910403 w 8622239"/>
                <a:gd name="connsiteY2250" fmla="*/ 4524912 h 8562303"/>
                <a:gd name="connsiteX2251" fmla="*/ 5899363 w 8622239"/>
                <a:gd name="connsiteY2251" fmla="*/ 4467124 h 8562303"/>
                <a:gd name="connsiteX2252" fmla="*/ 5900226 w 8622239"/>
                <a:gd name="connsiteY2252" fmla="*/ 4454876 h 8562303"/>
                <a:gd name="connsiteX2253" fmla="*/ 5938349 w 8622239"/>
                <a:gd name="connsiteY2253" fmla="*/ 4464881 h 8562303"/>
                <a:gd name="connsiteX2254" fmla="*/ 5973366 w 8622239"/>
                <a:gd name="connsiteY2254" fmla="*/ 4458326 h 8562303"/>
                <a:gd name="connsiteX2255" fmla="*/ 5982509 w 8622239"/>
                <a:gd name="connsiteY2255" fmla="*/ 4421756 h 8562303"/>
                <a:gd name="connsiteX2256" fmla="*/ 5985959 w 8622239"/>
                <a:gd name="connsiteY2256" fmla="*/ 4402953 h 8562303"/>
                <a:gd name="connsiteX2257" fmla="*/ 6032189 w 8622239"/>
                <a:gd name="connsiteY2257" fmla="*/ 4440904 h 8562303"/>
                <a:gd name="connsiteX2258" fmla="*/ 6056857 w 8622239"/>
                <a:gd name="connsiteY2258" fmla="*/ 4450909 h 8562303"/>
                <a:gd name="connsiteX2259" fmla="*/ 6071175 w 8622239"/>
                <a:gd name="connsiteY2259" fmla="*/ 4448321 h 8562303"/>
                <a:gd name="connsiteX2260" fmla="*/ 6086700 w 8622239"/>
                <a:gd name="connsiteY2260" fmla="*/ 4420549 h 8562303"/>
                <a:gd name="connsiteX2261" fmla="*/ 6087045 w 8622239"/>
                <a:gd name="connsiteY2261" fmla="*/ 4419686 h 8562303"/>
                <a:gd name="connsiteX2262" fmla="*/ 6077902 w 8622239"/>
                <a:gd name="connsiteY2262" fmla="*/ 4426241 h 8562303"/>
                <a:gd name="connsiteX2263" fmla="*/ 6057029 w 8622239"/>
                <a:gd name="connsiteY2263" fmla="*/ 4433313 h 8562303"/>
                <a:gd name="connsiteX2264" fmla="*/ 6043747 w 8622239"/>
                <a:gd name="connsiteY2264" fmla="*/ 4427966 h 8562303"/>
                <a:gd name="connsiteX2265" fmla="*/ 5992859 w 8622239"/>
                <a:gd name="connsiteY2265" fmla="*/ 4386566 h 8562303"/>
                <a:gd name="connsiteX2266" fmla="*/ 5985614 w 8622239"/>
                <a:gd name="connsiteY2266" fmla="*/ 4384496 h 8562303"/>
                <a:gd name="connsiteX2267" fmla="*/ 5966294 w 8622239"/>
                <a:gd name="connsiteY2267" fmla="*/ 4420376 h 8562303"/>
                <a:gd name="connsiteX2268" fmla="*/ 5962499 w 8622239"/>
                <a:gd name="connsiteY2268" fmla="*/ 4445389 h 8562303"/>
                <a:gd name="connsiteX2269" fmla="*/ 5938866 w 8622239"/>
                <a:gd name="connsiteY2269" fmla="*/ 4447459 h 8562303"/>
                <a:gd name="connsiteX2270" fmla="*/ 5898846 w 8622239"/>
                <a:gd name="connsiteY2270" fmla="*/ 4436764 h 8562303"/>
                <a:gd name="connsiteX2271" fmla="*/ 5885563 w 8622239"/>
                <a:gd name="connsiteY2271" fmla="*/ 4446941 h 8562303"/>
                <a:gd name="connsiteX2272" fmla="*/ 5883148 w 8622239"/>
                <a:gd name="connsiteY2272" fmla="*/ 4466779 h 8562303"/>
                <a:gd name="connsiteX2273" fmla="*/ 5894188 w 8622239"/>
                <a:gd name="connsiteY2273" fmla="*/ 4524567 h 8562303"/>
                <a:gd name="connsiteX2274" fmla="*/ 5886943 w 8622239"/>
                <a:gd name="connsiteY2274" fmla="*/ 4535090 h 8562303"/>
                <a:gd name="connsiteX2275" fmla="*/ 5876421 w 8622239"/>
                <a:gd name="connsiteY2275" fmla="*/ 4554237 h 8562303"/>
                <a:gd name="connsiteX2276" fmla="*/ 5898155 w 8622239"/>
                <a:gd name="connsiteY2276" fmla="*/ 4610645 h 8562303"/>
                <a:gd name="connsiteX2277" fmla="*/ 5896603 w 8622239"/>
                <a:gd name="connsiteY2277" fmla="*/ 4614785 h 8562303"/>
                <a:gd name="connsiteX2278" fmla="*/ 5841230 w 8622239"/>
                <a:gd name="connsiteY2278" fmla="*/ 4660671 h 8562303"/>
                <a:gd name="connsiteX2279" fmla="*/ 5785857 w 8622239"/>
                <a:gd name="connsiteY2279" fmla="*/ 4756236 h 8562303"/>
                <a:gd name="connsiteX2280" fmla="*/ 5801038 w 8622239"/>
                <a:gd name="connsiteY2280" fmla="*/ 4815404 h 8562303"/>
                <a:gd name="connsiteX2281" fmla="*/ 5811043 w 8622239"/>
                <a:gd name="connsiteY2281" fmla="*/ 4845419 h 8562303"/>
                <a:gd name="connsiteX2282" fmla="*/ 5781200 w 8622239"/>
                <a:gd name="connsiteY2282" fmla="*/ 4935637 h 8562303"/>
                <a:gd name="connsiteX2283" fmla="*/ 5752047 w 8622239"/>
                <a:gd name="connsiteY2283" fmla="*/ 4970483 h 8562303"/>
                <a:gd name="connsiteX2284" fmla="*/ 5777923 w 8622239"/>
                <a:gd name="connsiteY2284" fmla="*/ 5011193 h 8562303"/>
                <a:gd name="connsiteX2285" fmla="*/ 5797932 w 8622239"/>
                <a:gd name="connsiteY2285" fmla="*/ 5041726 h 8562303"/>
                <a:gd name="connsiteX2286" fmla="*/ 5789135 w 8622239"/>
                <a:gd name="connsiteY2286" fmla="*/ 5077088 h 8562303"/>
                <a:gd name="connsiteX2287" fmla="*/ 5762915 w 8622239"/>
                <a:gd name="connsiteY2287" fmla="*/ 5124526 h 8562303"/>
                <a:gd name="connsiteX2288" fmla="*/ 5667349 w 8622239"/>
                <a:gd name="connsiteY2288" fmla="*/ 5185592 h 8562303"/>
                <a:gd name="connsiteX2289" fmla="*/ 5664072 w 8622239"/>
                <a:gd name="connsiteY2289" fmla="*/ 5185592 h 8562303"/>
                <a:gd name="connsiteX2290" fmla="*/ 5594726 w 8622239"/>
                <a:gd name="connsiteY2290" fmla="*/ 5177484 h 8562303"/>
                <a:gd name="connsiteX2291" fmla="*/ 5475355 w 8622239"/>
                <a:gd name="connsiteY2291" fmla="*/ 5177484 h 8562303"/>
                <a:gd name="connsiteX2292" fmla="*/ 5404112 w 8622239"/>
                <a:gd name="connsiteY2292" fmla="*/ 5204222 h 8562303"/>
                <a:gd name="connsiteX2293" fmla="*/ 5347359 w 8622239"/>
                <a:gd name="connsiteY2293" fmla="*/ 5229234 h 8562303"/>
                <a:gd name="connsiteX2294" fmla="*/ 5292331 w 8622239"/>
                <a:gd name="connsiteY2294" fmla="*/ 5214227 h 8562303"/>
                <a:gd name="connsiteX2295" fmla="*/ 5267146 w 8622239"/>
                <a:gd name="connsiteY2295" fmla="*/ 5223197 h 8562303"/>
                <a:gd name="connsiteX2296" fmla="*/ 5212981 w 8622239"/>
                <a:gd name="connsiteY2296" fmla="*/ 5235790 h 8562303"/>
                <a:gd name="connsiteX2297" fmla="*/ 5138978 w 8622239"/>
                <a:gd name="connsiteY2297" fmla="*/ 5269945 h 8562303"/>
                <a:gd name="connsiteX2298" fmla="*/ 5069632 w 8622239"/>
                <a:gd name="connsiteY2298" fmla="*/ 5351538 h 8562303"/>
                <a:gd name="connsiteX2299" fmla="*/ 5027887 w 8622239"/>
                <a:gd name="connsiteY2299" fmla="*/ 5378793 h 8562303"/>
                <a:gd name="connsiteX2300" fmla="*/ 5027024 w 8622239"/>
                <a:gd name="connsiteY2300" fmla="*/ 5380346 h 8562303"/>
                <a:gd name="connsiteX2301" fmla="*/ 5029095 w 8622239"/>
                <a:gd name="connsiteY2301" fmla="*/ 5381208 h 8562303"/>
                <a:gd name="connsiteX2302" fmla="*/ 5022884 w 8622239"/>
                <a:gd name="connsiteY2302" fmla="*/ 5397423 h 8562303"/>
                <a:gd name="connsiteX2303" fmla="*/ 5020814 w 8622239"/>
                <a:gd name="connsiteY2303" fmla="*/ 5396560 h 8562303"/>
                <a:gd name="connsiteX2304" fmla="*/ 5020470 w 8622239"/>
                <a:gd name="connsiteY2304" fmla="*/ 5405531 h 8562303"/>
                <a:gd name="connsiteX2305" fmla="*/ 4994594 w 8622239"/>
                <a:gd name="connsiteY2305" fmla="*/ 5470046 h 8562303"/>
                <a:gd name="connsiteX2306" fmla="*/ 4995457 w 8622239"/>
                <a:gd name="connsiteY2306" fmla="*/ 5480051 h 8562303"/>
                <a:gd name="connsiteX2307" fmla="*/ 5031337 w 8622239"/>
                <a:gd name="connsiteY2307" fmla="*/ 5565612 h 8562303"/>
                <a:gd name="connsiteX2308" fmla="*/ 5031337 w 8622239"/>
                <a:gd name="connsiteY2308" fmla="*/ 5566474 h 8562303"/>
                <a:gd name="connsiteX2309" fmla="*/ 5027887 w 8622239"/>
                <a:gd name="connsiteY2309" fmla="*/ 5567337 h 8562303"/>
                <a:gd name="connsiteX2310" fmla="*/ 4906963 w 8622239"/>
                <a:gd name="connsiteY2310" fmla="*/ 5615982 h 8562303"/>
                <a:gd name="connsiteX2311" fmla="*/ 4894198 w 8622239"/>
                <a:gd name="connsiteY2311" fmla="*/ 5681360 h 8562303"/>
                <a:gd name="connsiteX2312" fmla="*/ 4870738 w 8622239"/>
                <a:gd name="connsiteY2312" fmla="*/ 5724485 h 8562303"/>
                <a:gd name="connsiteX2313" fmla="*/ 4812260 w 8622239"/>
                <a:gd name="connsiteY2313" fmla="*/ 5809874 h 8562303"/>
                <a:gd name="connsiteX2314" fmla="*/ 4794147 w 8622239"/>
                <a:gd name="connsiteY2314" fmla="*/ 5876804 h 8562303"/>
                <a:gd name="connsiteX2315" fmla="*/ 4717385 w 8622239"/>
                <a:gd name="connsiteY2315" fmla="*/ 5983927 h 8562303"/>
                <a:gd name="connsiteX2316" fmla="*/ 4633894 w 8622239"/>
                <a:gd name="connsiteY2316" fmla="*/ 6027915 h 8562303"/>
                <a:gd name="connsiteX2317" fmla="*/ 4544366 w 8622239"/>
                <a:gd name="connsiteY2317" fmla="*/ 6116236 h 8562303"/>
                <a:gd name="connsiteX2318" fmla="*/ 4479851 w 8622239"/>
                <a:gd name="connsiteY2318" fmla="*/ 6165571 h 8562303"/>
                <a:gd name="connsiteX2319" fmla="*/ 4446558 w 8622239"/>
                <a:gd name="connsiteY2319" fmla="*/ 6228017 h 8562303"/>
                <a:gd name="connsiteX2320" fmla="*/ 4403950 w 8622239"/>
                <a:gd name="connsiteY2320" fmla="*/ 6267692 h 8562303"/>
                <a:gd name="connsiteX2321" fmla="*/ 4376867 w 8622239"/>
                <a:gd name="connsiteY2321" fmla="*/ 6335830 h 8562303"/>
                <a:gd name="connsiteX2322" fmla="*/ 4377730 w 8622239"/>
                <a:gd name="connsiteY2322" fmla="*/ 6352045 h 8562303"/>
                <a:gd name="connsiteX2323" fmla="*/ 4338572 w 8622239"/>
                <a:gd name="connsiteY2323" fmla="*/ 6394998 h 8562303"/>
                <a:gd name="connsiteX2324" fmla="*/ 4305452 w 8622239"/>
                <a:gd name="connsiteY2324" fmla="*/ 6352390 h 8562303"/>
                <a:gd name="connsiteX2325" fmla="*/ 4303382 w 8622239"/>
                <a:gd name="connsiteY2325" fmla="*/ 6350493 h 8562303"/>
                <a:gd name="connsiteX2326" fmla="*/ 4301312 w 8622239"/>
                <a:gd name="connsiteY2326" fmla="*/ 6349802 h 8562303"/>
                <a:gd name="connsiteX2327" fmla="*/ 4277334 w 8622239"/>
                <a:gd name="connsiteY2327" fmla="*/ 6346525 h 8562303"/>
                <a:gd name="connsiteX2328" fmla="*/ 4225756 w 8622239"/>
                <a:gd name="connsiteY2328" fmla="*/ 6369295 h 8562303"/>
                <a:gd name="connsiteX2329" fmla="*/ 4186943 w 8622239"/>
                <a:gd name="connsiteY2329" fmla="*/ 6381370 h 8562303"/>
                <a:gd name="connsiteX2330" fmla="*/ 4148820 w 8622239"/>
                <a:gd name="connsiteY2330" fmla="*/ 6384993 h 8562303"/>
                <a:gd name="connsiteX2331" fmla="*/ 4127430 w 8622239"/>
                <a:gd name="connsiteY2331" fmla="*/ 6377058 h 8562303"/>
                <a:gd name="connsiteX2332" fmla="*/ 4117253 w 8622239"/>
                <a:gd name="connsiteY2332" fmla="*/ 6324445 h 8562303"/>
                <a:gd name="connsiteX2333" fmla="*/ 4117425 w 8622239"/>
                <a:gd name="connsiteY2333" fmla="*/ 6318752 h 8562303"/>
                <a:gd name="connsiteX2334" fmla="*/ 4108283 w 8622239"/>
                <a:gd name="connsiteY2334" fmla="*/ 6295465 h 8562303"/>
                <a:gd name="connsiteX2335" fmla="*/ 4101900 w 8622239"/>
                <a:gd name="connsiteY2335" fmla="*/ 6280284 h 8562303"/>
                <a:gd name="connsiteX2336" fmla="*/ 4098450 w 8622239"/>
                <a:gd name="connsiteY2336" fmla="*/ 6219219 h 8562303"/>
                <a:gd name="connsiteX2337" fmla="*/ 4096725 w 8622239"/>
                <a:gd name="connsiteY2337" fmla="*/ 6186961 h 8562303"/>
                <a:gd name="connsiteX2338" fmla="*/ 4095000 w 8622239"/>
                <a:gd name="connsiteY2338" fmla="*/ 6159361 h 8562303"/>
                <a:gd name="connsiteX2339" fmla="*/ 4093792 w 8622239"/>
                <a:gd name="connsiteY2339" fmla="*/ 6120031 h 8562303"/>
                <a:gd name="connsiteX2340" fmla="*/ 4093792 w 8622239"/>
                <a:gd name="connsiteY2340" fmla="*/ 6090360 h 8562303"/>
                <a:gd name="connsiteX2341" fmla="*/ 4076542 w 8622239"/>
                <a:gd name="connsiteY2341" fmla="*/ 6047235 h 8562303"/>
                <a:gd name="connsiteX2342" fmla="*/ 4062742 w 8622239"/>
                <a:gd name="connsiteY2342" fmla="*/ 6020153 h 8562303"/>
                <a:gd name="connsiteX2343" fmla="*/ 4021859 w 8622239"/>
                <a:gd name="connsiteY2343" fmla="*/ 5992207 h 8562303"/>
                <a:gd name="connsiteX2344" fmla="*/ 4000297 w 8622239"/>
                <a:gd name="connsiteY2344" fmla="*/ 5993932 h 8562303"/>
                <a:gd name="connsiteX2345" fmla="*/ 3997537 w 8622239"/>
                <a:gd name="connsiteY2345" fmla="*/ 5994278 h 8562303"/>
                <a:gd name="connsiteX2346" fmla="*/ 3993569 w 8622239"/>
                <a:gd name="connsiteY2346" fmla="*/ 5994622 h 8562303"/>
                <a:gd name="connsiteX2347" fmla="*/ 3991499 w 8622239"/>
                <a:gd name="connsiteY2347" fmla="*/ 5994622 h 8562303"/>
                <a:gd name="connsiteX2348" fmla="*/ 3949926 w 8622239"/>
                <a:gd name="connsiteY2348" fmla="*/ 5976682 h 8562303"/>
                <a:gd name="connsiteX2349" fmla="*/ 3920429 w 8622239"/>
                <a:gd name="connsiteY2349" fmla="*/ 5945977 h 8562303"/>
                <a:gd name="connsiteX2350" fmla="*/ 3917496 w 8622239"/>
                <a:gd name="connsiteY2350" fmla="*/ 5946150 h 8562303"/>
                <a:gd name="connsiteX2351" fmla="*/ 3915599 w 8622239"/>
                <a:gd name="connsiteY2351" fmla="*/ 5947185 h 8562303"/>
                <a:gd name="connsiteX2352" fmla="*/ 3857811 w 8622239"/>
                <a:gd name="connsiteY2352" fmla="*/ 5989620 h 8562303"/>
                <a:gd name="connsiteX2353" fmla="*/ 3794675 w 8622239"/>
                <a:gd name="connsiteY2353" fmla="*/ 5992207 h 8562303"/>
                <a:gd name="connsiteX2354" fmla="*/ 3787258 w 8622239"/>
                <a:gd name="connsiteY2354" fmla="*/ 5992207 h 8562303"/>
                <a:gd name="connsiteX2355" fmla="*/ 3781220 w 8622239"/>
                <a:gd name="connsiteY2355" fmla="*/ 5992207 h 8562303"/>
                <a:gd name="connsiteX2356" fmla="*/ 3729987 w 8622239"/>
                <a:gd name="connsiteY2356" fmla="*/ 5984790 h 8562303"/>
                <a:gd name="connsiteX2357" fmla="*/ 3678065 w 8622239"/>
                <a:gd name="connsiteY2357" fmla="*/ 5966677 h 8562303"/>
                <a:gd name="connsiteX2358" fmla="*/ 3638389 w 8622239"/>
                <a:gd name="connsiteY2358" fmla="*/ 5967885 h 8562303"/>
                <a:gd name="connsiteX2359" fmla="*/ 3622519 w 8622239"/>
                <a:gd name="connsiteY2359" fmla="*/ 5968575 h 8562303"/>
                <a:gd name="connsiteX2360" fmla="*/ 3609582 w 8622239"/>
                <a:gd name="connsiteY2360" fmla="*/ 5965125 h 8562303"/>
                <a:gd name="connsiteX2361" fmla="*/ 3613204 w 8622239"/>
                <a:gd name="connsiteY2361" fmla="*/ 5941837 h 8562303"/>
                <a:gd name="connsiteX2362" fmla="*/ 3616481 w 8622239"/>
                <a:gd name="connsiteY2362" fmla="*/ 5928900 h 8562303"/>
                <a:gd name="connsiteX2363" fmla="*/ 3631662 w 8622239"/>
                <a:gd name="connsiteY2363" fmla="*/ 5783653 h 8562303"/>
                <a:gd name="connsiteX2364" fmla="*/ 3632352 w 8622239"/>
                <a:gd name="connsiteY2364" fmla="*/ 5724141 h 8562303"/>
                <a:gd name="connsiteX2365" fmla="*/ 3628039 w 8622239"/>
                <a:gd name="connsiteY2365" fmla="*/ 5705856 h 8562303"/>
                <a:gd name="connsiteX2366" fmla="*/ 3603371 w 8622239"/>
                <a:gd name="connsiteY2366" fmla="*/ 5640822 h 8562303"/>
                <a:gd name="connsiteX2367" fmla="*/ 3583879 w 8622239"/>
                <a:gd name="connsiteY2367" fmla="*/ 5591314 h 8562303"/>
                <a:gd name="connsiteX2368" fmla="*/ 3575081 w 8622239"/>
                <a:gd name="connsiteY2368" fmla="*/ 5565267 h 8562303"/>
                <a:gd name="connsiteX2369" fmla="*/ 3572494 w 8622239"/>
                <a:gd name="connsiteY2369" fmla="*/ 5551639 h 8562303"/>
                <a:gd name="connsiteX2370" fmla="*/ 3619931 w 8622239"/>
                <a:gd name="connsiteY2370" fmla="*/ 5492989 h 8562303"/>
                <a:gd name="connsiteX2371" fmla="*/ 3590951 w 8622239"/>
                <a:gd name="connsiteY2371" fmla="*/ 5462111 h 8562303"/>
                <a:gd name="connsiteX2372" fmla="*/ 3573011 w 8622239"/>
                <a:gd name="connsiteY2372" fmla="*/ 5448311 h 8562303"/>
                <a:gd name="connsiteX2373" fmla="*/ 3596644 w 8622239"/>
                <a:gd name="connsiteY2373" fmla="*/ 5392421 h 8562303"/>
                <a:gd name="connsiteX2374" fmla="*/ 3598196 w 8622239"/>
                <a:gd name="connsiteY2374" fmla="*/ 5388625 h 8562303"/>
                <a:gd name="connsiteX2375" fmla="*/ 3621657 w 8622239"/>
                <a:gd name="connsiteY2375" fmla="*/ 5309965 h 8562303"/>
                <a:gd name="connsiteX2376" fmla="*/ 3639597 w 8622239"/>
                <a:gd name="connsiteY2376" fmla="*/ 5265977 h 8562303"/>
                <a:gd name="connsiteX2377" fmla="*/ 3653052 w 8622239"/>
                <a:gd name="connsiteY2377" fmla="*/ 5216124 h 8562303"/>
                <a:gd name="connsiteX2378" fmla="*/ 3664782 w 8622239"/>
                <a:gd name="connsiteY2378" fmla="*/ 5173862 h 8562303"/>
                <a:gd name="connsiteX2379" fmla="*/ 3678927 w 8622239"/>
                <a:gd name="connsiteY2379" fmla="*/ 5135739 h 8562303"/>
                <a:gd name="connsiteX2380" fmla="*/ 3679789 w 8622239"/>
                <a:gd name="connsiteY2380" fmla="*/ 5071568 h 8562303"/>
                <a:gd name="connsiteX2381" fmla="*/ 3793123 w 8622239"/>
                <a:gd name="connsiteY2381" fmla="*/ 4992045 h 8562303"/>
                <a:gd name="connsiteX2382" fmla="*/ 3857983 w 8622239"/>
                <a:gd name="connsiteY2382" fmla="*/ 4927875 h 8562303"/>
                <a:gd name="connsiteX2383" fmla="*/ 3881961 w 8622239"/>
                <a:gd name="connsiteY2383" fmla="*/ 4922182 h 8562303"/>
                <a:gd name="connsiteX2384" fmla="*/ 3897831 w 8622239"/>
                <a:gd name="connsiteY2384" fmla="*/ 4922872 h 8562303"/>
                <a:gd name="connsiteX2385" fmla="*/ 3932159 w 8622239"/>
                <a:gd name="connsiteY2385" fmla="*/ 4912177 h 8562303"/>
                <a:gd name="connsiteX2386" fmla="*/ 3948546 w 8622239"/>
                <a:gd name="connsiteY2386" fmla="*/ 4908555 h 8562303"/>
                <a:gd name="connsiteX2387" fmla="*/ 4050322 w 8622239"/>
                <a:gd name="connsiteY2387" fmla="*/ 4934775 h 8562303"/>
                <a:gd name="connsiteX2388" fmla="*/ 4050322 w 8622239"/>
                <a:gd name="connsiteY2388" fmla="*/ 4934947 h 8562303"/>
                <a:gd name="connsiteX2389" fmla="*/ 4155893 w 8622239"/>
                <a:gd name="connsiteY2389" fmla="*/ 5015160 h 8562303"/>
                <a:gd name="connsiteX2390" fmla="*/ 4187288 w 8622239"/>
                <a:gd name="connsiteY2390" fmla="*/ 5022060 h 8562303"/>
                <a:gd name="connsiteX2391" fmla="*/ 4267674 w 8622239"/>
                <a:gd name="connsiteY2391" fmla="*/ 4978935 h 8562303"/>
                <a:gd name="connsiteX2392" fmla="*/ 4283199 w 8622239"/>
                <a:gd name="connsiteY2392" fmla="*/ 4970655 h 8562303"/>
                <a:gd name="connsiteX2393" fmla="*/ 4315284 w 8622239"/>
                <a:gd name="connsiteY2393" fmla="*/ 5003085 h 8562303"/>
                <a:gd name="connsiteX2394" fmla="*/ 4339779 w 8622239"/>
                <a:gd name="connsiteY2394" fmla="*/ 5018093 h 8562303"/>
                <a:gd name="connsiteX2395" fmla="*/ 4392737 w 8622239"/>
                <a:gd name="connsiteY2395" fmla="*/ 4978935 h 8562303"/>
                <a:gd name="connsiteX2396" fmla="*/ 4457425 w 8622239"/>
                <a:gd name="connsiteY2396" fmla="*/ 4937535 h 8562303"/>
                <a:gd name="connsiteX2397" fmla="*/ 4458978 w 8622239"/>
                <a:gd name="connsiteY2397" fmla="*/ 4951852 h 8562303"/>
                <a:gd name="connsiteX2398" fmla="*/ 4428963 w 8622239"/>
                <a:gd name="connsiteY2398" fmla="*/ 5018611 h 8562303"/>
                <a:gd name="connsiteX2399" fmla="*/ 4407055 w 8622239"/>
                <a:gd name="connsiteY2399" fmla="*/ 5059838 h 8562303"/>
                <a:gd name="connsiteX2400" fmla="*/ 4445005 w 8622239"/>
                <a:gd name="connsiteY2400" fmla="*/ 5087611 h 8562303"/>
                <a:gd name="connsiteX2401" fmla="*/ 4520388 w 8622239"/>
                <a:gd name="connsiteY2401" fmla="*/ 5099341 h 8562303"/>
                <a:gd name="connsiteX2402" fmla="*/ 4554543 w 8622239"/>
                <a:gd name="connsiteY2402" fmla="*/ 5092959 h 8562303"/>
                <a:gd name="connsiteX2403" fmla="*/ 4572829 w 8622239"/>
                <a:gd name="connsiteY2403" fmla="*/ 5085886 h 8562303"/>
                <a:gd name="connsiteX2404" fmla="*/ 4571966 w 8622239"/>
                <a:gd name="connsiteY2404" fmla="*/ 5083988 h 8562303"/>
                <a:gd name="connsiteX2405" fmla="*/ 4572311 w 8622239"/>
                <a:gd name="connsiteY2405" fmla="*/ 5083816 h 8562303"/>
                <a:gd name="connsiteX2406" fmla="*/ 4572829 w 8622239"/>
                <a:gd name="connsiteY2406" fmla="*/ 5084851 h 8562303"/>
                <a:gd name="connsiteX2407" fmla="*/ 4578003 w 8622239"/>
                <a:gd name="connsiteY2407" fmla="*/ 5081918 h 8562303"/>
                <a:gd name="connsiteX2408" fmla="*/ 4574036 w 8622239"/>
                <a:gd name="connsiteY2408" fmla="*/ 5084506 h 8562303"/>
                <a:gd name="connsiteX2409" fmla="*/ 4592149 w 8622239"/>
                <a:gd name="connsiteY2409" fmla="*/ 5127631 h 8562303"/>
                <a:gd name="connsiteX2410" fmla="*/ 4633031 w 8622239"/>
                <a:gd name="connsiteY2410" fmla="*/ 5173862 h 8562303"/>
                <a:gd name="connsiteX2411" fmla="*/ 4645797 w 8622239"/>
                <a:gd name="connsiteY2411" fmla="*/ 5195252 h 8562303"/>
                <a:gd name="connsiteX2412" fmla="*/ 4642347 w 8622239"/>
                <a:gd name="connsiteY2412" fmla="*/ 5209914 h 8562303"/>
                <a:gd name="connsiteX2413" fmla="*/ 4639759 w 8622239"/>
                <a:gd name="connsiteY2413" fmla="*/ 5219747 h 8562303"/>
                <a:gd name="connsiteX2414" fmla="*/ 4669602 w 8622239"/>
                <a:gd name="connsiteY2414" fmla="*/ 5246657 h 8562303"/>
                <a:gd name="connsiteX2415" fmla="*/ 4705137 w 8622239"/>
                <a:gd name="connsiteY2415" fmla="*/ 5252694 h 8562303"/>
                <a:gd name="connsiteX2416" fmla="*/ 4746192 w 8622239"/>
                <a:gd name="connsiteY2416" fmla="*/ 5258215 h 8562303"/>
                <a:gd name="connsiteX2417" fmla="*/ 4781900 w 8622239"/>
                <a:gd name="connsiteY2417" fmla="*/ 5271325 h 8562303"/>
                <a:gd name="connsiteX2418" fmla="*/ 4826923 w 8622239"/>
                <a:gd name="connsiteY2418" fmla="*/ 5314968 h 8562303"/>
                <a:gd name="connsiteX2419" fmla="*/ 4901098 w 8622239"/>
                <a:gd name="connsiteY2419" fmla="*/ 5346880 h 8562303"/>
                <a:gd name="connsiteX2420" fmla="*/ 5021159 w 8622239"/>
                <a:gd name="connsiteY2420" fmla="*/ 5397596 h 8562303"/>
                <a:gd name="connsiteX2421" fmla="*/ 5021332 w 8622239"/>
                <a:gd name="connsiteY2421" fmla="*/ 5396906 h 8562303"/>
                <a:gd name="connsiteX2422" fmla="*/ 5023230 w 8622239"/>
                <a:gd name="connsiteY2422" fmla="*/ 5397596 h 8562303"/>
                <a:gd name="connsiteX2423" fmla="*/ 5029439 w 8622239"/>
                <a:gd name="connsiteY2423" fmla="*/ 5381898 h 8562303"/>
                <a:gd name="connsiteX2424" fmla="*/ 5027369 w 8622239"/>
                <a:gd name="connsiteY2424" fmla="*/ 5381035 h 8562303"/>
                <a:gd name="connsiteX2425" fmla="*/ 5027197 w 8622239"/>
                <a:gd name="connsiteY2425" fmla="*/ 5381208 h 8562303"/>
                <a:gd name="connsiteX2426" fmla="*/ 4907826 w 8622239"/>
                <a:gd name="connsiteY2426" fmla="*/ 5330665 h 8562303"/>
                <a:gd name="connsiteX2427" fmla="*/ 4826750 w 8622239"/>
                <a:gd name="connsiteY2427" fmla="*/ 5297545 h 8562303"/>
                <a:gd name="connsiteX2428" fmla="*/ 4794147 w 8622239"/>
                <a:gd name="connsiteY2428" fmla="*/ 5260112 h 8562303"/>
                <a:gd name="connsiteX2429" fmla="*/ 4749125 w 8622239"/>
                <a:gd name="connsiteY2429" fmla="*/ 5241309 h 8562303"/>
                <a:gd name="connsiteX2430" fmla="*/ 4704792 w 8622239"/>
                <a:gd name="connsiteY2430" fmla="*/ 5235272 h 8562303"/>
                <a:gd name="connsiteX2431" fmla="*/ 4673915 w 8622239"/>
                <a:gd name="connsiteY2431" fmla="*/ 5229925 h 8562303"/>
                <a:gd name="connsiteX2432" fmla="*/ 4659597 w 8622239"/>
                <a:gd name="connsiteY2432" fmla="*/ 5223714 h 8562303"/>
                <a:gd name="connsiteX2433" fmla="*/ 4656146 w 8622239"/>
                <a:gd name="connsiteY2433" fmla="*/ 5219919 h 8562303"/>
                <a:gd name="connsiteX2434" fmla="*/ 4656492 w 8622239"/>
                <a:gd name="connsiteY2434" fmla="*/ 5218367 h 8562303"/>
                <a:gd name="connsiteX2435" fmla="*/ 4662012 w 8622239"/>
                <a:gd name="connsiteY2435" fmla="*/ 5195424 h 8562303"/>
                <a:gd name="connsiteX2436" fmla="*/ 4632687 w 8622239"/>
                <a:gd name="connsiteY2436" fmla="*/ 5156612 h 8562303"/>
                <a:gd name="connsiteX2437" fmla="*/ 4607156 w 8622239"/>
                <a:gd name="connsiteY2437" fmla="*/ 5121594 h 8562303"/>
                <a:gd name="connsiteX2438" fmla="*/ 4587319 w 8622239"/>
                <a:gd name="connsiteY2438" fmla="*/ 5074501 h 8562303"/>
                <a:gd name="connsiteX2439" fmla="*/ 4584214 w 8622239"/>
                <a:gd name="connsiteY2439" fmla="*/ 5076226 h 8562303"/>
                <a:gd name="connsiteX2440" fmla="*/ 4583869 w 8622239"/>
                <a:gd name="connsiteY2440" fmla="*/ 5076571 h 8562303"/>
                <a:gd name="connsiteX2441" fmla="*/ 4588009 w 8622239"/>
                <a:gd name="connsiteY2441" fmla="*/ 5065703 h 8562303"/>
                <a:gd name="connsiteX2442" fmla="*/ 4579901 w 8622239"/>
                <a:gd name="connsiteY2442" fmla="*/ 4969792 h 8562303"/>
                <a:gd name="connsiteX2443" fmla="*/ 4580074 w 8622239"/>
                <a:gd name="connsiteY2443" fmla="*/ 4959960 h 8562303"/>
                <a:gd name="connsiteX2444" fmla="*/ 4598014 w 8622239"/>
                <a:gd name="connsiteY2444" fmla="*/ 4841797 h 8562303"/>
                <a:gd name="connsiteX2445" fmla="*/ 4697892 w 8622239"/>
                <a:gd name="connsiteY2445" fmla="*/ 4776591 h 8562303"/>
                <a:gd name="connsiteX2446" fmla="*/ 4716867 w 8622239"/>
                <a:gd name="connsiteY2446" fmla="*/ 4734846 h 8562303"/>
                <a:gd name="connsiteX2447" fmla="*/ 4716867 w 8622239"/>
                <a:gd name="connsiteY2447" fmla="*/ 4723288 h 8562303"/>
                <a:gd name="connsiteX2448" fmla="*/ 4718764 w 8622239"/>
                <a:gd name="connsiteY2448" fmla="*/ 4698793 h 8562303"/>
                <a:gd name="connsiteX2449" fmla="*/ 4804325 w 8622239"/>
                <a:gd name="connsiteY2449" fmla="*/ 4619615 h 8562303"/>
                <a:gd name="connsiteX2450" fmla="*/ 4904721 w 8622239"/>
                <a:gd name="connsiteY2450" fmla="*/ 4496104 h 8562303"/>
                <a:gd name="connsiteX2451" fmla="*/ 4960784 w 8622239"/>
                <a:gd name="connsiteY2451" fmla="*/ 4444354 h 8562303"/>
                <a:gd name="connsiteX2452" fmla="*/ 5015294 w 8622239"/>
                <a:gd name="connsiteY2452" fmla="*/ 4416064 h 8562303"/>
                <a:gd name="connsiteX2453" fmla="*/ 5050140 w 8622239"/>
                <a:gd name="connsiteY2453" fmla="*/ 4297900 h 8562303"/>
                <a:gd name="connsiteX2454" fmla="*/ 5075152 w 8622239"/>
                <a:gd name="connsiteY2454" fmla="*/ 4224587 h 8562303"/>
                <a:gd name="connsiteX2455" fmla="*/ 5089815 w 8622239"/>
                <a:gd name="connsiteY2455" fmla="*/ 4130574 h 8562303"/>
                <a:gd name="connsiteX2456" fmla="*/ 5108962 w 8622239"/>
                <a:gd name="connsiteY2456" fmla="*/ 4082619 h 8562303"/>
                <a:gd name="connsiteX2457" fmla="*/ 5126385 w 8622239"/>
                <a:gd name="connsiteY2457" fmla="*/ 4068473 h 8562303"/>
                <a:gd name="connsiteX2458" fmla="*/ 5131215 w 8622239"/>
                <a:gd name="connsiteY2458" fmla="*/ 4066058 h 8562303"/>
                <a:gd name="connsiteX2459" fmla="*/ 5131215 w 8622239"/>
                <a:gd name="connsiteY2459" fmla="*/ 4060538 h 8562303"/>
                <a:gd name="connsiteX2460" fmla="*/ 5143462 w 8622239"/>
                <a:gd name="connsiteY2460" fmla="*/ 4021381 h 8562303"/>
                <a:gd name="connsiteX2461" fmla="*/ 5153295 w 8622239"/>
                <a:gd name="connsiteY2461" fmla="*/ 3983258 h 8562303"/>
                <a:gd name="connsiteX2462" fmla="*/ 5150880 w 8622239"/>
                <a:gd name="connsiteY2462" fmla="*/ 3958935 h 8562303"/>
                <a:gd name="connsiteX2463" fmla="*/ 5134665 w 8622239"/>
                <a:gd name="connsiteY2463" fmla="*/ 3962903 h 8562303"/>
                <a:gd name="connsiteX2464" fmla="*/ 5136563 w 8622239"/>
                <a:gd name="connsiteY2464" fmla="*/ 3983085 h 8562303"/>
                <a:gd name="connsiteX2465" fmla="*/ 5130180 w 8622239"/>
                <a:gd name="connsiteY2465" fmla="*/ 4010858 h 8562303"/>
                <a:gd name="connsiteX2466" fmla="*/ 5114828 w 8622239"/>
                <a:gd name="connsiteY2466" fmla="*/ 4055018 h 8562303"/>
                <a:gd name="connsiteX2467" fmla="*/ 5072910 w 8622239"/>
                <a:gd name="connsiteY2467" fmla="*/ 4129194 h 8562303"/>
                <a:gd name="connsiteX2468" fmla="*/ 5059972 w 8622239"/>
                <a:gd name="connsiteY2468" fmla="*/ 4216480 h 8562303"/>
                <a:gd name="connsiteX2469" fmla="*/ 5033579 w 8622239"/>
                <a:gd name="connsiteY2469" fmla="*/ 4297555 h 8562303"/>
                <a:gd name="connsiteX2470" fmla="*/ 5000977 w 8622239"/>
                <a:gd name="connsiteY2470" fmla="*/ 4406921 h 8562303"/>
                <a:gd name="connsiteX2471" fmla="*/ 4954919 w 8622239"/>
                <a:gd name="connsiteY2471" fmla="*/ 4427794 h 8562303"/>
                <a:gd name="connsiteX2472" fmla="*/ 4889541 w 8622239"/>
                <a:gd name="connsiteY2472" fmla="*/ 4489032 h 8562303"/>
                <a:gd name="connsiteX2473" fmla="*/ 4795700 w 8622239"/>
                <a:gd name="connsiteY2473" fmla="*/ 4604608 h 8562303"/>
                <a:gd name="connsiteX2474" fmla="*/ 4702895 w 8622239"/>
                <a:gd name="connsiteY2474" fmla="*/ 4695171 h 8562303"/>
                <a:gd name="connsiteX2475" fmla="*/ 4700825 w 8622239"/>
                <a:gd name="connsiteY2475" fmla="*/ 4722943 h 8562303"/>
                <a:gd name="connsiteX2476" fmla="*/ 4700997 w 8622239"/>
                <a:gd name="connsiteY2476" fmla="*/ 4734501 h 8562303"/>
                <a:gd name="connsiteX2477" fmla="*/ 4692027 w 8622239"/>
                <a:gd name="connsiteY2477" fmla="*/ 4760376 h 8562303"/>
                <a:gd name="connsiteX2478" fmla="*/ 4581971 w 8622239"/>
                <a:gd name="connsiteY2478" fmla="*/ 4841624 h 8562303"/>
                <a:gd name="connsiteX2479" fmla="*/ 4564204 w 8622239"/>
                <a:gd name="connsiteY2479" fmla="*/ 4958753 h 8562303"/>
                <a:gd name="connsiteX2480" fmla="*/ 4564031 w 8622239"/>
                <a:gd name="connsiteY2480" fmla="*/ 4969620 h 8562303"/>
                <a:gd name="connsiteX2481" fmla="*/ 4572311 w 8622239"/>
                <a:gd name="connsiteY2481" fmla="*/ 5065531 h 8562303"/>
                <a:gd name="connsiteX2482" fmla="*/ 4571966 w 8622239"/>
                <a:gd name="connsiteY2482" fmla="*/ 5065876 h 8562303"/>
                <a:gd name="connsiteX2483" fmla="*/ 4521251 w 8622239"/>
                <a:gd name="connsiteY2483" fmla="*/ 5081573 h 8562303"/>
                <a:gd name="connsiteX2484" fmla="*/ 4447248 w 8622239"/>
                <a:gd name="connsiteY2484" fmla="*/ 5070016 h 8562303"/>
                <a:gd name="connsiteX2485" fmla="*/ 4433620 w 8622239"/>
                <a:gd name="connsiteY2485" fmla="*/ 5067946 h 8562303"/>
                <a:gd name="connsiteX2486" fmla="*/ 4424650 w 8622239"/>
                <a:gd name="connsiteY2486" fmla="*/ 5059665 h 8562303"/>
                <a:gd name="connsiteX2487" fmla="*/ 4441900 w 8622239"/>
                <a:gd name="connsiteY2487" fmla="*/ 5030685 h 8562303"/>
                <a:gd name="connsiteX2488" fmla="*/ 4476745 w 8622239"/>
                <a:gd name="connsiteY2488" fmla="*/ 4951852 h 8562303"/>
                <a:gd name="connsiteX2489" fmla="*/ 4471053 w 8622239"/>
                <a:gd name="connsiteY2489" fmla="*/ 4922355 h 8562303"/>
                <a:gd name="connsiteX2490" fmla="*/ 4467775 w 8622239"/>
                <a:gd name="connsiteY2490" fmla="*/ 4915799 h 8562303"/>
                <a:gd name="connsiteX2491" fmla="*/ 4460875 w 8622239"/>
                <a:gd name="connsiteY2491" fmla="*/ 4917869 h 8562303"/>
                <a:gd name="connsiteX2492" fmla="*/ 4382387 w 8622239"/>
                <a:gd name="connsiteY2492" fmla="*/ 4965997 h 8562303"/>
                <a:gd name="connsiteX2493" fmla="*/ 4340814 w 8622239"/>
                <a:gd name="connsiteY2493" fmla="*/ 5000670 h 8562303"/>
                <a:gd name="connsiteX2494" fmla="*/ 4329084 w 8622239"/>
                <a:gd name="connsiteY2494" fmla="*/ 4991873 h 8562303"/>
                <a:gd name="connsiteX2495" fmla="*/ 4284061 w 8622239"/>
                <a:gd name="connsiteY2495" fmla="*/ 4953232 h 8562303"/>
                <a:gd name="connsiteX2496" fmla="*/ 4257669 w 8622239"/>
                <a:gd name="connsiteY2496" fmla="*/ 4965825 h 8562303"/>
                <a:gd name="connsiteX2497" fmla="*/ 4188151 w 8622239"/>
                <a:gd name="connsiteY2497" fmla="*/ 5004638 h 8562303"/>
                <a:gd name="connsiteX2498" fmla="*/ 4163310 w 8622239"/>
                <a:gd name="connsiteY2498" fmla="*/ 4999118 h 8562303"/>
                <a:gd name="connsiteX2499" fmla="*/ 4100002 w 8622239"/>
                <a:gd name="connsiteY2499" fmla="*/ 4952887 h 8562303"/>
                <a:gd name="connsiteX2500" fmla="*/ 4051357 w 8622239"/>
                <a:gd name="connsiteY2500" fmla="*/ 4917525 h 8562303"/>
                <a:gd name="connsiteX2501" fmla="*/ 3949581 w 8622239"/>
                <a:gd name="connsiteY2501" fmla="*/ 4891132 h 8562303"/>
                <a:gd name="connsiteX2502" fmla="*/ 3923706 w 8622239"/>
                <a:gd name="connsiteY2502" fmla="*/ 4898032 h 8562303"/>
                <a:gd name="connsiteX2503" fmla="*/ 3898521 w 8622239"/>
                <a:gd name="connsiteY2503" fmla="*/ 4905795 h 8562303"/>
                <a:gd name="connsiteX2504" fmla="*/ 3882651 w 8622239"/>
                <a:gd name="connsiteY2504" fmla="*/ 4905449 h 8562303"/>
                <a:gd name="connsiteX2505" fmla="*/ 3851256 w 8622239"/>
                <a:gd name="connsiteY2505" fmla="*/ 4912867 h 8562303"/>
                <a:gd name="connsiteX2506" fmla="*/ 3777425 w 8622239"/>
                <a:gd name="connsiteY2506" fmla="*/ 4991355 h 8562303"/>
                <a:gd name="connsiteX2507" fmla="*/ 3734990 w 8622239"/>
                <a:gd name="connsiteY2507" fmla="*/ 5034480 h 8562303"/>
                <a:gd name="connsiteX2508" fmla="*/ 3675994 w 8622239"/>
                <a:gd name="connsiteY2508" fmla="*/ 5056043 h 8562303"/>
                <a:gd name="connsiteX2509" fmla="*/ 3661849 w 8622239"/>
                <a:gd name="connsiteY2509" fmla="*/ 5034998 h 8562303"/>
                <a:gd name="connsiteX2510" fmla="*/ 3644772 w 8622239"/>
                <a:gd name="connsiteY2510" fmla="*/ 5007915 h 8562303"/>
                <a:gd name="connsiteX2511" fmla="*/ 3643564 w 8622239"/>
                <a:gd name="connsiteY2511" fmla="*/ 5001015 h 8562303"/>
                <a:gd name="connsiteX2512" fmla="*/ 3621657 w 8622239"/>
                <a:gd name="connsiteY2512" fmla="*/ 4948575 h 8562303"/>
                <a:gd name="connsiteX2513" fmla="*/ 3585604 w 8622239"/>
                <a:gd name="connsiteY2513" fmla="*/ 4941503 h 8562303"/>
                <a:gd name="connsiteX2514" fmla="*/ 3556969 w 8622239"/>
                <a:gd name="connsiteY2514" fmla="*/ 4921492 h 8562303"/>
                <a:gd name="connsiteX2515" fmla="*/ 3520053 w 8622239"/>
                <a:gd name="connsiteY2515" fmla="*/ 4896479 h 8562303"/>
                <a:gd name="connsiteX2516" fmla="*/ 3492108 w 8622239"/>
                <a:gd name="connsiteY2516" fmla="*/ 4800224 h 8562303"/>
                <a:gd name="connsiteX2517" fmla="*/ 3510048 w 8622239"/>
                <a:gd name="connsiteY2517" fmla="*/ 4735536 h 8562303"/>
                <a:gd name="connsiteX2518" fmla="*/ 3516948 w 8622239"/>
                <a:gd name="connsiteY2518" fmla="*/ 4724668 h 8562303"/>
                <a:gd name="connsiteX2519" fmla="*/ 3519536 w 8622239"/>
                <a:gd name="connsiteY2519" fmla="*/ 4699138 h 8562303"/>
                <a:gd name="connsiteX2520" fmla="*/ 3472961 w 8622239"/>
                <a:gd name="connsiteY2520" fmla="*/ 4676885 h 8562303"/>
                <a:gd name="connsiteX2521" fmla="*/ 3293387 w 8622239"/>
                <a:gd name="connsiteY2521" fmla="*/ 4683268 h 8562303"/>
                <a:gd name="connsiteX2522" fmla="*/ 3155386 w 8622239"/>
                <a:gd name="connsiteY2522" fmla="*/ 4690341 h 8562303"/>
                <a:gd name="connsiteX2523" fmla="*/ 3125370 w 8622239"/>
                <a:gd name="connsiteY2523" fmla="*/ 4680335 h 8562303"/>
                <a:gd name="connsiteX2524" fmla="*/ 3119678 w 8622239"/>
                <a:gd name="connsiteY2524" fmla="*/ 4658083 h 8562303"/>
                <a:gd name="connsiteX2525" fmla="*/ 3119678 w 8622239"/>
                <a:gd name="connsiteY2525" fmla="*/ 4656530 h 8562303"/>
                <a:gd name="connsiteX2526" fmla="*/ 3119678 w 8622239"/>
                <a:gd name="connsiteY2526" fmla="*/ 4655668 h 8562303"/>
                <a:gd name="connsiteX2527" fmla="*/ 3115710 w 8622239"/>
                <a:gd name="connsiteY2527" fmla="*/ 4554582 h 8562303"/>
                <a:gd name="connsiteX2528" fmla="*/ 3067583 w 8622239"/>
                <a:gd name="connsiteY2528" fmla="*/ 4472299 h 8562303"/>
                <a:gd name="connsiteX2529" fmla="*/ 3062062 w 8622239"/>
                <a:gd name="connsiteY2529" fmla="*/ 4466089 h 8562303"/>
                <a:gd name="connsiteX2530" fmla="*/ 3058267 w 8622239"/>
                <a:gd name="connsiteY2530" fmla="*/ 4436591 h 8562303"/>
                <a:gd name="connsiteX2531" fmla="*/ 3097943 w 8622239"/>
                <a:gd name="connsiteY2531" fmla="*/ 4368798 h 8562303"/>
                <a:gd name="connsiteX2532" fmla="*/ 3097943 w 8622239"/>
                <a:gd name="connsiteY2532" fmla="*/ 4361726 h 8562303"/>
                <a:gd name="connsiteX2533" fmla="*/ 3062925 w 8622239"/>
                <a:gd name="connsiteY2533" fmla="*/ 4268575 h 8562303"/>
                <a:gd name="connsiteX2534" fmla="*/ 3054128 w 8622239"/>
                <a:gd name="connsiteY2534" fmla="*/ 4196814 h 8562303"/>
                <a:gd name="connsiteX2535" fmla="*/ 3052575 w 8622239"/>
                <a:gd name="connsiteY2535" fmla="*/ 4148169 h 8562303"/>
                <a:gd name="connsiteX2536" fmla="*/ 3048780 w 8622239"/>
                <a:gd name="connsiteY2536" fmla="*/ 4141614 h 8562303"/>
                <a:gd name="connsiteX2537" fmla="*/ 3013590 w 8622239"/>
                <a:gd name="connsiteY2537" fmla="*/ 4120051 h 8562303"/>
                <a:gd name="connsiteX2538" fmla="*/ 3043950 w 8622239"/>
                <a:gd name="connsiteY2538" fmla="*/ 4079513 h 8562303"/>
                <a:gd name="connsiteX2539" fmla="*/ 3088973 w 8622239"/>
                <a:gd name="connsiteY2539" fmla="*/ 3996023 h 8562303"/>
                <a:gd name="connsiteX2540" fmla="*/ 3157628 w 8622239"/>
                <a:gd name="connsiteY2540" fmla="*/ 3887864 h 8562303"/>
                <a:gd name="connsiteX2541" fmla="*/ 3163148 w 8622239"/>
                <a:gd name="connsiteY2541" fmla="*/ 3861989 h 8562303"/>
                <a:gd name="connsiteX2542" fmla="*/ 3095700 w 8622239"/>
                <a:gd name="connsiteY2542" fmla="*/ 3713466 h 8562303"/>
                <a:gd name="connsiteX2543" fmla="*/ 3093113 w 8622239"/>
                <a:gd name="connsiteY2543" fmla="*/ 3706393 h 8562303"/>
                <a:gd name="connsiteX2544" fmla="*/ 3130891 w 8622239"/>
                <a:gd name="connsiteY2544" fmla="*/ 3619798 h 8562303"/>
                <a:gd name="connsiteX2545" fmla="*/ 3131063 w 8622239"/>
                <a:gd name="connsiteY2545" fmla="*/ 3613243 h 8562303"/>
                <a:gd name="connsiteX2546" fmla="*/ 3092078 w 8622239"/>
                <a:gd name="connsiteY2546" fmla="*/ 3562010 h 8562303"/>
                <a:gd name="connsiteX2547" fmla="*/ 3054300 w 8622239"/>
                <a:gd name="connsiteY2547" fmla="*/ 3560802 h 8562303"/>
                <a:gd name="connsiteX2548" fmla="*/ 3031875 w 8622239"/>
                <a:gd name="connsiteY2548" fmla="*/ 3557870 h 8562303"/>
                <a:gd name="connsiteX2549" fmla="*/ 3024975 w 8622239"/>
                <a:gd name="connsiteY2549" fmla="*/ 3555800 h 8562303"/>
                <a:gd name="connsiteX2550" fmla="*/ 3023767 w 8622239"/>
                <a:gd name="connsiteY2550" fmla="*/ 3555110 h 8562303"/>
                <a:gd name="connsiteX2551" fmla="*/ 3023595 w 8622239"/>
                <a:gd name="connsiteY2551" fmla="*/ 3555282 h 8562303"/>
                <a:gd name="connsiteX2552" fmla="*/ 2982195 w 8622239"/>
                <a:gd name="connsiteY2552" fmla="*/ 3545967 h 8562303"/>
                <a:gd name="connsiteX2553" fmla="*/ 2872829 w 8622239"/>
                <a:gd name="connsiteY2553" fmla="*/ 3548900 h 8562303"/>
                <a:gd name="connsiteX2554" fmla="*/ 2812626 w 8622239"/>
                <a:gd name="connsiteY2554" fmla="*/ 3536307 h 8562303"/>
                <a:gd name="connsiteX2555" fmla="*/ 2801758 w 8622239"/>
                <a:gd name="connsiteY2555" fmla="*/ 3528372 h 8562303"/>
                <a:gd name="connsiteX2556" fmla="*/ 2800723 w 8622239"/>
                <a:gd name="connsiteY2556" fmla="*/ 3527337 h 8562303"/>
                <a:gd name="connsiteX2557" fmla="*/ 2800723 w 8622239"/>
                <a:gd name="connsiteY2557" fmla="*/ 3441431 h 8562303"/>
                <a:gd name="connsiteX2558" fmla="*/ 2781403 w 8622239"/>
                <a:gd name="connsiteY2558" fmla="*/ 3336206 h 8562303"/>
                <a:gd name="connsiteX2559" fmla="*/ 2780195 w 8622239"/>
                <a:gd name="connsiteY2559" fmla="*/ 3275830 h 8562303"/>
                <a:gd name="connsiteX2560" fmla="*/ 2781403 w 8622239"/>
                <a:gd name="connsiteY2560" fmla="*/ 3242537 h 8562303"/>
                <a:gd name="connsiteX2561" fmla="*/ 2781576 w 8622239"/>
                <a:gd name="connsiteY2561" fmla="*/ 3237190 h 8562303"/>
                <a:gd name="connsiteX2562" fmla="*/ 2770018 w 8622239"/>
                <a:gd name="connsiteY2562" fmla="*/ 3173709 h 8562303"/>
                <a:gd name="connsiteX2563" fmla="*/ 2775538 w 8622239"/>
                <a:gd name="connsiteY2563" fmla="*/ 3159392 h 8562303"/>
                <a:gd name="connsiteX2564" fmla="*/ 2789166 w 8622239"/>
                <a:gd name="connsiteY2564" fmla="*/ 3117474 h 8562303"/>
                <a:gd name="connsiteX2565" fmla="*/ 2782783 w 8622239"/>
                <a:gd name="connsiteY2565" fmla="*/ 3068656 h 8562303"/>
                <a:gd name="connsiteX2566" fmla="*/ 2765705 w 8622239"/>
                <a:gd name="connsiteY2566" fmla="*/ 3069001 h 8562303"/>
                <a:gd name="connsiteX2567" fmla="*/ 2772605 w 8622239"/>
                <a:gd name="connsiteY2567" fmla="*/ 3117474 h 8562303"/>
                <a:gd name="connsiteX2568" fmla="*/ 2765015 w 8622239"/>
                <a:gd name="connsiteY2568" fmla="*/ 3146109 h 8562303"/>
                <a:gd name="connsiteX2569" fmla="*/ 2753285 w 8622239"/>
                <a:gd name="connsiteY2569" fmla="*/ 3174054 h 8562303"/>
                <a:gd name="connsiteX2570" fmla="*/ 2765015 w 8622239"/>
                <a:gd name="connsiteY2570" fmla="*/ 3237535 h 8562303"/>
                <a:gd name="connsiteX2571" fmla="*/ 2764843 w 8622239"/>
                <a:gd name="connsiteY2571" fmla="*/ 3241330 h 8562303"/>
                <a:gd name="connsiteX2572" fmla="*/ 2763635 w 8622239"/>
                <a:gd name="connsiteY2572" fmla="*/ 3276003 h 8562303"/>
                <a:gd name="connsiteX2573" fmla="*/ 2764843 w 8622239"/>
                <a:gd name="connsiteY2573" fmla="*/ 3336378 h 8562303"/>
                <a:gd name="connsiteX2574" fmla="*/ 2784163 w 8622239"/>
                <a:gd name="connsiteY2574" fmla="*/ 3441604 h 8562303"/>
                <a:gd name="connsiteX2575" fmla="*/ 2784163 w 8622239"/>
                <a:gd name="connsiteY2575" fmla="*/ 3530787 h 8562303"/>
                <a:gd name="connsiteX2576" fmla="*/ 2784163 w 8622239"/>
                <a:gd name="connsiteY2576" fmla="*/ 3533375 h 8562303"/>
                <a:gd name="connsiteX2577" fmla="*/ 2785371 w 8622239"/>
                <a:gd name="connsiteY2577" fmla="*/ 3535445 h 8562303"/>
                <a:gd name="connsiteX2578" fmla="*/ 2872656 w 8622239"/>
                <a:gd name="connsiteY2578" fmla="*/ 3566495 h 8562303"/>
                <a:gd name="connsiteX2579" fmla="*/ 2982022 w 8622239"/>
                <a:gd name="connsiteY2579" fmla="*/ 3563562 h 8562303"/>
                <a:gd name="connsiteX2580" fmla="*/ 3004620 w 8622239"/>
                <a:gd name="connsiteY2580" fmla="*/ 3564597 h 8562303"/>
                <a:gd name="connsiteX2581" fmla="*/ 3010140 w 8622239"/>
                <a:gd name="connsiteY2581" fmla="*/ 3565805 h 8562303"/>
                <a:gd name="connsiteX2582" fmla="*/ 3010485 w 8622239"/>
                <a:gd name="connsiteY2582" fmla="*/ 3565977 h 8562303"/>
                <a:gd name="connsiteX2583" fmla="*/ 3052230 w 8622239"/>
                <a:gd name="connsiteY2583" fmla="*/ 3578570 h 8562303"/>
                <a:gd name="connsiteX2584" fmla="*/ 3091388 w 8622239"/>
                <a:gd name="connsiteY2584" fmla="*/ 3580122 h 8562303"/>
                <a:gd name="connsiteX2585" fmla="*/ 3113813 w 8622239"/>
                <a:gd name="connsiteY2585" fmla="*/ 3613933 h 8562303"/>
                <a:gd name="connsiteX2586" fmla="*/ 3113640 w 8622239"/>
                <a:gd name="connsiteY2586" fmla="*/ 3619453 h 8562303"/>
                <a:gd name="connsiteX2587" fmla="*/ 3075863 w 8622239"/>
                <a:gd name="connsiteY2587" fmla="*/ 3707256 h 8562303"/>
                <a:gd name="connsiteX2588" fmla="*/ 3082245 w 8622239"/>
                <a:gd name="connsiteY2588" fmla="*/ 3725541 h 8562303"/>
                <a:gd name="connsiteX2589" fmla="*/ 3145898 w 8622239"/>
                <a:gd name="connsiteY2589" fmla="*/ 3862852 h 8562303"/>
                <a:gd name="connsiteX2590" fmla="*/ 3142276 w 8622239"/>
                <a:gd name="connsiteY2590" fmla="*/ 3880619 h 8562303"/>
                <a:gd name="connsiteX2591" fmla="*/ 3077760 w 8622239"/>
                <a:gd name="connsiteY2591" fmla="*/ 3983430 h 8562303"/>
                <a:gd name="connsiteX2592" fmla="*/ 3028425 w 8622239"/>
                <a:gd name="connsiteY2592" fmla="*/ 4072786 h 8562303"/>
                <a:gd name="connsiteX2593" fmla="*/ 2993925 w 8622239"/>
                <a:gd name="connsiteY2593" fmla="*/ 4115394 h 8562303"/>
                <a:gd name="connsiteX2594" fmla="*/ 2973742 w 8622239"/>
                <a:gd name="connsiteY2594" fmla="*/ 4113151 h 8562303"/>
                <a:gd name="connsiteX2595" fmla="*/ 2951834 w 8622239"/>
                <a:gd name="connsiteY2595" fmla="*/ 4099869 h 8562303"/>
                <a:gd name="connsiteX2596" fmla="*/ 2918542 w 8622239"/>
                <a:gd name="connsiteY2596" fmla="*/ 4080376 h 8562303"/>
                <a:gd name="connsiteX2597" fmla="*/ 2874554 w 8622239"/>
                <a:gd name="connsiteY2597" fmla="*/ 4077961 h 8562303"/>
                <a:gd name="connsiteX2598" fmla="*/ 2789856 w 8622239"/>
                <a:gd name="connsiteY2598" fmla="*/ 4081928 h 8562303"/>
                <a:gd name="connsiteX2599" fmla="*/ 2740865 w 8622239"/>
                <a:gd name="connsiteY2599" fmla="*/ 4086069 h 8562303"/>
                <a:gd name="connsiteX2600" fmla="*/ 2697395 w 8622239"/>
                <a:gd name="connsiteY2600" fmla="*/ 4036216 h 8562303"/>
                <a:gd name="connsiteX2601" fmla="*/ 2678247 w 8622239"/>
                <a:gd name="connsiteY2601" fmla="*/ 4001888 h 8562303"/>
                <a:gd name="connsiteX2602" fmla="*/ 2593722 w 8622239"/>
                <a:gd name="connsiteY2602" fmla="*/ 4006545 h 8562303"/>
                <a:gd name="connsiteX2603" fmla="*/ 2590099 w 8622239"/>
                <a:gd name="connsiteY2603" fmla="*/ 4006718 h 8562303"/>
                <a:gd name="connsiteX2604" fmla="*/ 2568364 w 8622239"/>
                <a:gd name="connsiteY2604" fmla="*/ 3992400 h 8562303"/>
                <a:gd name="connsiteX2605" fmla="*/ 2566639 w 8622239"/>
                <a:gd name="connsiteY2605" fmla="*/ 3989813 h 8562303"/>
                <a:gd name="connsiteX2606" fmla="*/ 2564569 w 8622239"/>
                <a:gd name="connsiteY2606" fmla="*/ 3988778 h 8562303"/>
                <a:gd name="connsiteX2607" fmla="*/ 2537486 w 8622239"/>
                <a:gd name="connsiteY2607" fmla="*/ 3976703 h 8562303"/>
                <a:gd name="connsiteX2608" fmla="*/ 2495741 w 8622239"/>
                <a:gd name="connsiteY2608" fmla="*/ 3937890 h 8562303"/>
                <a:gd name="connsiteX2609" fmla="*/ 2453133 w 8622239"/>
                <a:gd name="connsiteY2609" fmla="*/ 3903562 h 8562303"/>
                <a:gd name="connsiteX2610" fmla="*/ 2418978 w 8622239"/>
                <a:gd name="connsiteY2610" fmla="*/ 3906840 h 8562303"/>
                <a:gd name="connsiteX2611" fmla="*/ 2395863 w 8622239"/>
                <a:gd name="connsiteY2611" fmla="*/ 3909427 h 8562303"/>
                <a:gd name="connsiteX2612" fmla="*/ 2374472 w 8622239"/>
                <a:gd name="connsiteY2612" fmla="*/ 3893557 h 8562303"/>
                <a:gd name="connsiteX2613" fmla="*/ 2370850 w 8622239"/>
                <a:gd name="connsiteY2613" fmla="*/ 3882862 h 8562303"/>
                <a:gd name="connsiteX2614" fmla="*/ 2367573 w 8622239"/>
                <a:gd name="connsiteY2614" fmla="*/ 3878550 h 8562303"/>
                <a:gd name="connsiteX2615" fmla="*/ 2363605 w 8622239"/>
                <a:gd name="connsiteY2615" fmla="*/ 3878204 h 8562303"/>
                <a:gd name="connsiteX2616" fmla="*/ 2265452 w 8622239"/>
                <a:gd name="connsiteY2616" fmla="*/ 3890797 h 8562303"/>
                <a:gd name="connsiteX2617" fmla="*/ 2175579 w 8622239"/>
                <a:gd name="connsiteY2617" fmla="*/ 3856469 h 8562303"/>
                <a:gd name="connsiteX2618" fmla="*/ 2117101 w 8622239"/>
                <a:gd name="connsiteY2618" fmla="*/ 3810412 h 8562303"/>
                <a:gd name="connsiteX2619" fmla="*/ 2045513 w 8622239"/>
                <a:gd name="connsiteY2619" fmla="*/ 3752624 h 8562303"/>
                <a:gd name="connsiteX2620" fmla="*/ 2011185 w 8622239"/>
                <a:gd name="connsiteY2620" fmla="*/ 3702081 h 8562303"/>
                <a:gd name="connsiteX2621" fmla="*/ 1993245 w 8622239"/>
                <a:gd name="connsiteY2621" fmla="*/ 3680518 h 8562303"/>
                <a:gd name="connsiteX2622" fmla="*/ 1973235 w 8622239"/>
                <a:gd name="connsiteY2622" fmla="*/ 3602375 h 8562303"/>
                <a:gd name="connsiteX2623" fmla="*/ 1973925 w 8622239"/>
                <a:gd name="connsiteY2623" fmla="*/ 3600305 h 8562303"/>
                <a:gd name="connsiteX2624" fmla="*/ 1972717 w 8622239"/>
                <a:gd name="connsiteY2624" fmla="*/ 3561665 h 8562303"/>
                <a:gd name="connsiteX2625" fmla="*/ 1968405 w 8622239"/>
                <a:gd name="connsiteY2625" fmla="*/ 3532512 h 8562303"/>
                <a:gd name="connsiteX2626" fmla="*/ 1949257 w 8622239"/>
                <a:gd name="connsiteY2626" fmla="*/ 3491974 h 8562303"/>
                <a:gd name="connsiteX2627" fmla="*/ 1941149 w 8622239"/>
                <a:gd name="connsiteY2627" fmla="*/ 3472137 h 8562303"/>
                <a:gd name="connsiteX2628" fmla="*/ 1946497 w 8622239"/>
                <a:gd name="connsiteY2628" fmla="*/ 3464029 h 8562303"/>
                <a:gd name="connsiteX2629" fmla="*/ 1968405 w 8622239"/>
                <a:gd name="connsiteY2629" fmla="*/ 3357078 h 8562303"/>
                <a:gd name="connsiteX2630" fmla="*/ 1929419 w 8622239"/>
                <a:gd name="connsiteY2630" fmla="*/ 3290493 h 8562303"/>
                <a:gd name="connsiteX2631" fmla="*/ 1895436 w 8622239"/>
                <a:gd name="connsiteY2631" fmla="*/ 3298600 h 8562303"/>
                <a:gd name="connsiteX2632" fmla="*/ 1882671 w 8622239"/>
                <a:gd name="connsiteY2632" fmla="*/ 3303085 h 8562303"/>
                <a:gd name="connsiteX2633" fmla="*/ 1767441 w 8622239"/>
                <a:gd name="connsiteY2633" fmla="*/ 3320163 h 8562303"/>
                <a:gd name="connsiteX2634" fmla="*/ 1722245 w 8622239"/>
                <a:gd name="connsiteY2634" fmla="*/ 3327926 h 8562303"/>
                <a:gd name="connsiteX2635" fmla="*/ 1601322 w 8622239"/>
                <a:gd name="connsiteY2635" fmla="*/ 3415211 h 8562303"/>
                <a:gd name="connsiteX2636" fmla="*/ 1575274 w 8622239"/>
                <a:gd name="connsiteY2636" fmla="*/ 3434014 h 8562303"/>
                <a:gd name="connsiteX2637" fmla="*/ 1549054 w 8622239"/>
                <a:gd name="connsiteY2637" fmla="*/ 3443674 h 8562303"/>
                <a:gd name="connsiteX2638" fmla="*/ 1544224 w 8622239"/>
                <a:gd name="connsiteY2638" fmla="*/ 3446089 h 8562303"/>
                <a:gd name="connsiteX2639" fmla="*/ 1484883 w 8622239"/>
                <a:gd name="connsiteY2639" fmla="*/ 3470239 h 8562303"/>
                <a:gd name="connsiteX2640" fmla="*/ 1444346 w 8622239"/>
                <a:gd name="connsiteY2640" fmla="*/ 3510087 h 8562303"/>
                <a:gd name="connsiteX2641" fmla="*/ 1427096 w 8622239"/>
                <a:gd name="connsiteY2641" fmla="*/ 3530959 h 8562303"/>
                <a:gd name="connsiteX2642" fmla="*/ 1418988 w 8622239"/>
                <a:gd name="connsiteY2642" fmla="*/ 3530787 h 8562303"/>
                <a:gd name="connsiteX2643" fmla="*/ 1312382 w 8622239"/>
                <a:gd name="connsiteY2643" fmla="*/ 3590817 h 8562303"/>
                <a:gd name="connsiteX2644" fmla="*/ 1309450 w 8622239"/>
                <a:gd name="connsiteY2644" fmla="*/ 3594095 h 8562303"/>
                <a:gd name="connsiteX2645" fmla="*/ 1303930 w 8622239"/>
                <a:gd name="connsiteY2645" fmla="*/ 3600133 h 8562303"/>
                <a:gd name="connsiteX2646" fmla="*/ 1215437 w 8622239"/>
                <a:gd name="connsiteY2646" fmla="*/ 3652573 h 8562303"/>
                <a:gd name="connsiteX2647" fmla="*/ 1179039 w 8622239"/>
                <a:gd name="connsiteY2647" fmla="*/ 3622213 h 8562303"/>
                <a:gd name="connsiteX2648" fmla="*/ 1178004 w 8622239"/>
                <a:gd name="connsiteY2648" fmla="*/ 3617728 h 8562303"/>
                <a:gd name="connsiteX2649" fmla="*/ 1172311 w 8622239"/>
                <a:gd name="connsiteY2649" fmla="*/ 3614105 h 8562303"/>
                <a:gd name="connsiteX2650" fmla="*/ 1071398 w 8622239"/>
                <a:gd name="connsiteY2650" fmla="*/ 3617555 h 8562303"/>
                <a:gd name="connsiteX2651" fmla="*/ 978247 w 8622239"/>
                <a:gd name="connsiteY2651" fmla="*/ 3620488 h 8562303"/>
                <a:gd name="connsiteX2652" fmla="*/ 907004 w 8622239"/>
                <a:gd name="connsiteY2652" fmla="*/ 3648260 h 8562303"/>
                <a:gd name="connsiteX2653" fmla="*/ 877852 w 8622239"/>
                <a:gd name="connsiteY2653" fmla="*/ 3663613 h 8562303"/>
                <a:gd name="connsiteX2654" fmla="*/ 864569 w 8622239"/>
                <a:gd name="connsiteY2654" fmla="*/ 3663786 h 8562303"/>
                <a:gd name="connsiteX2655" fmla="*/ 839211 w 8622239"/>
                <a:gd name="connsiteY2655" fmla="*/ 3651883 h 8562303"/>
                <a:gd name="connsiteX2656" fmla="*/ 838866 w 8622239"/>
                <a:gd name="connsiteY2656" fmla="*/ 3647053 h 8562303"/>
                <a:gd name="connsiteX2657" fmla="*/ 790911 w 8622239"/>
                <a:gd name="connsiteY2657" fmla="*/ 3609275 h 8562303"/>
                <a:gd name="connsiteX2658" fmla="*/ 789876 w 8622239"/>
                <a:gd name="connsiteY2658" fmla="*/ 3496287 h 8562303"/>
                <a:gd name="connsiteX2659" fmla="*/ 791428 w 8622239"/>
                <a:gd name="connsiteY2659" fmla="*/ 3414004 h 8562303"/>
                <a:gd name="connsiteX2660" fmla="*/ 792981 w 8622239"/>
                <a:gd name="connsiteY2660" fmla="*/ 3403826 h 8562303"/>
                <a:gd name="connsiteX2661" fmla="*/ 798329 w 8622239"/>
                <a:gd name="connsiteY2661" fmla="*/ 3337931 h 8562303"/>
                <a:gd name="connsiteX2662" fmla="*/ 797639 w 8622239"/>
                <a:gd name="connsiteY2662" fmla="*/ 3332583 h 8562303"/>
                <a:gd name="connsiteX2663" fmla="*/ 794016 w 8622239"/>
                <a:gd name="connsiteY2663" fmla="*/ 3330168 h 8562303"/>
                <a:gd name="connsiteX2664" fmla="*/ 776248 w 8622239"/>
                <a:gd name="connsiteY2664" fmla="*/ 3324648 h 8562303"/>
                <a:gd name="connsiteX2665" fmla="*/ 741231 w 8622239"/>
                <a:gd name="connsiteY2665" fmla="*/ 3342933 h 8562303"/>
                <a:gd name="connsiteX2666" fmla="*/ 675508 w 8622239"/>
                <a:gd name="connsiteY2666" fmla="*/ 3411071 h 8562303"/>
                <a:gd name="connsiteX2667" fmla="*/ 608577 w 8622239"/>
                <a:gd name="connsiteY2667" fmla="*/ 3456267 h 8562303"/>
                <a:gd name="connsiteX2668" fmla="*/ 481789 w 8622239"/>
                <a:gd name="connsiteY2668" fmla="*/ 3469894 h 8562303"/>
                <a:gd name="connsiteX2669" fmla="*/ 439526 w 8622239"/>
                <a:gd name="connsiteY2669" fmla="*/ 3456094 h 8562303"/>
                <a:gd name="connsiteX2670" fmla="*/ 440561 w 8622239"/>
                <a:gd name="connsiteY2670" fmla="*/ 3452644 h 8562303"/>
                <a:gd name="connsiteX2671" fmla="*/ 435041 w 8622239"/>
                <a:gd name="connsiteY2671" fmla="*/ 3412969 h 8562303"/>
                <a:gd name="connsiteX2672" fmla="*/ 422276 w 8622239"/>
                <a:gd name="connsiteY2672" fmla="*/ 3382263 h 8562303"/>
                <a:gd name="connsiteX2673" fmla="*/ 342580 w 8622239"/>
                <a:gd name="connsiteY2673" fmla="*/ 3352593 h 8562303"/>
                <a:gd name="connsiteX2674" fmla="*/ 306355 w 8622239"/>
                <a:gd name="connsiteY2674" fmla="*/ 3353628 h 8562303"/>
                <a:gd name="connsiteX2675" fmla="*/ 299972 w 8622239"/>
                <a:gd name="connsiteY2675" fmla="*/ 3353801 h 8562303"/>
                <a:gd name="connsiteX2676" fmla="*/ 268060 w 8622239"/>
                <a:gd name="connsiteY2676" fmla="*/ 3354491 h 8562303"/>
                <a:gd name="connsiteX2677" fmla="*/ 223899 w 8622239"/>
                <a:gd name="connsiteY2677" fmla="*/ 3352421 h 8562303"/>
                <a:gd name="connsiteX2678" fmla="*/ 241839 w 8622239"/>
                <a:gd name="connsiteY2678" fmla="*/ 3331893 h 8562303"/>
                <a:gd name="connsiteX2679" fmla="*/ 264265 w 8622239"/>
                <a:gd name="connsiteY2679" fmla="*/ 3303775 h 8562303"/>
                <a:gd name="connsiteX2680" fmla="*/ 242529 w 8622239"/>
                <a:gd name="connsiteY2680" fmla="*/ 3245297 h 8562303"/>
                <a:gd name="connsiteX2681" fmla="*/ 218897 w 8622239"/>
                <a:gd name="connsiteY2681" fmla="*/ 3224425 h 8562303"/>
                <a:gd name="connsiteX2682" fmla="*/ 181809 w 8622239"/>
                <a:gd name="connsiteY2682" fmla="*/ 3200965 h 8562303"/>
                <a:gd name="connsiteX2683" fmla="*/ 162661 w 8622239"/>
                <a:gd name="connsiteY2683" fmla="*/ 3163187 h 8562303"/>
                <a:gd name="connsiteX2684" fmla="*/ 132646 w 8622239"/>
                <a:gd name="connsiteY2684" fmla="*/ 3127479 h 8562303"/>
                <a:gd name="connsiteX2685" fmla="*/ 119364 w 8622239"/>
                <a:gd name="connsiteY2685" fmla="*/ 3115404 h 8562303"/>
                <a:gd name="connsiteX2686" fmla="*/ 90556 w 8622239"/>
                <a:gd name="connsiteY2686" fmla="*/ 3090046 h 8562303"/>
                <a:gd name="connsiteX2687" fmla="*/ 77791 w 8622239"/>
                <a:gd name="connsiteY2687" fmla="*/ 3085734 h 8562303"/>
                <a:gd name="connsiteX2688" fmla="*/ 78136 w 8622239"/>
                <a:gd name="connsiteY2688" fmla="*/ 3075901 h 8562303"/>
                <a:gd name="connsiteX2689" fmla="*/ 54503 w 8622239"/>
                <a:gd name="connsiteY2689" fmla="*/ 2999483 h 8562303"/>
                <a:gd name="connsiteX2690" fmla="*/ 30698 w 8622239"/>
                <a:gd name="connsiteY2690" fmla="*/ 2981198 h 8562303"/>
                <a:gd name="connsiteX2691" fmla="*/ 22590 w 8622239"/>
                <a:gd name="connsiteY2691" fmla="*/ 2944110 h 8562303"/>
                <a:gd name="connsiteX2692" fmla="*/ 42601 w 8622239"/>
                <a:gd name="connsiteY2692" fmla="*/ 2934968 h 8562303"/>
                <a:gd name="connsiteX2693" fmla="*/ 59851 w 8622239"/>
                <a:gd name="connsiteY2693" fmla="*/ 2926860 h 8562303"/>
                <a:gd name="connsiteX2694" fmla="*/ 60196 w 8622239"/>
                <a:gd name="connsiteY2694" fmla="*/ 2863035 h 8562303"/>
                <a:gd name="connsiteX2695" fmla="*/ 55711 w 8622239"/>
                <a:gd name="connsiteY2695" fmla="*/ 2837677 h 8562303"/>
                <a:gd name="connsiteX2696" fmla="*/ 60886 w 8622239"/>
                <a:gd name="connsiteY2696" fmla="*/ 2820772 h 8562303"/>
                <a:gd name="connsiteX2697" fmla="*/ 367593 w 8622239"/>
                <a:gd name="connsiteY2697" fmla="*/ 2920477 h 8562303"/>
                <a:gd name="connsiteX2698" fmla="*/ 856289 w 8622239"/>
                <a:gd name="connsiteY2698" fmla="*/ 3023116 h 8562303"/>
                <a:gd name="connsiteX2699" fmla="*/ 1097273 w 8622239"/>
                <a:gd name="connsiteY2699" fmla="*/ 3134552 h 8562303"/>
                <a:gd name="connsiteX2700" fmla="*/ 1187491 w 8622239"/>
                <a:gd name="connsiteY2700" fmla="*/ 3181300 h 8562303"/>
                <a:gd name="connsiteX2701" fmla="*/ 1597527 w 8622239"/>
                <a:gd name="connsiteY2701" fmla="*/ 3347763 h 8562303"/>
                <a:gd name="connsiteX2702" fmla="*/ 1603219 w 8622239"/>
                <a:gd name="connsiteY2702" fmla="*/ 3348626 h 8562303"/>
                <a:gd name="connsiteX2703" fmla="*/ 1696025 w 8622239"/>
                <a:gd name="connsiteY2703" fmla="*/ 3306535 h 8562303"/>
                <a:gd name="connsiteX2704" fmla="*/ 1752778 w 8622239"/>
                <a:gd name="connsiteY2704" fmla="*/ 3256510 h 8562303"/>
                <a:gd name="connsiteX2705" fmla="*/ 1882154 w 8622239"/>
                <a:gd name="connsiteY2705" fmla="*/ 3272725 h 8562303"/>
                <a:gd name="connsiteX2706" fmla="*/ 1884224 w 8622239"/>
                <a:gd name="connsiteY2706" fmla="*/ 3271690 h 8562303"/>
                <a:gd name="connsiteX2707" fmla="*/ 1963229 w 8622239"/>
                <a:gd name="connsiteY2707" fmla="*/ 3227530 h 8562303"/>
                <a:gd name="connsiteX2708" fmla="*/ 1977030 w 8622239"/>
                <a:gd name="connsiteY2708" fmla="*/ 3222700 h 8562303"/>
                <a:gd name="connsiteX2709" fmla="*/ 2012737 w 8622239"/>
                <a:gd name="connsiteY2709" fmla="*/ 3238742 h 8562303"/>
                <a:gd name="connsiteX2710" fmla="*/ 2019292 w 8622239"/>
                <a:gd name="connsiteY2710" fmla="*/ 3240467 h 8562303"/>
                <a:gd name="connsiteX2711" fmla="*/ 2052758 w 8622239"/>
                <a:gd name="connsiteY2711" fmla="*/ 3203035 h 8562303"/>
                <a:gd name="connsiteX2712" fmla="*/ 2074493 w 8622239"/>
                <a:gd name="connsiteY2712" fmla="*/ 3149904 h 8562303"/>
                <a:gd name="connsiteX2713" fmla="*/ 2082600 w 8622239"/>
                <a:gd name="connsiteY2713" fmla="*/ 3143867 h 8562303"/>
                <a:gd name="connsiteX2714" fmla="*/ 2099678 w 8622239"/>
                <a:gd name="connsiteY2714" fmla="*/ 3149214 h 8562303"/>
                <a:gd name="connsiteX2715" fmla="*/ 2109338 w 8622239"/>
                <a:gd name="connsiteY2715" fmla="*/ 3154562 h 8562303"/>
                <a:gd name="connsiteX2716" fmla="*/ 2112961 w 8622239"/>
                <a:gd name="connsiteY2716" fmla="*/ 3157149 h 8562303"/>
                <a:gd name="connsiteX2717" fmla="*/ 2117101 w 8622239"/>
                <a:gd name="connsiteY2717" fmla="*/ 3155424 h 8562303"/>
                <a:gd name="connsiteX2718" fmla="*/ 2170231 w 8622239"/>
                <a:gd name="connsiteY2718" fmla="*/ 3143522 h 8562303"/>
                <a:gd name="connsiteX2719" fmla="*/ 2191104 w 8622239"/>
                <a:gd name="connsiteY2719" fmla="*/ 3147317 h 8562303"/>
                <a:gd name="connsiteX2720" fmla="*/ 2203006 w 8622239"/>
                <a:gd name="connsiteY2720" fmla="*/ 3149904 h 8562303"/>
                <a:gd name="connsiteX2721" fmla="*/ 2254239 w 8622239"/>
                <a:gd name="connsiteY2721" fmla="*/ 3069346 h 8562303"/>
                <a:gd name="connsiteX2722" fmla="*/ 2252514 w 8622239"/>
                <a:gd name="connsiteY2722" fmla="*/ 3053304 h 8562303"/>
                <a:gd name="connsiteX2723" fmla="*/ 2250789 w 8622239"/>
                <a:gd name="connsiteY2723" fmla="*/ 3038641 h 8562303"/>
                <a:gd name="connsiteX2724" fmla="*/ 2264244 w 8622239"/>
                <a:gd name="connsiteY2724" fmla="*/ 2987063 h 8562303"/>
                <a:gd name="connsiteX2725" fmla="*/ 2305645 w 8622239"/>
                <a:gd name="connsiteY2725" fmla="*/ 2969813 h 8562303"/>
                <a:gd name="connsiteX2726" fmla="*/ 2358085 w 8622239"/>
                <a:gd name="connsiteY2726" fmla="*/ 2918925 h 8562303"/>
                <a:gd name="connsiteX2727" fmla="*/ 2377578 w 8622239"/>
                <a:gd name="connsiteY2727" fmla="*/ 2910645 h 8562303"/>
                <a:gd name="connsiteX2728" fmla="*/ 2463828 w 8622239"/>
                <a:gd name="connsiteY2728" fmla="*/ 2926170 h 8562303"/>
                <a:gd name="connsiteX2729" fmla="*/ 2522479 w 8622239"/>
                <a:gd name="connsiteY2729" fmla="*/ 2976540 h 8562303"/>
                <a:gd name="connsiteX2730" fmla="*/ 2562671 w 8622239"/>
                <a:gd name="connsiteY2730" fmla="*/ 2997413 h 8562303"/>
                <a:gd name="connsiteX2731" fmla="*/ 2596137 w 8622239"/>
                <a:gd name="connsiteY2731" fmla="*/ 3006556 h 8562303"/>
                <a:gd name="connsiteX2732" fmla="*/ 2634259 w 8622239"/>
                <a:gd name="connsiteY2732" fmla="*/ 3059514 h 8562303"/>
                <a:gd name="connsiteX2733" fmla="*/ 2692220 w 8622239"/>
                <a:gd name="connsiteY2733" fmla="*/ 3100224 h 8562303"/>
                <a:gd name="connsiteX2734" fmla="*/ 2703950 w 8622239"/>
                <a:gd name="connsiteY2734" fmla="*/ 3099189 h 8562303"/>
                <a:gd name="connsiteX2735" fmla="*/ 2753803 w 8622239"/>
                <a:gd name="connsiteY2735" fmla="*/ 3069519 h 8562303"/>
                <a:gd name="connsiteX2736" fmla="*/ 2767430 w 8622239"/>
                <a:gd name="connsiteY2736" fmla="*/ 3069346 h 8562303"/>
                <a:gd name="connsiteX2737" fmla="*/ 2766568 w 8622239"/>
                <a:gd name="connsiteY2737" fmla="*/ 3066069 h 8562303"/>
                <a:gd name="connsiteX2738" fmla="*/ 2766740 w 8622239"/>
                <a:gd name="connsiteY2738" fmla="*/ 3066069 h 8562303"/>
                <a:gd name="connsiteX2739" fmla="*/ 2767603 w 8622239"/>
                <a:gd name="connsiteY2739" fmla="*/ 3069174 h 8562303"/>
                <a:gd name="connsiteX2740" fmla="*/ 2784508 w 8622239"/>
                <a:gd name="connsiteY2740" fmla="*/ 3068829 h 8562303"/>
                <a:gd name="connsiteX2741" fmla="*/ 2784508 w 8622239"/>
                <a:gd name="connsiteY2741" fmla="*/ 3069001 h 8562303"/>
                <a:gd name="connsiteX2742" fmla="*/ 2980124 w 8622239"/>
                <a:gd name="connsiteY2742" fmla="*/ 3064344 h 8562303"/>
                <a:gd name="connsiteX2743" fmla="*/ 3324264 w 8622239"/>
                <a:gd name="connsiteY2743" fmla="*/ 3061584 h 8562303"/>
                <a:gd name="connsiteX2744" fmla="*/ 3382742 w 8622239"/>
                <a:gd name="connsiteY2744" fmla="*/ 3069519 h 8562303"/>
                <a:gd name="connsiteX2745" fmla="*/ 3411377 w 8622239"/>
                <a:gd name="connsiteY2745" fmla="*/ 3066931 h 8562303"/>
                <a:gd name="connsiteX2746" fmla="*/ 3459850 w 8622239"/>
                <a:gd name="connsiteY2746" fmla="*/ 3019493 h 8562303"/>
                <a:gd name="connsiteX2747" fmla="*/ 3457435 w 8622239"/>
                <a:gd name="connsiteY2747" fmla="*/ 2996033 h 8562303"/>
                <a:gd name="connsiteX2748" fmla="*/ 3467613 w 8622239"/>
                <a:gd name="connsiteY2748" fmla="*/ 2961878 h 8562303"/>
                <a:gd name="connsiteX2749" fmla="*/ 3468475 w 8622239"/>
                <a:gd name="connsiteY2749" fmla="*/ 2960153 h 8562303"/>
                <a:gd name="connsiteX2750" fmla="*/ 3468475 w 8622239"/>
                <a:gd name="connsiteY2750" fmla="*/ 2958255 h 8562303"/>
                <a:gd name="connsiteX2751" fmla="*/ 3468475 w 8622239"/>
                <a:gd name="connsiteY2751" fmla="*/ 2890635 h 8562303"/>
                <a:gd name="connsiteX2752" fmla="*/ 3473823 w 8622239"/>
                <a:gd name="connsiteY2752" fmla="*/ 2827672 h 8562303"/>
                <a:gd name="connsiteX2753" fmla="*/ 3508151 w 8622239"/>
                <a:gd name="connsiteY2753" fmla="*/ 2757291 h 8562303"/>
                <a:gd name="connsiteX2754" fmla="*/ 3532991 w 8622239"/>
                <a:gd name="connsiteY2754" fmla="*/ 2774024 h 8562303"/>
                <a:gd name="connsiteX2755" fmla="*/ 3551276 w 8622239"/>
                <a:gd name="connsiteY2755" fmla="*/ 2835434 h 8562303"/>
                <a:gd name="connsiteX2756" fmla="*/ 3603717 w 8622239"/>
                <a:gd name="connsiteY2756" fmla="*/ 2960498 h 8562303"/>
                <a:gd name="connsiteX2757" fmla="*/ 3606476 w 8622239"/>
                <a:gd name="connsiteY2757" fmla="*/ 3032948 h 8562303"/>
                <a:gd name="connsiteX2758" fmla="*/ 3630282 w 8622239"/>
                <a:gd name="connsiteY2758" fmla="*/ 3082801 h 8562303"/>
                <a:gd name="connsiteX2759" fmla="*/ 3691520 w 8622239"/>
                <a:gd name="connsiteY2759" fmla="*/ 3116266 h 8562303"/>
                <a:gd name="connsiteX2760" fmla="*/ 3790018 w 8622239"/>
                <a:gd name="connsiteY2760" fmla="*/ 3180437 h 8562303"/>
                <a:gd name="connsiteX2761" fmla="*/ 3897659 w 8622239"/>
                <a:gd name="connsiteY2761" fmla="*/ 3215282 h 8562303"/>
                <a:gd name="connsiteX2762" fmla="*/ 3934056 w 8622239"/>
                <a:gd name="connsiteY2762" fmla="*/ 3211832 h 8562303"/>
                <a:gd name="connsiteX2763" fmla="*/ 5051347 w 8622239"/>
                <a:gd name="connsiteY2763" fmla="*/ 3303430 h 8562303"/>
                <a:gd name="connsiteX2764" fmla="*/ 5209186 w 8622239"/>
                <a:gd name="connsiteY2764" fmla="*/ 3300843 h 8562303"/>
                <a:gd name="connsiteX2765" fmla="*/ 5221088 w 8622239"/>
                <a:gd name="connsiteY2765" fmla="*/ 3283593 h 8562303"/>
                <a:gd name="connsiteX2766" fmla="*/ 5052037 w 8622239"/>
                <a:gd name="connsiteY2766" fmla="*/ 3286180 h 8562303"/>
                <a:gd name="connsiteX2767" fmla="*/ 4483128 w 8622239"/>
                <a:gd name="connsiteY2767" fmla="*/ 3240467 h 8562303"/>
                <a:gd name="connsiteX2768" fmla="*/ 3934401 w 8622239"/>
                <a:gd name="connsiteY2768" fmla="*/ 3194755 h 8562303"/>
                <a:gd name="connsiteX2769" fmla="*/ 3932849 w 8622239"/>
                <a:gd name="connsiteY2769" fmla="*/ 3194582 h 8562303"/>
                <a:gd name="connsiteX2770" fmla="*/ 3931641 w 8622239"/>
                <a:gd name="connsiteY2770" fmla="*/ 3194755 h 8562303"/>
                <a:gd name="connsiteX2771" fmla="*/ 3897659 w 8622239"/>
                <a:gd name="connsiteY2771" fmla="*/ 3198205 h 8562303"/>
                <a:gd name="connsiteX2772" fmla="*/ 3799850 w 8622239"/>
                <a:gd name="connsiteY2772" fmla="*/ 3166637 h 8562303"/>
                <a:gd name="connsiteX2773" fmla="*/ 3698765 w 8622239"/>
                <a:gd name="connsiteY2773" fmla="*/ 3101086 h 8562303"/>
                <a:gd name="connsiteX2774" fmla="*/ 3639942 w 8622239"/>
                <a:gd name="connsiteY2774" fmla="*/ 3069174 h 8562303"/>
                <a:gd name="connsiteX2775" fmla="*/ 3622864 w 8622239"/>
                <a:gd name="connsiteY2775" fmla="*/ 3033466 h 8562303"/>
                <a:gd name="connsiteX2776" fmla="*/ 3620104 w 8622239"/>
                <a:gd name="connsiteY2776" fmla="*/ 2959980 h 8562303"/>
                <a:gd name="connsiteX2777" fmla="*/ 3566974 w 8622239"/>
                <a:gd name="connsiteY2777" fmla="*/ 2831294 h 8562303"/>
                <a:gd name="connsiteX2778" fmla="*/ 3547309 w 8622239"/>
                <a:gd name="connsiteY2778" fmla="*/ 2765916 h 8562303"/>
                <a:gd name="connsiteX2779" fmla="*/ 3546274 w 8622239"/>
                <a:gd name="connsiteY2779" fmla="*/ 2763156 h 8562303"/>
                <a:gd name="connsiteX2780" fmla="*/ 3512981 w 8622239"/>
                <a:gd name="connsiteY2780" fmla="*/ 2740731 h 8562303"/>
                <a:gd name="connsiteX2781" fmla="*/ 3512981 w 8622239"/>
                <a:gd name="connsiteY2781" fmla="*/ 2740386 h 8562303"/>
                <a:gd name="connsiteX2782" fmla="*/ 3513326 w 8622239"/>
                <a:gd name="connsiteY2782" fmla="*/ 2740559 h 8562303"/>
                <a:gd name="connsiteX2783" fmla="*/ 3513671 w 8622239"/>
                <a:gd name="connsiteY2783" fmla="*/ 2735729 h 8562303"/>
                <a:gd name="connsiteX2784" fmla="*/ 3476928 w 8622239"/>
                <a:gd name="connsiteY2784" fmla="*/ 2670696 h 8562303"/>
                <a:gd name="connsiteX2785" fmla="*/ 3442600 w 8622239"/>
                <a:gd name="connsiteY2785" fmla="*/ 2629640 h 8562303"/>
                <a:gd name="connsiteX2786" fmla="*/ 3442600 w 8622239"/>
                <a:gd name="connsiteY2786" fmla="*/ 2629296 h 8562303"/>
                <a:gd name="connsiteX2787" fmla="*/ 3463301 w 8622239"/>
                <a:gd name="connsiteY2787" fmla="*/ 2589793 h 8562303"/>
                <a:gd name="connsiteX2788" fmla="*/ 3485036 w 8622239"/>
                <a:gd name="connsiteY2788" fmla="*/ 2560985 h 8562303"/>
                <a:gd name="connsiteX2789" fmla="*/ 3485725 w 8622239"/>
                <a:gd name="connsiteY2789" fmla="*/ 2560122 h 8562303"/>
                <a:gd name="connsiteX2790" fmla="*/ 3486071 w 8622239"/>
                <a:gd name="connsiteY2790" fmla="*/ 2559087 h 8562303"/>
                <a:gd name="connsiteX2791" fmla="*/ 3691520 w 8622239"/>
                <a:gd name="connsiteY2791" fmla="*/ 2099372 h 8562303"/>
                <a:gd name="connsiteX2792" fmla="*/ 3832798 w 8622239"/>
                <a:gd name="connsiteY2792" fmla="*/ 1779382 h 8562303"/>
                <a:gd name="connsiteX2793" fmla="*/ 3879546 w 8622239"/>
                <a:gd name="connsiteY2793" fmla="*/ 1670878 h 8562303"/>
                <a:gd name="connsiteX2794" fmla="*/ 3897831 w 8622239"/>
                <a:gd name="connsiteY2794" fmla="*/ 1621716 h 8562303"/>
                <a:gd name="connsiteX2795" fmla="*/ 3888861 w 8622239"/>
                <a:gd name="connsiteY2795" fmla="*/ 1606708 h 8562303"/>
                <a:gd name="connsiteX2796" fmla="*/ 3874198 w 8622239"/>
                <a:gd name="connsiteY2796" fmla="*/ 1603775 h 8562303"/>
                <a:gd name="connsiteX2797" fmla="*/ 3828313 w 8622239"/>
                <a:gd name="connsiteY2797" fmla="*/ 1610158 h 8562303"/>
                <a:gd name="connsiteX2798" fmla="*/ 3795020 w 8622239"/>
                <a:gd name="connsiteY2798" fmla="*/ 1587733 h 8562303"/>
                <a:gd name="connsiteX2799" fmla="*/ 3776218 w 8622239"/>
                <a:gd name="connsiteY2799" fmla="*/ 1569620 h 8562303"/>
                <a:gd name="connsiteX2800" fmla="*/ 3770870 w 8622239"/>
                <a:gd name="connsiteY2800" fmla="*/ 1562720 h 8562303"/>
                <a:gd name="connsiteX2801" fmla="*/ 3769835 w 8622239"/>
                <a:gd name="connsiteY2801" fmla="*/ 1560995 h 8562303"/>
                <a:gd name="connsiteX2802" fmla="*/ 3757070 w 8622239"/>
                <a:gd name="connsiteY2802" fmla="*/ 1544263 h 8562303"/>
                <a:gd name="connsiteX2803" fmla="*/ 3692382 w 8622239"/>
                <a:gd name="connsiteY2803" fmla="*/ 1510452 h 8562303"/>
                <a:gd name="connsiteX2804" fmla="*/ 3567491 w 8622239"/>
                <a:gd name="connsiteY2804" fmla="*/ 1440244 h 8562303"/>
                <a:gd name="connsiteX2805" fmla="*/ 3447948 w 8622239"/>
                <a:gd name="connsiteY2805" fmla="*/ 1366241 h 8562303"/>
                <a:gd name="connsiteX2806" fmla="*/ 3400337 w 8622239"/>
                <a:gd name="connsiteY2806" fmla="*/ 1289651 h 8562303"/>
                <a:gd name="connsiteX2807" fmla="*/ 3344620 w 8622239"/>
                <a:gd name="connsiteY2807" fmla="*/ 1234623 h 8562303"/>
                <a:gd name="connsiteX2808" fmla="*/ 3334097 w 8622239"/>
                <a:gd name="connsiteY2808" fmla="*/ 1207713 h 8562303"/>
                <a:gd name="connsiteX2809" fmla="*/ 3336684 w 8622239"/>
                <a:gd name="connsiteY2809" fmla="*/ 1161827 h 8562303"/>
                <a:gd name="connsiteX2810" fmla="*/ 3318054 w 8622239"/>
                <a:gd name="connsiteY2810" fmla="*/ 1096449 h 8562303"/>
                <a:gd name="connsiteX2811" fmla="*/ 3318054 w 8622239"/>
                <a:gd name="connsiteY2811" fmla="*/ 1095242 h 8562303"/>
                <a:gd name="connsiteX2812" fmla="*/ 3318054 w 8622239"/>
                <a:gd name="connsiteY2812" fmla="*/ 1095242 h 8562303"/>
                <a:gd name="connsiteX2813" fmla="*/ 3318054 w 8622239"/>
                <a:gd name="connsiteY2813" fmla="*/ 849255 h 8562303"/>
                <a:gd name="connsiteX2814" fmla="*/ 3356177 w 8622239"/>
                <a:gd name="connsiteY2814" fmla="*/ 862710 h 8562303"/>
                <a:gd name="connsiteX2815" fmla="*/ 3359972 w 8622239"/>
                <a:gd name="connsiteY2815" fmla="*/ 864263 h 8562303"/>
                <a:gd name="connsiteX2816" fmla="*/ 3454848 w 8622239"/>
                <a:gd name="connsiteY2816" fmla="*/ 807510 h 8562303"/>
                <a:gd name="connsiteX2817" fmla="*/ 3480723 w 8622239"/>
                <a:gd name="connsiteY2817" fmla="*/ 791295 h 8562303"/>
                <a:gd name="connsiteX2818" fmla="*/ 3579221 w 8622239"/>
                <a:gd name="connsiteY2818" fmla="*/ 768697 h 8562303"/>
                <a:gd name="connsiteX2819" fmla="*/ 3598714 w 8622239"/>
                <a:gd name="connsiteY2819" fmla="*/ 762314 h 8562303"/>
                <a:gd name="connsiteX2820" fmla="*/ 3681515 w 8622239"/>
                <a:gd name="connsiteY2820" fmla="*/ 719189 h 8562303"/>
                <a:gd name="connsiteX2821" fmla="*/ 3718602 w 8622239"/>
                <a:gd name="connsiteY2821" fmla="*/ 701766 h 8562303"/>
                <a:gd name="connsiteX2822" fmla="*/ 3746548 w 8622239"/>
                <a:gd name="connsiteY2822" fmla="*/ 706424 h 8562303"/>
                <a:gd name="connsiteX2823" fmla="*/ 3788983 w 8622239"/>
                <a:gd name="connsiteY2823" fmla="*/ 718844 h 8562303"/>
                <a:gd name="connsiteX2824" fmla="*/ 3832453 w 8622239"/>
                <a:gd name="connsiteY2824" fmla="*/ 709529 h 8562303"/>
                <a:gd name="connsiteX2825" fmla="*/ 3859363 w 8622239"/>
                <a:gd name="connsiteY2825" fmla="*/ 705216 h 8562303"/>
                <a:gd name="connsiteX2826" fmla="*/ 3932504 w 8622239"/>
                <a:gd name="connsiteY2826" fmla="*/ 721432 h 8562303"/>
                <a:gd name="connsiteX2827" fmla="*/ 3935264 w 8622239"/>
                <a:gd name="connsiteY2827" fmla="*/ 724192 h 8562303"/>
                <a:gd name="connsiteX2828" fmla="*/ 3938196 w 8622239"/>
                <a:gd name="connsiteY2828" fmla="*/ 724537 h 8562303"/>
                <a:gd name="connsiteX2829" fmla="*/ 3961484 w 8622239"/>
                <a:gd name="connsiteY2829" fmla="*/ 726262 h 8562303"/>
                <a:gd name="connsiteX2830" fmla="*/ 4021687 w 8622239"/>
                <a:gd name="connsiteY2830" fmla="*/ 711081 h 8562303"/>
                <a:gd name="connsiteX2831" fmla="*/ 4037557 w 8622239"/>
                <a:gd name="connsiteY2831" fmla="*/ 683481 h 8562303"/>
                <a:gd name="connsiteX2832" fmla="*/ 4003057 w 8622239"/>
                <a:gd name="connsiteY2832" fmla="*/ 641908 h 8562303"/>
                <a:gd name="connsiteX2833" fmla="*/ 3987704 w 8622239"/>
                <a:gd name="connsiteY2833" fmla="*/ 609478 h 8562303"/>
                <a:gd name="connsiteX2834" fmla="*/ 3993224 w 8622239"/>
                <a:gd name="connsiteY2834" fmla="*/ 590503 h 8562303"/>
                <a:gd name="connsiteX2835" fmla="*/ 4012372 w 8622239"/>
                <a:gd name="connsiteY2835" fmla="*/ 585846 h 8562303"/>
                <a:gd name="connsiteX2836" fmla="*/ 4032037 w 8622239"/>
                <a:gd name="connsiteY2836" fmla="*/ 594126 h 8562303"/>
                <a:gd name="connsiteX2837" fmla="*/ 4034625 w 8622239"/>
                <a:gd name="connsiteY2837" fmla="*/ 596713 h 8562303"/>
                <a:gd name="connsiteX2838" fmla="*/ 4037385 w 8622239"/>
                <a:gd name="connsiteY2838" fmla="*/ 597058 h 8562303"/>
                <a:gd name="connsiteX2839" fmla="*/ 4084995 w 8622239"/>
                <a:gd name="connsiteY2839" fmla="*/ 598783 h 8562303"/>
                <a:gd name="connsiteX2840" fmla="*/ 4091033 w 8622239"/>
                <a:gd name="connsiteY2840" fmla="*/ 598438 h 8562303"/>
                <a:gd name="connsiteX2841" fmla="*/ 4164173 w 8622239"/>
                <a:gd name="connsiteY2841" fmla="*/ 588433 h 8562303"/>
                <a:gd name="connsiteX2842" fmla="*/ 4183838 w 8622239"/>
                <a:gd name="connsiteY2842" fmla="*/ 574633 h 8562303"/>
                <a:gd name="connsiteX2843" fmla="*/ 4209023 w 8622239"/>
                <a:gd name="connsiteY2843" fmla="*/ 557728 h 8562303"/>
                <a:gd name="connsiteX2844" fmla="*/ 4245421 w 8622239"/>
                <a:gd name="connsiteY2844" fmla="*/ 584811 h 8562303"/>
                <a:gd name="connsiteX2845" fmla="*/ 4233174 w 8622239"/>
                <a:gd name="connsiteY2845" fmla="*/ 641046 h 8562303"/>
                <a:gd name="connsiteX2846" fmla="*/ 4234726 w 8622239"/>
                <a:gd name="connsiteY2846" fmla="*/ 703319 h 8562303"/>
                <a:gd name="connsiteX2847" fmla="*/ 4234381 w 8622239"/>
                <a:gd name="connsiteY2847" fmla="*/ 710391 h 8562303"/>
                <a:gd name="connsiteX2848" fmla="*/ 4243696 w 8622239"/>
                <a:gd name="connsiteY2848" fmla="*/ 741787 h 8562303"/>
                <a:gd name="connsiteX2849" fmla="*/ 4289582 w 8622239"/>
                <a:gd name="connsiteY2849" fmla="*/ 762314 h 8562303"/>
                <a:gd name="connsiteX2850" fmla="*/ 4305624 w 8622239"/>
                <a:gd name="connsiteY2850" fmla="*/ 762487 h 8562303"/>
                <a:gd name="connsiteX2851" fmla="*/ 4339434 w 8622239"/>
                <a:gd name="connsiteY2851" fmla="*/ 762142 h 8562303"/>
                <a:gd name="connsiteX2852" fmla="*/ 4359962 w 8622239"/>
                <a:gd name="connsiteY2852" fmla="*/ 769042 h 8562303"/>
                <a:gd name="connsiteX2853" fmla="*/ 4431723 w 8622239"/>
                <a:gd name="connsiteY2853" fmla="*/ 839595 h 8562303"/>
                <a:gd name="connsiteX2854" fmla="*/ 4472950 w 8622239"/>
                <a:gd name="connsiteY2854" fmla="*/ 845287 h 8562303"/>
                <a:gd name="connsiteX2855" fmla="*/ 4505208 w 8622239"/>
                <a:gd name="connsiteY2855" fmla="*/ 855465 h 8562303"/>
                <a:gd name="connsiteX2856" fmla="*/ 4517110 w 8622239"/>
                <a:gd name="connsiteY2856" fmla="*/ 910493 h 8562303"/>
                <a:gd name="connsiteX2857" fmla="*/ 4532981 w 8622239"/>
                <a:gd name="connsiteY2857" fmla="*/ 926363 h 8562303"/>
                <a:gd name="connsiteX2858" fmla="*/ 4570586 w 8622239"/>
                <a:gd name="connsiteY2858" fmla="*/ 950686 h 8562303"/>
                <a:gd name="connsiteX2859" fmla="*/ 4589389 w 8622239"/>
                <a:gd name="connsiteY2859" fmla="*/ 970178 h 8562303"/>
                <a:gd name="connsiteX2860" fmla="*/ 4599221 w 8622239"/>
                <a:gd name="connsiteY2860" fmla="*/ 1076267 h 8562303"/>
                <a:gd name="connsiteX2861" fmla="*/ 4643382 w 8622239"/>
                <a:gd name="connsiteY2861" fmla="*/ 1162345 h 8562303"/>
                <a:gd name="connsiteX2862" fmla="*/ 4688059 w 8622239"/>
                <a:gd name="connsiteY2862" fmla="*/ 1214785 h 8562303"/>
                <a:gd name="connsiteX2863" fmla="*/ 4722732 w 8622239"/>
                <a:gd name="connsiteY2863" fmla="*/ 1271366 h 8562303"/>
                <a:gd name="connsiteX2864" fmla="*/ 4743950 w 8622239"/>
                <a:gd name="connsiteY2864" fmla="*/ 1329671 h 8562303"/>
                <a:gd name="connsiteX2865" fmla="*/ 4746882 w 8622239"/>
                <a:gd name="connsiteY2865" fmla="*/ 1332431 h 8562303"/>
                <a:gd name="connsiteX2866" fmla="*/ 4750505 w 8622239"/>
                <a:gd name="connsiteY2866" fmla="*/ 1343471 h 8562303"/>
                <a:gd name="connsiteX2867" fmla="*/ 4774138 w 8622239"/>
                <a:gd name="connsiteY2867" fmla="*/ 1369346 h 8562303"/>
                <a:gd name="connsiteX2868" fmla="*/ 4792250 w 8622239"/>
                <a:gd name="connsiteY2868" fmla="*/ 1375039 h 8562303"/>
                <a:gd name="connsiteX2869" fmla="*/ 4827958 w 8622239"/>
                <a:gd name="connsiteY2869" fmla="*/ 1402467 h 8562303"/>
                <a:gd name="connsiteX2870" fmla="*/ 4743605 w 8622239"/>
                <a:gd name="connsiteY2870" fmla="*/ 1439554 h 8562303"/>
                <a:gd name="connsiteX2871" fmla="*/ 4779313 w 8622239"/>
                <a:gd name="connsiteY2871" fmla="*/ 1469397 h 8562303"/>
                <a:gd name="connsiteX2872" fmla="*/ 4848658 w 8622239"/>
                <a:gd name="connsiteY2872" fmla="*/ 1467499 h 8562303"/>
                <a:gd name="connsiteX2873" fmla="*/ 4890059 w 8622239"/>
                <a:gd name="connsiteY2873" fmla="*/ 1470777 h 8562303"/>
                <a:gd name="connsiteX2874" fmla="*/ 4906963 w 8622239"/>
                <a:gd name="connsiteY2874" fmla="*/ 1471812 h 8562303"/>
                <a:gd name="connsiteX2875" fmla="*/ 4953711 w 8622239"/>
                <a:gd name="connsiteY2875" fmla="*/ 1451974 h 8562303"/>
                <a:gd name="connsiteX2876" fmla="*/ 5025644 w 8622239"/>
                <a:gd name="connsiteY2876" fmla="*/ 1417819 h 8562303"/>
                <a:gd name="connsiteX2877" fmla="*/ 5053589 w 8622239"/>
                <a:gd name="connsiteY2877" fmla="*/ 1405744 h 8562303"/>
                <a:gd name="connsiteX2878" fmla="*/ 5124142 w 8622239"/>
                <a:gd name="connsiteY2878" fmla="*/ 1376936 h 8562303"/>
                <a:gd name="connsiteX2879" fmla="*/ 5128455 w 8622239"/>
                <a:gd name="connsiteY2879" fmla="*/ 1375901 h 8562303"/>
                <a:gd name="connsiteX2880" fmla="*/ 5176238 w 8622239"/>
                <a:gd name="connsiteY2880" fmla="*/ 1324496 h 8562303"/>
                <a:gd name="connsiteX2881" fmla="*/ 5175893 w 8622239"/>
                <a:gd name="connsiteY2881" fmla="*/ 1298103 h 8562303"/>
                <a:gd name="connsiteX2882" fmla="*/ 5189176 w 8622239"/>
                <a:gd name="connsiteY2882" fmla="*/ 1249113 h 8562303"/>
                <a:gd name="connsiteX2883" fmla="*/ 5204701 w 8622239"/>
                <a:gd name="connsiteY2883" fmla="*/ 1198743 h 8562303"/>
                <a:gd name="connsiteX2884" fmla="*/ 5212463 w 8622239"/>
                <a:gd name="connsiteY2884" fmla="*/ 1175972 h 8562303"/>
                <a:gd name="connsiteX2885" fmla="*/ 5269044 w 8622239"/>
                <a:gd name="connsiteY2885" fmla="*/ 1156825 h 8562303"/>
                <a:gd name="connsiteX2886" fmla="*/ 5299404 w 8622239"/>
                <a:gd name="connsiteY2886" fmla="*/ 1164760 h 8562303"/>
                <a:gd name="connsiteX2887" fmla="*/ 5354604 w 8622239"/>
                <a:gd name="connsiteY2887" fmla="*/ 1173730 h 8562303"/>
                <a:gd name="connsiteX2888" fmla="*/ 5370129 w 8622239"/>
                <a:gd name="connsiteY2888" fmla="*/ 1177007 h 8562303"/>
                <a:gd name="connsiteX2889" fmla="*/ 5426882 w 8622239"/>
                <a:gd name="connsiteY2889" fmla="*/ 1186150 h 8562303"/>
                <a:gd name="connsiteX2890" fmla="*/ 5429470 w 8622239"/>
                <a:gd name="connsiteY2890" fmla="*/ 1185977 h 8562303"/>
                <a:gd name="connsiteX2891" fmla="*/ 5485015 w 8622239"/>
                <a:gd name="connsiteY2891" fmla="*/ 1176145 h 8562303"/>
                <a:gd name="connsiteX2892" fmla="*/ 5508475 w 8622239"/>
                <a:gd name="connsiteY2892" fmla="*/ 1172522 h 8562303"/>
                <a:gd name="connsiteX2893" fmla="*/ 5580581 w 8622239"/>
                <a:gd name="connsiteY2893" fmla="*/ 1168037 h 8562303"/>
                <a:gd name="connsiteX2894" fmla="*/ 5671834 w 8622239"/>
                <a:gd name="connsiteY2894" fmla="*/ 1196845 h 8562303"/>
                <a:gd name="connsiteX2895" fmla="*/ 5679252 w 8622239"/>
                <a:gd name="connsiteY2895" fmla="*/ 1254460 h 8562303"/>
                <a:gd name="connsiteX2896" fmla="*/ 5654584 w 8622239"/>
                <a:gd name="connsiteY2896" fmla="*/ 1330878 h 8562303"/>
                <a:gd name="connsiteX2897" fmla="*/ 5619394 w 8622239"/>
                <a:gd name="connsiteY2897" fmla="*/ 1388321 h 8562303"/>
                <a:gd name="connsiteX2898" fmla="*/ 5589896 w 8622239"/>
                <a:gd name="connsiteY2898" fmla="*/ 1410919 h 8562303"/>
                <a:gd name="connsiteX2899" fmla="*/ 5520723 w 8622239"/>
                <a:gd name="connsiteY2899" fmla="*/ 1460599 h 8562303"/>
                <a:gd name="connsiteX2900" fmla="*/ 5439303 w 8622239"/>
                <a:gd name="connsiteY2900" fmla="*/ 1476124 h 8562303"/>
                <a:gd name="connsiteX2901" fmla="*/ 5369957 w 8622239"/>
                <a:gd name="connsiteY2901" fmla="*/ 1483197 h 8562303"/>
                <a:gd name="connsiteX2902" fmla="*/ 5294574 w 8622239"/>
                <a:gd name="connsiteY2902" fmla="*/ 1482507 h 8562303"/>
                <a:gd name="connsiteX2903" fmla="*/ 5291642 w 8622239"/>
                <a:gd name="connsiteY2903" fmla="*/ 1482680 h 8562303"/>
                <a:gd name="connsiteX2904" fmla="*/ 5240926 w 8622239"/>
                <a:gd name="connsiteY2904" fmla="*/ 1515110 h 8562303"/>
                <a:gd name="connsiteX2905" fmla="*/ 5237476 w 8622239"/>
                <a:gd name="connsiteY2905" fmla="*/ 1520630 h 8562303"/>
                <a:gd name="connsiteX2906" fmla="*/ 5236441 w 8622239"/>
                <a:gd name="connsiteY2906" fmla="*/ 1521320 h 8562303"/>
                <a:gd name="connsiteX2907" fmla="*/ 5237303 w 8622239"/>
                <a:gd name="connsiteY2907" fmla="*/ 1525977 h 8562303"/>
                <a:gd name="connsiteX2908" fmla="*/ 5239201 w 8622239"/>
                <a:gd name="connsiteY2908" fmla="*/ 1528565 h 8562303"/>
                <a:gd name="connsiteX2909" fmla="*/ 5297161 w 8622239"/>
                <a:gd name="connsiteY2909" fmla="*/ 1548403 h 8562303"/>
                <a:gd name="connsiteX2910" fmla="*/ 5329074 w 8622239"/>
                <a:gd name="connsiteY2910" fmla="*/ 1545642 h 8562303"/>
                <a:gd name="connsiteX2911" fmla="*/ 5393244 w 8622239"/>
                <a:gd name="connsiteY2911" fmla="*/ 1533740 h 8562303"/>
                <a:gd name="connsiteX2912" fmla="*/ 5396177 w 8622239"/>
                <a:gd name="connsiteY2912" fmla="*/ 1533050 h 8562303"/>
                <a:gd name="connsiteX2913" fmla="*/ 5440510 w 8622239"/>
                <a:gd name="connsiteY2913" fmla="*/ 1522182 h 8562303"/>
                <a:gd name="connsiteX2914" fmla="*/ 5468110 w 8622239"/>
                <a:gd name="connsiteY2914" fmla="*/ 1516490 h 8562303"/>
                <a:gd name="connsiteX2915" fmla="*/ 5476390 w 8622239"/>
                <a:gd name="connsiteY2915" fmla="*/ 1519250 h 8562303"/>
                <a:gd name="connsiteX2916" fmla="*/ 5469490 w 8622239"/>
                <a:gd name="connsiteY2916" fmla="*/ 1555303 h 8562303"/>
                <a:gd name="connsiteX2917" fmla="*/ 5438785 w 8622239"/>
                <a:gd name="connsiteY2917" fmla="*/ 1670533 h 8562303"/>
                <a:gd name="connsiteX2918" fmla="*/ 5441545 w 8622239"/>
                <a:gd name="connsiteY2918" fmla="*/ 1676053 h 8562303"/>
                <a:gd name="connsiteX2919" fmla="*/ 5441545 w 8622239"/>
                <a:gd name="connsiteY2919" fmla="*/ 1682264 h 8562303"/>
                <a:gd name="connsiteX2920" fmla="*/ 5446375 w 8622239"/>
                <a:gd name="connsiteY2920" fmla="*/ 1678641 h 8562303"/>
                <a:gd name="connsiteX2921" fmla="*/ 5449307 w 8622239"/>
                <a:gd name="connsiteY2921" fmla="*/ 1679676 h 8562303"/>
                <a:gd name="connsiteX2922" fmla="*/ 5453102 w 8622239"/>
                <a:gd name="connsiteY2922" fmla="*/ 1676916 h 8562303"/>
                <a:gd name="connsiteX2923" fmla="*/ 5493640 w 8622239"/>
                <a:gd name="connsiteY2923" fmla="*/ 1633618 h 8562303"/>
                <a:gd name="connsiteX2924" fmla="*/ 5494330 w 8622239"/>
                <a:gd name="connsiteY2924" fmla="*/ 1631721 h 8562303"/>
                <a:gd name="connsiteX2925" fmla="*/ 5532971 w 8622239"/>
                <a:gd name="connsiteY2925" fmla="*/ 1549955 h 8562303"/>
                <a:gd name="connsiteX2926" fmla="*/ 5628709 w 8622239"/>
                <a:gd name="connsiteY2926" fmla="*/ 1470432 h 8562303"/>
                <a:gd name="connsiteX2927" fmla="*/ 5639576 w 8622239"/>
                <a:gd name="connsiteY2927" fmla="*/ 1459047 h 8562303"/>
                <a:gd name="connsiteX2928" fmla="*/ 5677354 w 8622239"/>
                <a:gd name="connsiteY2928" fmla="*/ 1500620 h 8562303"/>
                <a:gd name="connsiteX2929" fmla="*/ 5680632 w 8622239"/>
                <a:gd name="connsiteY2929" fmla="*/ 1499930 h 8562303"/>
                <a:gd name="connsiteX2930" fmla="*/ 5726690 w 8622239"/>
                <a:gd name="connsiteY2930" fmla="*/ 1410574 h 8562303"/>
                <a:gd name="connsiteX2931" fmla="*/ 5817770 w 8622239"/>
                <a:gd name="connsiteY2931" fmla="*/ 1300001 h 8562303"/>
                <a:gd name="connsiteX2932" fmla="*/ 5889703 w 8622239"/>
                <a:gd name="connsiteY2932" fmla="*/ 1292583 h 8562303"/>
                <a:gd name="connsiteX2933" fmla="*/ 5909713 w 8622239"/>
                <a:gd name="connsiteY2933" fmla="*/ 1290168 h 8562303"/>
                <a:gd name="connsiteX2934" fmla="*/ 5953874 w 8622239"/>
                <a:gd name="connsiteY2934" fmla="*/ 1303623 h 8562303"/>
                <a:gd name="connsiteX2935" fmla="*/ 5959049 w 8622239"/>
                <a:gd name="connsiteY2935" fmla="*/ 1305176 h 8562303"/>
                <a:gd name="connsiteX2936" fmla="*/ 6039089 w 8622239"/>
                <a:gd name="connsiteY2936" fmla="*/ 1333121 h 8562303"/>
                <a:gd name="connsiteX2937" fmla="*/ 6116542 w 8622239"/>
                <a:gd name="connsiteY2937" fmla="*/ 1369174 h 8562303"/>
                <a:gd name="connsiteX2938" fmla="*/ 6130170 w 8622239"/>
                <a:gd name="connsiteY2938" fmla="*/ 1369001 h 8562303"/>
                <a:gd name="connsiteX2939" fmla="*/ 6153458 w 8622239"/>
                <a:gd name="connsiteY2939" fmla="*/ 1370036 h 8562303"/>
                <a:gd name="connsiteX2940" fmla="*/ 6142590 w 8622239"/>
                <a:gd name="connsiteY2940" fmla="*/ 1424547 h 8562303"/>
                <a:gd name="connsiteX2941" fmla="*/ 6134655 w 8622239"/>
                <a:gd name="connsiteY2941" fmla="*/ 1469742 h 8562303"/>
                <a:gd name="connsiteX2942" fmla="*/ 6114817 w 8622239"/>
                <a:gd name="connsiteY2942" fmla="*/ 1548403 h 8562303"/>
                <a:gd name="connsiteX2943" fmla="*/ 6116887 w 8622239"/>
                <a:gd name="connsiteY2943" fmla="*/ 1600498 h 8562303"/>
                <a:gd name="connsiteX2944" fmla="*/ 6110505 w 8622239"/>
                <a:gd name="connsiteY2944" fmla="*/ 1632928 h 8562303"/>
                <a:gd name="connsiteX2945" fmla="*/ 6056857 w 8622239"/>
                <a:gd name="connsiteY2945" fmla="*/ 1737809 h 8562303"/>
                <a:gd name="connsiteX2946" fmla="*/ 6035294 w 8622239"/>
                <a:gd name="connsiteY2946" fmla="*/ 1739016 h 8562303"/>
                <a:gd name="connsiteX2947" fmla="*/ 6012179 w 8622239"/>
                <a:gd name="connsiteY2947" fmla="*/ 1769722 h 8562303"/>
                <a:gd name="connsiteX2948" fmla="*/ 5980784 w 8622239"/>
                <a:gd name="connsiteY2948" fmla="*/ 1858732 h 8562303"/>
                <a:gd name="connsiteX2949" fmla="*/ 5923168 w 8622239"/>
                <a:gd name="connsiteY2949" fmla="*/ 1996388 h 8562303"/>
                <a:gd name="connsiteX2950" fmla="*/ 5899018 w 8622239"/>
                <a:gd name="connsiteY2950" fmla="*/ 2023298 h 8562303"/>
                <a:gd name="connsiteX2951" fmla="*/ 5859688 w 8622239"/>
                <a:gd name="connsiteY2951" fmla="*/ 2055901 h 8562303"/>
                <a:gd name="connsiteX2952" fmla="*/ 5824498 w 8622239"/>
                <a:gd name="connsiteY2952" fmla="*/ 2121797 h 8562303"/>
                <a:gd name="connsiteX2953" fmla="*/ 5794483 w 8622239"/>
                <a:gd name="connsiteY2953" fmla="*/ 2148534 h 8562303"/>
                <a:gd name="connsiteX2954" fmla="*/ 5778612 w 8622239"/>
                <a:gd name="connsiteY2954" fmla="*/ 2158540 h 8562303"/>
                <a:gd name="connsiteX2955" fmla="*/ 5678216 w 8622239"/>
                <a:gd name="connsiteY2955" fmla="*/ 2210980 h 8562303"/>
                <a:gd name="connsiteX2956" fmla="*/ 5596451 w 8622239"/>
                <a:gd name="connsiteY2956" fmla="*/ 2262558 h 8562303"/>
                <a:gd name="connsiteX2957" fmla="*/ 5589033 w 8622239"/>
                <a:gd name="connsiteY2957" fmla="*/ 2267388 h 8562303"/>
                <a:gd name="connsiteX2958" fmla="*/ 5594208 w 8622239"/>
                <a:gd name="connsiteY2958" fmla="*/ 2275150 h 8562303"/>
                <a:gd name="connsiteX2959" fmla="*/ 5603351 w 8622239"/>
                <a:gd name="connsiteY2959" fmla="*/ 2284120 h 8562303"/>
                <a:gd name="connsiteX2960" fmla="*/ 5621636 w 8622239"/>
                <a:gd name="connsiteY2960" fmla="*/ 2277565 h 8562303"/>
                <a:gd name="connsiteX2961" fmla="*/ 5621809 w 8622239"/>
                <a:gd name="connsiteY2961" fmla="*/ 2278255 h 8562303"/>
                <a:gd name="connsiteX2962" fmla="*/ 5604731 w 8622239"/>
                <a:gd name="connsiteY2962" fmla="*/ 2284293 h 8562303"/>
                <a:gd name="connsiteX2963" fmla="*/ 5604558 w 8622239"/>
                <a:gd name="connsiteY2963" fmla="*/ 2284120 h 8562303"/>
                <a:gd name="connsiteX2964" fmla="*/ 5592138 w 8622239"/>
                <a:gd name="connsiteY2964" fmla="*/ 2288950 h 8562303"/>
                <a:gd name="connsiteX2965" fmla="*/ 5570403 w 8622239"/>
                <a:gd name="connsiteY2965" fmla="*/ 2300335 h 8562303"/>
                <a:gd name="connsiteX2966" fmla="*/ 5557121 w 8622239"/>
                <a:gd name="connsiteY2966" fmla="*/ 2318621 h 8562303"/>
                <a:gd name="connsiteX2967" fmla="*/ 5579718 w 8622239"/>
                <a:gd name="connsiteY2967" fmla="*/ 2336906 h 8562303"/>
                <a:gd name="connsiteX2968" fmla="*/ 5640784 w 8622239"/>
                <a:gd name="connsiteY2968" fmla="*/ 2351223 h 8562303"/>
                <a:gd name="connsiteX2969" fmla="*/ 5663726 w 8622239"/>
                <a:gd name="connsiteY2969" fmla="*/ 2373994 h 8562303"/>
                <a:gd name="connsiteX2970" fmla="*/ 5658896 w 8622239"/>
                <a:gd name="connsiteY2970" fmla="*/ 2392279 h 8562303"/>
                <a:gd name="connsiteX2971" fmla="*/ 5639922 w 8622239"/>
                <a:gd name="connsiteY2971" fmla="*/ 2448169 h 8562303"/>
                <a:gd name="connsiteX2972" fmla="*/ 5642336 w 8622239"/>
                <a:gd name="connsiteY2972" fmla="*/ 2458692 h 8562303"/>
                <a:gd name="connsiteX2973" fmla="*/ 5611286 w 8622239"/>
                <a:gd name="connsiteY2973" fmla="*/ 2485084 h 8562303"/>
                <a:gd name="connsiteX2974" fmla="*/ 5607836 w 8622239"/>
                <a:gd name="connsiteY2974" fmla="*/ 2500092 h 8562303"/>
                <a:gd name="connsiteX2975" fmla="*/ 5610596 w 8622239"/>
                <a:gd name="connsiteY2975" fmla="*/ 2515272 h 8562303"/>
                <a:gd name="connsiteX2976" fmla="*/ 5602316 w 8622239"/>
                <a:gd name="connsiteY2976" fmla="*/ 2531487 h 8562303"/>
                <a:gd name="connsiteX2977" fmla="*/ 5574543 w 8622239"/>
                <a:gd name="connsiteY2977" fmla="*/ 2551497 h 8562303"/>
                <a:gd name="connsiteX2978" fmla="*/ 5551083 w 8622239"/>
                <a:gd name="connsiteY2978" fmla="*/ 2583238 h 8562303"/>
                <a:gd name="connsiteX2979" fmla="*/ 5497263 w 8622239"/>
                <a:gd name="connsiteY2979" fmla="*/ 2614805 h 8562303"/>
                <a:gd name="connsiteX2980" fmla="*/ 5434473 w 8622239"/>
                <a:gd name="connsiteY2980" fmla="*/ 2668798 h 8562303"/>
                <a:gd name="connsiteX2981" fmla="*/ 5434127 w 8622239"/>
                <a:gd name="connsiteY2981" fmla="*/ 2677596 h 8562303"/>
                <a:gd name="connsiteX2982" fmla="*/ 5444822 w 8622239"/>
                <a:gd name="connsiteY2982" fmla="*/ 2739179 h 8562303"/>
                <a:gd name="connsiteX2983" fmla="*/ 5435507 w 8622239"/>
                <a:gd name="connsiteY2983" fmla="*/ 2752461 h 8562303"/>
                <a:gd name="connsiteX2984" fmla="*/ 5409115 w 8622239"/>
                <a:gd name="connsiteY2984" fmla="*/ 2781097 h 8562303"/>
                <a:gd name="connsiteX2985" fmla="*/ 5437405 w 8622239"/>
                <a:gd name="connsiteY2985" fmla="*/ 2862345 h 8562303"/>
                <a:gd name="connsiteX2986" fmla="*/ 5449307 w 8622239"/>
                <a:gd name="connsiteY2986" fmla="*/ 2910128 h 8562303"/>
                <a:gd name="connsiteX2987" fmla="*/ 5409460 w 8622239"/>
                <a:gd name="connsiteY2987" fmla="*/ 2985338 h 8562303"/>
                <a:gd name="connsiteX2988" fmla="*/ 5334421 w 8622239"/>
                <a:gd name="connsiteY2988" fmla="*/ 3096256 h 8562303"/>
                <a:gd name="connsiteX2989" fmla="*/ 5253864 w 8622239"/>
                <a:gd name="connsiteY2989" fmla="*/ 3178539 h 8562303"/>
                <a:gd name="connsiteX2990" fmla="*/ 5226781 w 8622239"/>
                <a:gd name="connsiteY2990" fmla="*/ 3252542 h 8562303"/>
                <a:gd name="connsiteX2991" fmla="*/ 5221951 w 8622239"/>
                <a:gd name="connsiteY2991" fmla="*/ 3283248 h 8562303"/>
                <a:gd name="connsiteX2992" fmla="*/ 5222124 w 8622239"/>
                <a:gd name="connsiteY2992" fmla="*/ 3300498 h 8562303"/>
                <a:gd name="connsiteX2993" fmla="*/ 5210566 w 8622239"/>
                <a:gd name="connsiteY2993" fmla="*/ 3300670 h 8562303"/>
                <a:gd name="connsiteX2994" fmla="*/ 5206253 w 8622239"/>
                <a:gd name="connsiteY2994" fmla="*/ 3307570 h 8562303"/>
                <a:gd name="connsiteX2995" fmla="*/ 5162438 w 8622239"/>
                <a:gd name="connsiteY2995" fmla="*/ 3379676 h 8562303"/>
                <a:gd name="connsiteX2996" fmla="*/ 5129835 w 8622239"/>
                <a:gd name="connsiteY2996" fmla="*/ 3482314 h 8562303"/>
                <a:gd name="connsiteX2997" fmla="*/ 5094300 w 8622239"/>
                <a:gd name="connsiteY2997" fmla="*/ 3678276 h 8562303"/>
                <a:gd name="connsiteX2998" fmla="*/ 5094472 w 8622239"/>
                <a:gd name="connsiteY2998" fmla="*/ 3681726 h 8562303"/>
                <a:gd name="connsiteX2999" fmla="*/ 5096370 w 8622239"/>
                <a:gd name="connsiteY2999" fmla="*/ 3754176 h 8562303"/>
                <a:gd name="connsiteX3000" fmla="*/ 5098440 w 8622239"/>
                <a:gd name="connsiteY3000" fmla="*/ 3837494 h 8562303"/>
                <a:gd name="connsiteX3001" fmla="*/ 5114138 w 8622239"/>
                <a:gd name="connsiteY3001" fmla="*/ 3946860 h 8562303"/>
                <a:gd name="connsiteX3002" fmla="*/ 5133975 w 8622239"/>
                <a:gd name="connsiteY3002" fmla="*/ 3961350 h 8562303"/>
                <a:gd name="connsiteX3003" fmla="*/ 5136390 w 8622239"/>
                <a:gd name="connsiteY3003" fmla="*/ 3961178 h 8562303"/>
                <a:gd name="connsiteX3004" fmla="*/ 5136218 w 8622239"/>
                <a:gd name="connsiteY3004" fmla="*/ 3960488 h 8562303"/>
                <a:gd name="connsiteX3005" fmla="*/ 5152260 w 8622239"/>
                <a:gd name="connsiteY3005" fmla="*/ 3957038 h 8562303"/>
                <a:gd name="connsiteX3006" fmla="*/ 5152260 w 8622239"/>
                <a:gd name="connsiteY3006" fmla="*/ 3956693 h 8562303"/>
                <a:gd name="connsiteX3007" fmla="*/ 5152433 w 8622239"/>
                <a:gd name="connsiteY3007" fmla="*/ 3956693 h 8562303"/>
                <a:gd name="connsiteX3008" fmla="*/ 5152433 w 8622239"/>
                <a:gd name="connsiteY3008" fmla="*/ 3957382 h 8562303"/>
                <a:gd name="connsiteX3009" fmla="*/ 5205908 w 8622239"/>
                <a:gd name="connsiteY3009" fmla="*/ 3869752 h 8562303"/>
                <a:gd name="connsiteX3010" fmla="*/ 5207461 w 8622239"/>
                <a:gd name="connsiteY3010" fmla="*/ 3861644 h 8562303"/>
                <a:gd name="connsiteX3011" fmla="*/ 5207633 w 8622239"/>
                <a:gd name="connsiteY3011" fmla="*/ 3888382 h 8562303"/>
                <a:gd name="connsiteX3012" fmla="*/ 5207288 w 8622239"/>
                <a:gd name="connsiteY3012" fmla="*/ 3935302 h 8562303"/>
                <a:gd name="connsiteX3013" fmla="*/ 5207288 w 8622239"/>
                <a:gd name="connsiteY3013" fmla="*/ 3938753 h 8562303"/>
                <a:gd name="connsiteX3014" fmla="*/ 5253691 w 8622239"/>
                <a:gd name="connsiteY3014" fmla="*/ 4021898 h 8562303"/>
                <a:gd name="connsiteX3015" fmla="*/ 5324244 w 8622239"/>
                <a:gd name="connsiteY3015" fmla="*/ 4036906 h 8562303"/>
                <a:gd name="connsiteX3016" fmla="*/ 5383929 w 8622239"/>
                <a:gd name="connsiteY3016" fmla="*/ 4042598 h 8562303"/>
                <a:gd name="connsiteX3017" fmla="*/ 5391175 w 8622239"/>
                <a:gd name="connsiteY3017" fmla="*/ 4044151 h 8562303"/>
                <a:gd name="connsiteX3018" fmla="*/ 5393589 w 8622239"/>
                <a:gd name="connsiteY3018" fmla="*/ 4036906 h 8562303"/>
                <a:gd name="connsiteX3019" fmla="*/ 5414117 w 8622239"/>
                <a:gd name="connsiteY3019" fmla="*/ 3984465 h 8562303"/>
                <a:gd name="connsiteX3020" fmla="*/ 5451377 w 8622239"/>
                <a:gd name="connsiteY3020" fmla="*/ 3935820 h 8562303"/>
                <a:gd name="connsiteX3021" fmla="*/ 5461900 w 8622239"/>
                <a:gd name="connsiteY3021" fmla="*/ 3944618 h 8562303"/>
                <a:gd name="connsiteX3022" fmla="*/ 5501748 w 8622239"/>
                <a:gd name="connsiteY3022" fmla="*/ 4052948 h 8562303"/>
                <a:gd name="connsiteX3023" fmla="*/ 5524518 w 8622239"/>
                <a:gd name="connsiteY3023" fmla="*/ 4064506 h 8562303"/>
                <a:gd name="connsiteX3024" fmla="*/ 5569023 w 8622239"/>
                <a:gd name="connsiteY3024" fmla="*/ 4036388 h 8562303"/>
                <a:gd name="connsiteX3025" fmla="*/ 5620601 w 8622239"/>
                <a:gd name="connsiteY3025" fmla="*/ 4015343 h 8562303"/>
                <a:gd name="connsiteX3026" fmla="*/ 5636989 w 8622239"/>
                <a:gd name="connsiteY3026" fmla="*/ 4023623 h 8562303"/>
                <a:gd name="connsiteX3027" fmla="*/ 5708922 w 8622239"/>
                <a:gd name="connsiteY3027" fmla="*/ 4085206 h 8562303"/>
                <a:gd name="connsiteX3028" fmla="*/ 5719962 w 8622239"/>
                <a:gd name="connsiteY3028" fmla="*/ 4082446 h 8562303"/>
                <a:gd name="connsiteX3029" fmla="*/ 5751529 w 8622239"/>
                <a:gd name="connsiteY3029" fmla="*/ 4066058 h 8562303"/>
                <a:gd name="connsiteX3030" fmla="*/ 5776715 w 8622239"/>
                <a:gd name="connsiteY3030" fmla="*/ 4038113 h 8562303"/>
                <a:gd name="connsiteX3031" fmla="*/ 5775680 w 8622239"/>
                <a:gd name="connsiteY3031" fmla="*/ 4032076 h 8562303"/>
                <a:gd name="connsiteX3032" fmla="*/ 5794655 w 8622239"/>
                <a:gd name="connsiteY3032" fmla="*/ 4029316 h 8562303"/>
                <a:gd name="connsiteX3033" fmla="*/ 5843818 w 8622239"/>
                <a:gd name="connsiteY3033" fmla="*/ 4038631 h 8562303"/>
                <a:gd name="connsiteX3034" fmla="*/ 5881251 w 8622239"/>
                <a:gd name="connsiteY3034" fmla="*/ 4045013 h 8562303"/>
                <a:gd name="connsiteX3035" fmla="*/ 5960429 w 8622239"/>
                <a:gd name="connsiteY3035" fmla="*/ 4011721 h 8562303"/>
                <a:gd name="connsiteX3036" fmla="*/ 6014766 w 8622239"/>
                <a:gd name="connsiteY3036" fmla="*/ 3997230 h 8562303"/>
                <a:gd name="connsiteX3037" fmla="*/ 6060997 w 8622239"/>
                <a:gd name="connsiteY3037" fmla="*/ 3994470 h 8562303"/>
                <a:gd name="connsiteX3038" fmla="*/ 6057374 w 8622239"/>
                <a:gd name="connsiteY3038" fmla="*/ 3985673 h 8562303"/>
                <a:gd name="connsiteX3039" fmla="*/ 6057374 w 8622239"/>
                <a:gd name="connsiteY3039" fmla="*/ 3977220 h 8562303"/>
                <a:gd name="connsiteX3040" fmla="*/ 6013041 w 8622239"/>
                <a:gd name="connsiteY3040" fmla="*/ 3979980 h 8562303"/>
                <a:gd name="connsiteX3041" fmla="*/ 5946111 w 8622239"/>
                <a:gd name="connsiteY3041" fmla="*/ 4002750 h 8562303"/>
                <a:gd name="connsiteX3042" fmla="*/ 5881078 w 8622239"/>
                <a:gd name="connsiteY3042" fmla="*/ 4027418 h 8562303"/>
                <a:gd name="connsiteX3043" fmla="*/ 5849165 w 8622239"/>
                <a:gd name="connsiteY3043" fmla="*/ 4022070 h 8562303"/>
                <a:gd name="connsiteX3044" fmla="*/ 5794483 w 8622239"/>
                <a:gd name="connsiteY3044" fmla="*/ 4011893 h 8562303"/>
                <a:gd name="connsiteX3045" fmla="*/ 5771712 w 8622239"/>
                <a:gd name="connsiteY3045" fmla="*/ 4014825 h 8562303"/>
                <a:gd name="connsiteX3046" fmla="*/ 5758257 w 8622239"/>
                <a:gd name="connsiteY3046" fmla="*/ 4030868 h 8562303"/>
                <a:gd name="connsiteX3047" fmla="*/ 5760154 w 8622239"/>
                <a:gd name="connsiteY3047" fmla="*/ 4038113 h 8562303"/>
                <a:gd name="connsiteX3048" fmla="*/ 5756877 w 8622239"/>
                <a:gd name="connsiteY3048" fmla="*/ 4041736 h 8562303"/>
                <a:gd name="connsiteX3049" fmla="*/ 5711854 w 8622239"/>
                <a:gd name="connsiteY3049" fmla="*/ 4067093 h 8562303"/>
                <a:gd name="connsiteX3050" fmla="*/ 5708922 w 8622239"/>
                <a:gd name="connsiteY3050" fmla="*/ 4067438 h 8562303"/>
                <a:gd name="connsiteX3051" fmla="*/ 5652686 w 8622239"/>
                <a:gd name="connsiteY3051" fmla="*/ 4017758 h 8562303"/>
                <a:gd name="connsiteX3052" fmla="*/ 5620429 w 8622239"/>
                <a:gd name="connsiteY3052" fmla="*/ 3997575 h 8562303"/>
                <a:gd name="connsiteX3053" fmla="*/ 5554188 w 8622239"/>
                <a:gd name="connsiteY3053" fmla="*/ 4027936 h 8562303"/>
                <a:gd name="connsiteX3054" fmla="*/ 5524173 w 8622239"/>
                <a:gd name="connsiteY3054" fmla="*/ 4046911 h 8562303"/>
                <a:gd name="connsiteX3055" fmla="*/ 5514858 w 8622239"/>
                <a:gd name="connsiteY3055" fmla="*/ 4042253 h 8562303"/>
                <a:gd name="connsiteX3056" fmla="*/ 5475700 w 8622239"/>
                <a:gd name="connsiteY3056" fmla="*/ 3934612 h 8562303"/>
                <a:gd name="connsiteX3057" fmla="*/ 5451377 w 8622239"/>
                <a:gd name="connsiteY3057" fmla="*/ 3918225 h 8562303"/>
                <a:gd name="connsiteX3058" fmla="*/ 5399109 w 8622239"/>
                <a:gd name="connsiteY3058" fmla="*/ 3976703 h 8562303"/>
                <a:gd name="connsiteX3059" fmla="*/ 5380134 w 8622239"/>
                <a:gd name="connsiteY3059" fmla="*/ 4024313 h 8562303"/>
                <a:gd name="connsiteX3060" fmla="*/ 5324244 w 8622239"/>
                <a:gd name="connsiteY3060" fmla="*/ 4019655 h 8562303"/>
                <a:gd name="connsiteX3061" fmla="*/ 5261108 w 8622239"/>
                <a:gd name="connsiteY3061" fmla="*/ 4006718 h 8562303"/>
                <a:gd name="connsiteX3062" fmla="*/ 5223848 w 8622239"/>
                <a:gd name="connsiteY3062" fmla="*/ 3939097 h 8562303"/>
                <a:gd name="connsiteX3063" fmla="*/ 5223848 w 8622239"/>
                <a:gd name="connsiteY3063" fmla="*/ 3936337 h 8562303"/>
                <a:gd name="connsiteX3064" fmla="*/ 5224538 w 8622239"/>
                <a:gd name="connsiteY3064" fmla="*/ 3888727 h 8562303"/>
                <a:gd name="connsiteX3065" fmla="*/ 5223331 w 8622239"/>
                <a:gd name="connsiteY3065" fmla="*/ 3842497 h 8562303"/>
                <a:gd name="connsiteX3066" fmla="*/ 5221433 w 8622239"/>
                <a:gd name="connsiteY3066" fmla="*/ 3827834 h 8562303"/>
                <a:gd name="connsiteX3067" fmla="*/ 5210566 w 8622239"/>
                <a:gd name="connsiteY3067" fmla="*/ 3816277 h 8562303"/>
                <a:gd name="connsiteX3068" fmla="*/ 5200906 w 8622239"/>
                <a:gd name="connsiteY3068" fmla="*/ 3823177 h 8562303"/>
                <a:gd name="connsiteX3069" fmla="*/ 5189693 w 8622239"/>
                <a:gd name="connsiteY3069" fmla="*/ 3866647 h 8562303"/>
                <a:gd name="connsiteX3070" fmla="*/ 5134148 w 8622239"/>
                <a:gd name="connsiteY3070" fmla="*/ 3944790 h 8562303"/>
                <a:gd name="connsiteX3071" fmla="*/ 5130698 w 8622239"/>
                <a:gd name="connsiteY3071" fmla="*/ 3944445 h 8562303"/>
                <a:gd name="connsiteX3072" fmla="*/ 5115173 w 8622239"/>
                <a:gd name="connsiteY3072" fmla="*/ 3837149 h 8562303"/>
                <a:gd name="connsiteX3073" fmla="*/ 5113103 w 8622239"/>
                <a:gd name="connsiteY3073" fmla="*/ 3754521 h 8562303"/>
                <a:gd name="connsiteX3074" fmla="*/ 5111205 w 8622239"/>
                <a:gd name="connsiteY3074" fmla="*/ 3680518 h 8562303"/>
                <a:gd name="connsiteX3075" fmla="*/ 5111033 w 8622239"/>
                <a:gd name="connsiteY3075" fmla="*/ 3678621 h 8562303"/>
                <a:gd name="connsiteX3076" fmla="*/ 5146913 w 8622239"/>
                <a:gd name="connsiteY3076" fmla="*/ 3482659 h 8562303"/>
                <a:gd name="connsiteX3077" fmla="*/ 5177618 w 8622239"/>
                <a:gd name="connsiteY3077" fmla="*/ 3388301 h 8562303"/>
                <a:gd name="connsiteX3078" fmla="*/ 5220916 w 8622239"/>
                <a:gd name="connsiteY3078" fmla="*/ 3317403 h 8562303"/>
                <a:gd name="connsiteX3079" fmla="*/ 5243858 w 8622239"/>
                <a:gd name="connsiteY3079" fmla="*/ 3252715 h 8562303"/>
                <a:gd name="connsiteX3080" fmla="*/ 5268354 w 8622239"/>
                <a:gd name="connsiteY3080" fmla="*/ 3187854 h 8562303"/>
                <a:gd name="connsiteX3081" fmla="*/ 5342357 w 8622239"/>
                <a:gd name="connsiteY3081" fmla="*/ 3111954 h 8562303"/>
                <a:gd name="connsiteX3082" fmla="*/ 5425502 w 8622239"/>
                <a:gd name="connsiteY3082" fmla="*/ 2991375 h 8562303"/>
                <a:gd name="connsiteX3083" fmla="*/ 5466385 w 8622239"/>
                <a:gd name="connsiteY3083" fmla="*/ 2910128 h 8562303"/>
                <a:gd name="connsiteX3084" fmla="*/ 5453102 w 8622239"/>
                <a:gd name="connsiteY3084" fmla="*/ 2855789 h 8562303"/>
                <a:gd name="connsiteX3085" fmla="*/ 5426020 w 8622239"/>
                <a:gd name="connsiteY3085" fmla="*/ 2781269 h 8562303"/>
                <a:gd name="connsiteX3086" fmla="*/ 5442925 w 8622239"/>
                <a:gd name="connsiteY3086" fmla="*/ 2768677 h 8562303"/>
                <a:gd name="connsiteX3087" fmla="*/ 5461900 w 8622239"/>
                <a:gd name="connsiteY3087" fmla="*/ 2739696 h 8562303"/>
                <a:gd name="connsiteX3088" fmla="*/ 5451205 w 8622239"/>
                <a:gd name="connsiteY3088" fmla="*/ 2678113 h 8562303"/>
                <a:gd name="connsiteX3089" fmla="*/ 5451550 w 8622239"/>
                <a:gd name="connsiteY3089" fmla="*/ 2671041 h 8562303"/>
                <a:gd name="connsiteX3090" fmla="*/ 5503991 w 8622239"/>
                <a:gd name="connsiteY3090" fmla="*/ 2631538 h 8562303"/>
                <a:gd name="connsiteX3091" fmla="*/ 5568161 w 8622239"/>
                <a:gd name="connsiteY3091" fmla="*/ 2587033 h 8562303"/>
                <a:gd name="connsiteX3092" fmla="*/ 5582306 w 8622239"/>
                <a:gd name="connsiteY3092" fmla="*/ 2567885 h 8562303"/>
                <a:gd name="connsiteX3093" fmla="*/ 5615944 w 8622239"/>
                <a:gd name="connsiteY3093" fmla="*/ 2542700 h 8562303"/>
                <a:gd name="connsiteX3094" fmla="*/ 5627674 w 8622239"/>
                <a:gd name="connsiteY3094" fmla="*/ 2515790 h 8562303"/>
                <a:gd name="connsiteX3095" fmla="*/ 5624741 w 8622239"/>
                <a:gd name="connsiteY3095" fmla="*/ 2500609 h 8562303"/>
                <a:gd name="connsiteX3096" fmla="*/ 5626811 w 8622239"/>
                <a:gd name="connsiteY3096" fmla="*/ 2492675 h 8562303"/>
                <a:gd name="connsiteX3097" fmla="*/ 5644234 w 8622239"/>
                <a:gd name="connsiteY3097" fmla="*/ 2477322 h 8562303"/>
                <a:gd name="connsiteX3098" fmla="*/ 5654756 w 8622239"/>
                <a:gd name="connsiteY3098" fmla="*/ 2473009 h 8562303"/>
                <a:gd name="connsiteX3099" fmla="*/ 5664589 w 8622239"/>
                <a:gd name="connsiteY3099" fmla="*/ 2461624 h 8562303"/>
                <a:gd name="connsiteX3100" fmla="*/ 5659931 w 8622239"/>
                <a:gd name="connsiteY3100" fmla="*/ 2452827 h 8562303"/>
                <a:gd name="connsiteX3101" fmla="*/ 5657344 w 8622239"/>
                <a:gd name="connsiteY3101" fmla="*/ 2448514 h 8562303"/>
                <a:gd name="connsiteX3102" fmla="*/ 5674594 w 8622239"/>
                <a:gd name="connsiteY3102" fmla="*/ 2399869 h 8562303"/>
                <a:gd name="connsiteX3103" fmla="*/ 5680976 w 8622239"/>
                <a:gd name="connsiteY3103" fmla="*/ 2374339 h 8562303"/>
                <a:gd name="connsiteX3104" fmla="*/ 5646822 w 8622239"/>
                <a:gd name="connsiteY3104" fmla="*/ 2335008 h 8562303"/>
                <a:gd name="connsiteX3105" fmla="*/ 5583513 w 8622239"/>
                <a:gd name="connsiteY3105" fmla="*/ 2320001 h 8562303"/>
                <a:gd name="connsiteX3106" fmla="*/ 5576096 w 8622239"/>
                <a:gd name="connsiteY3106" fmla="*/ 2317931 h 8562303"/>
                <a:gd name="connsiteX3107" fmla="*/ 5601626 w 8622239"/>
                <a:gd name="connsiteY3107" fmla="*/ 2304303 h 8562303"/>
                <a:gd name="connsiteX3108" fmla="*/ 5623534 w 8622239"/>
                <a:gd name="connsiteY3108" fmla="*/ 2296023 h 8562303"/>
                <a:gd name="connsiteX3109" fmla="*/ 5625259 w 8622239"/>
                <a:gd name="connsiteY3109" fmla="*/ 2296713 h 8562303"/>
                <a:gd name="connsiteX3110" fmla="*/ 5626121 w 8622239"/>
                <a:gd name="connsiteY3110" fmla="*/ 2296368 h 8562303"/>
                <a:gd name="connsiteX3111" fmla="*/ 5675802 w 8622239"/>
                <a:gd name="connsiteY3111" fmla="*/ 2305856 h 8562303"/>
                <a:gd name="connsiteX3112" fmla="*/ 5773782 w 8622239"/>
                <a:gd name="connsiteY3112" fmla="*/ 2348808 h 8562303"/>
                <a:gd name="connsiteX3113" fmla="*/ 5815873 w 8622239"/>
                <a:gd name="connsiteY3113" fmla="*/ 2379686 h 8562303"/>
                <a:gd name="connsiteX3114" fmla="*/ 5840023 w 8622239"/>
                <a:gd name="connsiteY3114" fmla="*/ 2475597 h 8562303"/>
                <a:gd name="connsiteX3115" fmla="*/ 5834848 w 8622239"/>
                <a:gd name="connsiteY3115" fmla="*/ 2603593 h 8562303"/>
                <a:gd name="connsiteX3116" fmla="*/ 5825188 w 8622239"/>
                <a:gd name="connsiteY3116" fmla="*/ 2629640 h 8562303"/>
                <a:gd name="connsiteX3117" fmla="*/ 5815182 w 8622239"/>
                <a:gd name="connsiteY3117" fmla="*/ 2684323 h 8562303"/>
                <a:gd name="connsiteX3118" fmla="*/ 5797932 w 8622239"/>
                <a:gd name="connsiteY3118" fmla="*/ 2697261 h 8562303"/>
                <a:gd name="connsiteX3119" fmla="*/ 5774472 w 8622239"/>
                <a:gd name="connsiteY3119" fmla="*/ 2732451 h 8562303"/>
                <a:gd name="connsiteX3120" fmla="*/ 5786030 w 8622239"/>
                <a:gd name="connsiteY3120" fmla="*/ 2751081 h 8562303"/>
                <a:gd name="connsiteX3121" fmla="*/ 5809490 w 8622239"/>
                <a:gd name="connsiteY3121" fmla="*/ 2781441 h 8562303"/>
                <a:gd name="connsiteX3122" fmla="*/ 5815182 w 8622239"/>
                <a:gd name="connsiteY3122" fmla="*/ 2801624 h 8562303"/>
                <a:gd name="connsiteX3123" fmla="*/ 5815528 w 8622239"/>
                <a:gd name="connsiteY3123" fmla="*/ 2804212 h 8562303"/>
                <a:gd name="connsiteX3124" fmla="*/ 5817253 w 8622239"/>
                <a:gd name="connsiteY3124" fmla="*/ 2806109 h 8562303"/>
                <a:gd name="connsiteX3125" fmla="*/ 5843646 w 8622239"/>
                <a:gd name="connsiteY3125" fmla="*/ 2838367 h 8562303"/>
                <a:gd name="connsiteX3126" fmla="*/ 5870900 w 8622239"/>
                <a:gd name="connsiteY3126" fmla="*/ 2875455 h 8562303"/>
                <a:gd name="connsiteX3127" fmla="*/ 5890393 w 8622239"/>
                <a:gd name="connsiteY3127" fmla="*/ 2906160 h 8562303"/>
                <a:gd name="connsiteX3128" fmla="*/ 5923341 w 8622239"/>
                <a:gd name="connsiteY3128" fmla="*/ 2928413 h 8562303"/>
                <a:gd name="connsiteX3129" fmla="*/ 5928688 w 8622239"/>
                <a:gd name="connsiteY3129" fmla="*/ 2927550 h 8562303"/>
                <a:gd name="connsiteX3130" fmla="*/ 5984406 w 8622239"/>
                <a:gd name="connsiteY3130" fmla="*/ 2908920 h 8562303"/>
                <a:gd name="connsiteX3131" fmla="*/ 6018734 w 8622239"/>
                <a:gd name="connsiteY3131" fmla="*/ 2944283 h 8562303"/>
                <a:gd name="connsiteX3132" fmla="*/ 6012524 w 8622239"/>
                <a:gd name="connsiteY3132" fmla="*/ 2978611 h 8562303"/>
                <a:gd name="connsiteX3133" fmla="*/ 5970606 w 8622239"/>
                <a:gd name="connsiteY3133" fmla="*/ 3019493 h 8562303"/>
                <a:gd name="connsiteX3134" fmla="*/ 5931621 w 8622239"/>
                <a:gd name="connsiteY3134" fmla="*/ 3061929 h 8562303"/>
                <a:gd name="connsiteX3135" fmla="*/ 5929896 w 8622239"/>
                <a:gd name="connsiteY3135" fmla="*/ 3114197 h 8562303"/>
                <a:gd name="connsiteX3136" fmla="*/ 5929033 w 8622239"/>
                <a:gd name="connsiteY3136" fmla="*/ 3118509 h 8562303"/>
                <a:gd name="connsiteX3137" fmla="*/ 5925756 w 8622239"/>
                <a:gd name="connsiteY3137" fmla="*/ 3118681 h 8562303"/>
                <a:gd name="connsiteX3138" fmla="*/ 5918511 w 8622239"/>
                <a:gd name="connsiteY3138" fmla="*/ 3120407 h 8562303"/>
                <a:gd name="connsiteX3139" fmla="*/ 5913336 w 8622239"/>
                <a:gd name="connsiteY3139" fmla="*/ 3129722 h 8562303"/>
                <a:gd name="connsiteX3140" fmla="*/ 5928343 w 8622239"/>
                <a:gd name="connsiteY3140" fmla="*/ 3154734 h 8562303"/>
                <a:gd name="connsiteX3141" fmla="*/ 5939901 w 8622239"/>
                <a:gd name="connsiteY3141" fmla="*/ 3178884 h 8562303"/>
                <a:gd name="connsiteX3142" fmla="*/ 5974401 w 8622239"/>
                <a:gd name="connsiteY3142" fmla="*/ 3222355 h 8562303"/>
                <a:gd name="connsiteX3143" fmla="*/ 5995964 w 8622239"/>
                <a:gd name="connsiteY3143" fmla="*/ 3238225 h 8562303"/>
                <a:gd name="connsiteX3144" fmla="*/ 6002519 w 8622239"/>
                <a:gd name="connsiteY3144" fmla="*/ 3244262 h 8562303"/>
                <a:gd name="connsiteX3145" fmla="*/ 6003727 w 8622239"/>
                <a:gd name="connsiteY3145" fmla="*/ 3245987 h 8562303"/>
                <a:gd name="connsiteX3146" fmla="*/ 6003727 w 8622239"/>
                <a:gd name="connsiteY3146" fmla="*/ 3246332 h 8562303"/>
                <a:gd name="connsiteX3147" fmla="*/ 5995446 w 8622239"/>
                <a:gd name="connsiteY3147" fmla="*/ 3265825 h 8562303"/>
                <a:gd name="connsiteX3148" fmla="*/ 5986304 w 8622239"/>
                <a:gd name="connsiteY3148" fmla="*/ 3278590 h 8562303"/>
                <a:gd name="connsiteX3149" fmla="*/ 5982164 w 8622239"/>
                <a:gd name="connsiteY3149" fmla="*/ 3283420 h 8562303"/>
                <a:gd name="connsiteX3150" fmla="*/ 6027877 w 8622239"/>
                <a:gd name="connsiteY3150" fmla="*/ 3360356 h 8562303"/>
                <a:gd name="connsiteX3151" fmla="*/ 6029084 w 8622239"/>
                <a:gd name="connsiteY3151" fmla="*/ 3361391 h 8562303"/>
                <a:gd name="connsiteX3152" fmla="*/ 6085665 w 8622239"/>
                <a:gd name="connsiteY3152" fmla="*/ 3413659 h 8562303"/>
                <a:gd name="connsiteX3153" fmla="*/ 6133447 w 8622239"/>
                <a:gd name="connsiteY3153" fmla="*/ 3428839 h 8562303"/>
                <a:gd name="connsiteX3154" fmla="*/ 6151560 w 8622239"/>
                <a:gd name="connsiteY3154" fmla="*/ 3427976 h 8562303"/>
                <a:gd name="connsiteX3155" fmla="*/ 6155183 w 8622239"/>
                <a:gd name="connsiteY3155" fmla="*/ 3427631 h 8562303"/>
                <a:gd name="connsiteX3156" fmla="*/ 6155183 w 8622239"/>
                <a:gd name="connsiteY3156" fmla="*/ 3426769 h 8562303"/>
                <a:gd name="connsiteX3157" fmla="*/ 6156045 w 8622239"/>
                <a:gd name="connsiteY3157" fmla="*/ 3426769 h 8562303"/>
                <a:gd name="connsiteX3158" fmla="*/ 6156390 w 8622239"/>
                <a:gd name="connsiteY3158" fmla="*/ 3433669 h 8562303"/>
                <a:gd name="connsiteX3159" fmla="*/ 6164497 w 8622239"/>
                <a:gd name="connsiteY3159" fmla="*/ 3433496 h 8562303"/>
                <a:gd name="connsiteX3160" fmla="*/ 6189338 w 8622239"/>
                <a:gd name="connsiteY3160" fmla="*/ 3435911 h 8562303"/>
                <a:gd name="connsiteX3161" fmla="*/ 6189683 w 8622239"/>
                <a:gd name="connsiteY3161" fmla="*/ 3435911 h 8562303"/>
                <a:gd name="connsiteX3162" fmla="*/ 6188993 w 8622239"/>
                <a:gd name="connsiteY3162" fmla="*/ 3436084 h 8562303"/>
                <a:gd name="connsiteX3163" fmla="*/ 6201068 w 8622239"/>
                <a:gd name="connsiteY3163" fmla="*/ 3441776 h 8562303"/>
                <a:gd name="connsiteX3164" fmla="*/ 6204863 w 8622239"/>
                <a:gd name="connsiteY3164" fmla="*/ 3449539 h 8562303"/>
                <a:gd name="connsiteX3165" fmla="*/ 6211590 w 8622239"/>
                <a:gd name="connsiteY3165" fmla="*/ 3447641 h 8562303"/>
                <a:gd name="connsiteX3166" fmla="*/ 6211590 w 8622239"/>
                <a:gd name="connsiteY3166" fmla="*/ 3447641 h 8562303"/>
                <a:gd name="connsiteX3167" fmla="*/ 6205208 w 8622239"/>
                <a:gd name="connsiteY3167" fmla="*/ 3449539 h 8562303"/>
                <a:gd name="connsiteX3168" fmla="*/ 6244883 w 8622239"/>
                <a:gd name="connsiteY3168" fmla="*/ 3498357 h 8562303"/>
                <a:gd name="connsiteX3169" fmla="*/ 6270931 w 8622239"/>
                <a:gd name="connsiteY3169" fmla="*/ 3532167 h 8562303"/>
                <a:gd name="connsiteX3170" fmla="*/ 6324406 w 8622239"/>
                <a:gd name="connsiteY3170" fmla="*/ 3569600 h 8562303"/>
                <a:gd name="connsiteX3171" fmla="*/ 6339241 w 8622239"/>
                <a:gd name="connsiteY3171" fmla="*/ 3569600 h 8562303"/>
                <a:gd name="connsiteX3172" fmla="*/ 6396167 w 8622239"/>
                <a:gd name="connsiteY3172" fmla="*/ 3553557 h 8562303"/>
                <a:gd name="connsiteX3173" fmla="*/ 6471550 w 8622239"/>
                <a:gd name="connsiteY3173" fmla="*/ 3500599 h 8562303"/>
                <a:gd name="connsiteX3174" fmla="*/ 6476035 w 8622239"/>
                <a:gd name="connsiteY3174" fmla="*/ 3503359 h 8562303"/>
                <a:gd name="connsiteX3175" fmla="*/ 6496735 w 8622239"/>
                <a:gd name="connsiteY3175" fmla="*/ 3510259 h 8562303"/>
                <a:gd name="connsiteX3176" fmla="*/ 6513812 w 8622239"/>
                <a:gd name="connsiteY3176" fmla="*/ 3508534 h 8562303"/>
                <a:gd name="connsiteX3177" fmla="*/ 6598856 w 8622239"/>
                <a:gd name="connsiteY3177" fmla="*/ 3449884 h 8562303"/>
                <a:gd name="connsiteX3178" fmla="*/ 6640256 w 8622239"/>
                <a:gd name="connsiteY3178" fmla="*/ 3345521 h 8562303"/>
                <a:gd name="connsiteX3179" fmla="*/ 6635771 w 8622239"/>
                <a:gd name="connsiteY3179" fmla="*/ 3325855 h 8562303"/>
                <a:gd name="connsiteX3180" fmla="*/ 6610586 w 8622239"/>
                <a:gd name="connsiteY3180" fmla="*/ 3281005 h 8562303"/>
                <a:gd name="connsiteX3181" fmla="*/ 6654746 w 8622239"/>
                <a:gd name="connsiteY3181" fmla="*/ 3239777 h 8562303"/>
                <a:gd name="connsiteX3182" fmla="*/ 6674756 w 8622239"/>
                <a:gd name="connsiteY3182" fmla="*/ 3244262 h 8562303"/>
                <a:gd name="connsiteX3183" fmla="*/ 6789814 w 8622239"/>
                <a:gd name="connsiteY3183" fmla="*/ 3276693 h 8562303"/>
                <a:gd name="connsiteX3184" fmla="*/ 6799992 w 8622239"/>
                <a:gd name="connsiteY3184" fmla="*/ 3274968 h 8562303"/>
                <a:gd name="connsiteX3185" fmla="*/ 6848983 w 8622239"/>
                <a:gd name="connsiteY3185" fmla="*/ 3297565 h 8562303"/>
                <a:gd name="connsiteX3186" fmla="*/ 6872443 w 8622239"/>
                <a:gd name="connsiteY3186" fmla="*/ 3289803 h 8562303"/>
                <a:gd name="connsiteX3187" fmla="*/ 6956106 w 8622239"/>
                <a:gd name="connsiteY3187" fmla="*/ 3257717 h 8562303"/>
                <a:gd name="connsiteX3188" fmla="*/ 7022174 w 8622239"/>
                <a:gd name="connsiteY3188" fmla="*/ 3244262 h 8562303"/>
                <a:gd name="connsiteX3189" fmla="*/ 7067714 w 8622239"/>
                <a:gd name="connsiteY3189" fmla="*/ 3207347 h 8562303"/>
                <a:gd name="connsiteX3190" fmla="*/ 7071682 w 8622239"/>
                <a:gd name="connsiteY3190" fmla="*/ 3197170 h 8562303"/>
                <a:gd name="connsiteX3191" fmla="*/ 7095832 w 8622239"/>
                <a:gd name="connsiteY3191" fmla="*/ 3186475 h 8562303"/>
                <a:gd name="connsiteX3192" fmla="*/ 7162072 w 8622239"/>
                <a:gd name="connsiteY3192" fmla="*/ 3118509 h 8562303"/>
                <a:gd name="connsiteX3193" fmla="*/ 7155517 w 8622239"/>
                <a:gd name="connsiteY3193" fmla="*/ 3109194 h 8562303"/>
                <a:gd name="connsiteX3194" fmla="*/ 7153792 w 8622239"/>
                <a:gd name="connsiteY3194" fmla="*/ 3103846 h 8562303"/>
                <a:gd name="connsiteX3195" fmla="*/ 7089450 w 8622239"/>
                <a:gd name="connsiteY3195" fmla="*/ 3171294 h 8562303"/>
                <a:gd name="connsiteX3196" fmla="*/ 7064781 w 8622239"/>
                <a:gd name="connsiteY3196" fmla="*/ 3182162 h 8562303"/>
                <a:gd name="connsiteX3197" fmla="*/ 7052017 w 8622239"/>
                <a:gd name="connsiteY3197" fmla="*/ 3207865 h 8562303"/>
                <a:gd name="connsiteX3198" fmla="*/ 7044082 w 8622239"/>
                <a:gd name="connsiteY3198" fmla="*/ 3215800 h 8562303"/>
                <a:gd name="connsiteX3199" fmla="*/ 6956968 w 8622239"/>
                <a:gd name="connsiteY3199" fmla="*/ 3240812 h 8562303"/>
                <a:gd name="connsiteX3200" fmla="*/ 6863818 w 8622239"/>
                <a:gd name="connsiteY3200" fmla="*/ 3276003 h 8562303"/>
                <a:gd name="connsiteX3201" fmla="*/ 6849672 w 8622239"/>
                <a:gd name="connsiteY3201" fmla="*/ 3280660 h 8562303"/>
                <a:gd name="connsiteX3202" fmla="*/ 6824143 w 8622239"/>
                <a:gd name="connsiteY3202" fmla="*/ 3270483 h 8562303"/>
                <a:gd name="connsiteX3203" fmla="*/ 6799992 w 8622239"/>
                <a:gd name="connsiteY3203" fmla="*/ 3257717 h 8562303"/>
                <a:gd name="connsiteX3204" fmla="*/ 6793782 w 8622239"/>
                <a:gd name="connsiteY3204" fmla="*/ 3259615 h 8562303"/>
                <a:gd name="connsiteX3205" fmla="*/ 6790332 w 8622239"/>
                <a:gd name="connsiteY3205" fmla="*/ 3259788 h 8562303"/>
                <a:gd name="connsiteX3206" fmla="*/ 6681484 w 8622239"/>
                <a:gd name="connsiteY3206" fmla="*/ 3228392 h 8562303"/>
                <a:gd name="connsiteX3207" fmla="*/ 6655264 w 8622239"/>
                <a:gd name="connsiteY3207" fmla="*/ 3222700 h 8562303"/>
                <a:gd name="connsiteX3208" fmla="*/ 6595233 w 8622239"/>
                <a:gd name="connsiteY3208" fmla="*/ 3276693 h 8562303"/>
                <a:gd name="connsiteX3209" fmla="*/ 6594543 w 8622239"/>
                <a:gd name="connsiteY3209" fmla="*/ 3280833 h 8562303"/>
                <a:gd name="connsiteX3210" fmla="*/ 6621971 w 8622239"/>
                <a:gd name="connsiteY3210" fmla="*/ 3335516 h 8562303"/>
                <a:gd name="connsiteX3211" fmla="*/ 6623868 w 8622239"/>
                <a:gd name="connsiteY3211" fmla="*/ 3346211 h 8562303"/>
                <a:gd name="connsiteX3212" fmla="*/ 6586781 w 8622239"/>
                <a:gd name="connsiteY3212" fmla="*/ 3438671 h 8562303"/>
                <a:gd name="connsiteX3213" fmla="*/ 6511225 w 8622239"/>
                <a:gd name="connsiteY3213" fmla="*/ 3491802 h 8562303"/>
                <a:gd name="connsiteX3214" fmla="*/ 6496908 w 8622239"/>
                <a:gd name="connsiteY3214" fmla="*/ 3493354 h 8562303"/>
                <a:gd name="connsiteX3215" fmla="*/ 6486902 w 8622239"/>
                <a:gd name="connsiteY3215" fmla="*/ 3490594 h 8562303"/>
                <a:gd name="connsiteX3216" fmla="*/ 6471550 w 8622239"/>
                <a:gd name="connsiteY3216" fmla="*/ 3483694 h 8562303"/>
                <a:gd name="connsiteX3217" fmla="*/ 6383402 w 8622239"/>
                <a:gd name="connsiteY3217" fmla="*/ 3542862 h 8562303"/>
                <a:gd name="connsiteX3218" fmla="*/ 6339241 w 8622239"/>
                <a:gd name="connsiteY3218" fmla="*/ 3552522 h 8562303"/>
                <a:gd name="connsiteX3219" fmla="*/ 6324406 w 8622239"/>
                <a:gd name="connsiteY3219" fmla="*/ 3552522 h 8562303"/>
                <a:gd name="connsiteX3220" fmla="*/ 6283351 w 8622239"/>
                <a:gd name="connsiteY3220" fmla="*/ 3520955 h 8562303"/>
                <a:gd name="connsiteX3221" fmla="*/ 6257649 w 8622239"/>
                <a:gd name="connsiteY3221" fmla="*/ 3487489 h 8562303"/>
                <a:gd name="connsiteX3222" fmla="*/ 6238328 w 8622239"/>
                <a:gd name="connsiteY3222" fmla="*/ 3466789 h 8562303"/>
                <a:gd name="connsiteX3223" fmla="*/ 6217801 w 8622239"/>
                <a:gd name="connsiteY3223" fmla="*/ 3437291 h 8562303"/>
                <a:gd name="connsiteX3224" fmla="*/ 6192961 w 8622239"/>
                <a:gd name="connsiteY3224" fmla="*/ 3419179 h 8562303"/>
                <a:gd name="connsiteX3225" fmla="*/ 6164670 w 8622239"/>
                <a:gd name="connsiteY3225" fmla="*/ 3416419 h 8562303"/>
                <a:gd name="connsiteX3226" fmla="*/ 6160358 w 8622239"/>
                <a:gd name="connsiteY3226" fmla="*/ 3416419 h 8562303"/>
                <a:gd name="connsiteX3227" fmla="*/ 6159667 w 8622239"/>
                <a:gd name="connsiteY3227" fmla="*/ 3420041 h 8562303"/>
                <a:gd name="connsiteX3228" fmla="*/ 6158632 w 8622239"/>
                <a:gd name="connsiteY3228" fmla="*/ 3426596 h 8562303"/>
                <a:gd name="connsiteX3229" fmla="*/ 6157943 w 8622239"/>
                <a:gd name="connsiteY3229" fmla="*/ 3426596 h 8562303"/>
                <a:gd name="connsiteX3230" fmla="*/ 6159495 w 8622239"/>
                <a:gd name="connsiteY3230" fmla="*/ 3420214 h 8562303"/>
                <a:gd name="connsiteX3231" fmla="*/ 6160013 w 8622239"/>
                <a:gd name="connsiteY3231" fmla="*/ 3416764 h 8562303"/>
                <a:gd name="connsiteX3232" fmla="*/ 6159667 w 8622239"/>
                <a:gd name="connsiteY3232" fmla="*/ 3416764 h 8562303"/>
                <a:gd name="connsiteX3233" fmla="*/ 6164670 w 8622239"/>
                <a:gd name="connsiteY3233" fmla="*/ 3365531 h 8562303"/>
                <a:gd name="connsiteX3234" fmla="*/ 6165878 w 8622239"/>
                <a:gd name="connsiteY3234" fmla="*/ 3277383 h 8562303"/>
                <a:gd name="connsiteX3235" fmla="*/ 6164670 w 8622239"/>
                <a:gd name="connsiteY3235" fmla="*/ 3221837 h 8562303"/>
                <a:gd name="connsiteX3236" fmla="*/ 6163118 w 8622239"/>
                <a:gd name="connsiteY3236" fmla="*/ 3174227 h 8562303"/>
                <a:gd name="connsiteX3237" fmla="*/ 6175365 w 8622239"/>
                <a:gd name="connsiteY3237" fmla="*/ 3073831 h 8562303"/>
                <a:gd name="connsiteX3238" fmla="*/ 6233153 w 8622239"/>
                <a:gd name="connsiteY3238" fmla="*/ 2944973 h 8562303"/>
                <a:gd name="connsiteX3239" fmla="*/ 6300256 w 8622239"/>
                <a:gd name="connsiteY3239" fmla="*/ 2846820 h 8562303"/>
                <a:gd name="connsiteX3240" fmla="*/ 6439292 w 8622239"/>
                <a:gd name="connsiteY3240" fmla="*/ 2791274 h 8562303"/>
                <a:gd name="connsiteX3241" fmla="*/ 6523990 w 8622239"/>
                <a:gd name="connsiteY3241" fmla="*/ 2733659 h 8562303"/>
                <a:gd name="connsiteX3242" fmla="*/ 6606964 w 8622239"/>
                <a:gd name="connsiteY3242" fmla="*/ 2673973 h 8562303"/>
                <a:gd name="connsiteX3243" fmla="*/ 6620246 w 8622239"/>
                <a:gd name="connsiteY3243" fmla="*/ 2671558 h 8562303"/>
                <a:gd name="connsiteX3244" fmla="*/ 6703564 w 8622239"/>
                <a:gd name="connsiteY3244" fmla="*/ 2679666 h 8562303"/>
                <a:gd name="connsiteX3245" fmla="*/ 6776532 w 8622239"/>
                <a:gd name="connsiteY3245" fmla="*/ 2687428 h 8562303"/>
                <a:gd name="connsiteX3246" fmla="*/ 6814483 w 8622239"/>
                <a:gd name="connsiteY3246" fmla="*/ 2674663 h 8562303"/>
                <a:gd name="connsiteX3247" fmla="*/ 6841737 w 8622239"/>
                <a:gd name="connsiteY3247" fmla="*/ 2605490 h 8562303"/>
                <a:gd name="connsiteX3248" fmla="*/ 6810342 w 8622239"/>
                <a:gd name="connsiteY3248" fmla="*/ 2506992 h 8562303"/>
                <a:gd name="connsiteX3249" fmla="*/ 6797405 w 8622239"/>
                <a:gd name="connsiteY3249" fmla="*/ 2466454 h 8562303"/>
                <a:gd name="connsiteX3250" fmla="*/ 6867268 w 8622239"/>
                <a:gd name="connsiteY3250" fmla="*/ 2325866 h 8562303"/>
                <a:gd name="connsiteX3251" fmla="*/ 6868820 w 8622239"/>
                <a:gd name="connsiteY3251" fmla="*/ 2296196 h 8562303"/>
                <a:gd name="connsiteX3252" fmla="*/ 6847948 w 8622239"/>
                <a:gd name="connsiteY3252" fmla="*/ 2173547 h 8562303"/>
                <a:gd name="connsiteX3253" fmla="*/ 6837770 w 8622239"/>
                <a:gd name="connsiteY3253" fmla="*/ 2111447 h 8562303"/>
                <a:gd name="connsiteX3254" fmla="*/ 6854848 w 8622239"/>
                <a:gd name="connsiteY3254" fmla="*/ 2078671 h 8562303"/>
                <a:gd name="connsiteX3255" fmla="*/ 6925918 w 8622239"/>
                <a:gd name="connsiteY3255" fmla="*/ 1970858 h 8562303"/>
                <a:gd name="connsiteX3256" fmla="*/ 6932473 w 8622239"/>
                <a:gd name="connsiteY3256" fmla="*/ 1961026 h 8562303"/>
                <a:gd name="connsiteX3257" fmla="*/ 6959211 w 8622239"/>
                <a:gd name="connsiteY3257" fmla="*/ 1958610 h 8562303"/>
                <a:gd name="connsiteX3258" fmla="*/ 6964041 w 8622239"/>
                <a:gd name="connsiteY3258" fmla="*/ 1958610 h 8562303"/>
                <a:gd name="connsiteX3259" fmla="*/ 7031662 w 8622239"/>
                <a:gd name="connsiteY3259" fmla="*/ 1939118 h 8562303"/>
                <a:gd name="connsiteX3260" fmla="*/ 7124122 w 8622239"/>
                <a:gd name="connsiteY3260" fmla="*/ 1811984 h 8562303"/>
                <a:gd name="connsiteX3261" fmla="*/ 7148272 w 8622239"/>
                <a:gd name="connsiteY3261" fmla="*/ 1810777 h 8562303"/>
                <a:gd name="connsiteX3262" fmla="*/ 7183635 w 8622239"/>
                <a:gd name="connsiteY3262" fmla="*/ 1840275 h 8562303"/>
                <a:gd name="connsiteX3263" fmla="*/ 7212443 w 8622239"/>
                <a:gd name="connsiteY3263" fmla="*/ 1863907 h 8562303"/>
                <a:gd name="connsiteX3264" fmla="*/ 7179495 w 8622239"/>
                <a:gd name="connsiteY3264" fmla="*/ 1898580 h 8562303"/>
                <a:gd name="connsiteX3265" fmla="*/ 7145340 w 8622239"/>
                <a:gd name="connsiteY3265" fmla="*/ 1974136 h 8562303"/>
                <a:gd name="connsiteX3266" fmla="*/ 7155862 w 8622239"/>
                <a:gd name="connsiteY3266" fmla="*/ 2008463 h 8562303"/>
                <a:gd name="connsiteX3267" fmla="*/ 7221930 w 8622239"/>
                <a:gd name="connsiteY3267" fmla="*/ 2152330 h 8562303"/>
                <a:gd name="connsiteX3268" fmla="*/ 7221068 w 8622239"/>
                <a:gd name="connsiteY3268" fmla="*/ 2159402 h 8562303"/>
                <a:gd name="connsiteX3269" fmla="*/ 7203645 w 8622239"/>
                <a:gd name="connsiteY3269" fmla="*/ 2213395 h 8562303"/>
                <a:gd name="connsiteX3270" fmla="*/ 7209683 w 8622239"/>
                <a:gd name="connsiteY3270" fmla="*/ 2263938 h 8562303"/>
                <a:gd name="connsiteX3271" fmla="*/ 7256775 w 8622239"/>
                <a:gd name="connsiteY3271" fmla="*/ 2440751 h 8562303"/>
                <a:gd name="connsiteX3272" fmla="*/ 7259536 w 8622239"/>
                <a:gd name="connsiteY3272" fmla="*/ 2595485 h 8562303"/>
                <a:gd name="connsiteX3273" fmla="*/ 7289551 w 8622239"/>
                <a:gd name="connsiteY3273" fmla="*/ 2666038 h 8562303"/>
                <a:gd name="connsiteX3274" fmla="*/ 7338886 w 8622239"/>
                <a:gd name="connsiteY3274" fmla="*/ 2713994 h 8562303"/>
                <a:gd name="connsiteX3275" fmla="*/ 7341818 w 8622239"/>
                <a:gd name="connsiteY3275" fmla="*/ 2714856 h 8562303"/>
                <a:gd name="connsiteX3276" fmla="*/ 7341818 w 8622239"/>
                <a:gd name="connsiteY3276" fmla="*/ 2715719 h 8562303"/>
                <a:gd name="connsiteX3277" fmla="*/ 7313011 w 8622239"/>
                <a:gd name="connsiteY3277" fmla="*/ 2779544 h 8562303"/>
                <a:gd name="connsiteX3278" fmla="*/ 7300246 w 8622239"/>
                <a:gd name="connsiteY3278" fmla="*/ 2820254 h 8562303"/>
                <a:gd name="connsiteX3279" fmla="*/ 7302143 w 8622239"/>
                <a:gd name="connsiteY3279" fmla="*/ 2830432 h 8562303"/>
                <a:gd name="connsiteX3280" fmla="*/ 7300591 w 8622239"/>
                <a:gd name="connsiteY3280" fmla="*/ 2830950 h 8562303"/>
                <a:gd name="connsiteX3281" fmla="*/ 7300591 w 8622239"/>
                <a:gd name="connsiteY3281" fmla="*/ 2831122 h 8562303"/>
                <a:gd name="connsiteX3282" fmla="*/ 7299038 w 8622239"/>
                <a:gd name="connsiteY3282" fmla="*/ 2831812 h 8562303"/>
                <a:gd name="connsiteX3283" fmla="*/ 7288516 w 8622239"/>
                <a:gd name="connsiteY3283" fmla="*/ 2851650 h 8562303"/>
                <a:gd name="connsiteX3284" fmla="*/ 7289723 w 8622239"/>
                <a:gd name="connsiteY3284" fmla="*/ 2861137 h 8562303"/>
                <a:gd name="connsiteX3285" fmla="*/ 7290758 w 8622239"/>
                <a:gd name="connsiteY3285" fmla="*/ 2873730 h 8562303"/>
                <a:gd name="connsiteX3286" fmla="*/ 7288343 w 8622239"/>
                <a:gd name="connsiteY3286" fmla="*/ 2911508 h 8562303"/>
                <a:gd name="connsiteX3287" fmla="*/ 7301626 w 8622239"/>
                <a:gd name="connsiteY3287" fmla="*/ 2935313 h 8562303"/>
                <a:gd name="connsiteX3288" fmla="*/ 7301799 w 8622239"/>
                <a:gd name="connsiteY3288" fmla="*/ 2935485 h 8562303"/>
                <a:gd name="connsiteX3289" fmla="*/ 7318186 w 8622239"/>
                <a:gd name="connsiteY3289" fmla="*/ 2979473 h 8562303"/>
                <a:gd name="connsiteX3290" fmla="*/ 7315254 w 8622239"/>
                <a:gd name="connsiteY3290" fmla="*/ 2988616 h 8562303"/>
                <a:gd name="connsiteX3291" fmla="*/ 7210890 w 8622239"/>
                <a:gd name="connsiteY3291" fmla="*/ 3051406 h 8562303"/>
                <a:gd name="connsiteX3292" fmla="*/ 7176390 w 8622239"/>
                <a:gd name="connsiteY3292" fmla="*/ 3073486 h 8562303"/>
                <a:gd name="connsiteX3293" fmla="*/ 7155517 w 8622239"/>
                <a:gd name="connsiteY3293" fmla="*/ 3102811 h 8562303"/>
                <a:gd name="connsiteX3294" fmla="*/ 7155690 w 8622239"/>
                <a:gd name="connsiteY3294" fmla="*/ 3104536 h 8562303"/>
                <a:gd name="connsiteX3295" fmla="*/ 7161727 w 8622239"/>
                <a:gd name="connsiteY3295" fmla="*/ 3101259 h 8562303"/>
                <a:gd name="connsiteX3296" fmla="*/ 7155517 w 8622239"/>
                <a:gd name="connsiteY3296" fmla="*/ 3104709 h 8562303"/>
                <a:gd name="connsiteX3297" fmla="*/ 7157242 w 8622239"/>
                <a:gd name="connsiteY3297" fmla="*/ 3110401 h 8562303"/>
                <a:gd name="connsiteX3298" fmla="*/ 7163798 w 8622239"/>
                <a:gd name="connsiteY3298" fmla="*/ 3120579 h 8562303"/>
                <a:gd name="connsiteX3299" fmla="*/ 7164487 w 8622239"/>
                <a:gd name="connsiteY3299" fmla="*/ 3120234 h 8562303"/>
                <a:gd name="connsiteX3300" fmla="*/ 7203128 w 8622239"/>
                <a:gd name="connsiteY3300" fmla="*/ 3146972 h 8562303"/>
                <a:gd name="connsiteX3301" fmla="*/ 7236420 w 8622239"/>
                <a:gd name="connsiteY3301" fmla="*/ 3189752 h 8562303"/>
                <a:gd name="connsiteX3302" fmla="*/ 7244873 w 8622239"/>
                <a:gd name="connsiteY3302" fmla="*/ 3239777 h 8562303"/>
                <a:gd name="connsiteX3303" fmla="*/ 7257810 w 8622239"/>
                <a:gd name="connsiteY3303" fmla="*/ 3260132 h 8562303"/>
                <a:gd name="connsiteX3304" fmla="*/ 7251773 w 8622239"/>
                <a:gd name="connsiteY3304" fmla="*/ 3282730 h 8562303"/>
                <a:gd name="connsiteX3305" fmla="*/ 7258845 w 8622239"/>
                <a:gd name="connsiteY3305" fmla="*/ 3298773 h 8562303"/>
                <a:gd name="connsiteX3306" fmla="*/ 7278683 w 8622239"/>
                <a:gd name="connsiteY3306" fmla="*/ 3304293 h 8562303"/>
                <a:gd name="connsiteX3307" fmla="*/ 7287136 w 8622239"/>
                <a:gd name="connsiteY3307" fmla="*/ 3303948 h 8562303"/>
                <a:gd name="connsiteX3308" fmla="*/ 7346821 w 8622239"/>
                <a:gd name="connsiteY3308" fmla="*/ 3294288 h 8562303"/>
                <a:gd name="connsiteX3309" fmla="*/ 7372351 w 8622239"/>
                <a:gd name="connsiteY3309" fmla="*/ 3254613 h 8562303"/>
                <a:gd name="connsiteX3310" fmla="*/ 7369936 w 8622239"/>
                <a:gd name="connsiteY3310" fmla="*/ 3230635 h 8562303"/>
                <a:gd name="connsiteX3311" fmla="*/ 7370626 w 8622239"/>
                <a:gd name="connsiteY3311" fmla="*/ 3230290 h 8562303"/>
                <a:gd name="connsiteX3312" fmla="*/ 7405127 w 8622239"/>
                <a:gd name="connsiteY3312" fmla="*/ 3219767 h 8562303"/>
                <a:gd name="connsiteX3313" fmla="*/ 7488272 w 8622239"/>
                <a:gd name="connsiteY3313" fmla="*/ 3168534 h 8562303"/>
                <a:gd name="connsiteX3314" fmla="*/ 7519495 w 8622239"/>
                <a:gd name="connsiteY3314" fmla="*/ 3141624 h 8562303"/>
                <a:gd name="connsiteX3315" fmla="*/ 7542093 w 8622239"/>
                <a:gd name="connsiteY3315" fmla="*/ 3126617 h 8562303"/>
                <a:gd name="connsiteX3316" fmla="*/ 7552615 w 8622239"/>
                <a:gd name="connsiteY3316" fmla="*/ 3118336 h 8562303"/>
                <a:gd name="connsiteX3317" fmla="*/ 7586080 w 8622239"/>
                <a:gd name="connsiteY3317" fmla="*/ 3141797 h 8562303"/>
                <a:gd name="connsiteX3318" fmla="*/ 7665086 w 8622239"/>
                <a:gd name="connsiteY3318" fmla="*/ 3181989 h 8562303"/>
                <a:gd name="connsiteX3319" fmla="*/ 7690961 w 8622239"/>
                <a:gd name="connsiteY3319" fmla="*/ 3176814 h 8562303"/>
                <a:gd name="connsiteX3320" fmla="*/ 7710626 w 8622239"/>
                <a:gd name="connsiteY3320" fmla="*/ 3178539 h 8562303"/>
                <a:gd name="connsiteX3321" fmla="*/ 7724771 w 8622239"/>
                <a:gd name="connsiteY3321" fmla="*/ 3181989 h 8562303"/>
                <a:gd name="connsiteX3322" fmla="*/ 7728222 w 8622239"/>
                <a:gd name="connsiteY3322" fmla="*/ 3183887 h 8562303"/>
                <a:gd name="connsiteX3323" fmla="*/ 7728394 w 8622239"/>
                <a:gd name="connsiteY3323" fmla="*/ 3183715 h 8562303"/>
                <a:gd name="connsiteX3324" fmla="*/ 7760824 w 8622239"/>
                <a:gd name="connsiteY3324" fmla="*/ 3215627 h 8562303"/>
                <a:gd name="connsiteX3325" fmla="*/ 7783594 w 8622239"/>
                <a:gd name="connsiteY3325" fmla="*/ 3230117 h 8562303"/>
                <a:gd name="connsiteX3326" fmla="*/ 7787217 w 8622239"/>
                <a:gd name="connsiteY3326" fmla="*/ 3252542 h 8562303"/>
                <a:gd name="connsiteX3327" fmla="*/ 7799292 w 8622239"/>
                <a:gd name="connsiteY3327" fmla="*/ 3267550 h 8562303"/>
                <a:gd name="connsiteX3328" fmla="*/ 7799119 w 8622239"/>
                <a:gd name="connsiteY3328" fmla="*/ 3268240 h 8562303"/>
                <a:gd name="connsiteX3329" fmla="*/ 7798257 w 8622239"/>
                <a:gd name="connsiteY3329" fmla="*/ 3267895 h 8562303"/>
                <a:gd name="connsiteX3330" fmla="*/ 7792737 w 8622239"/>
                <a:gd name="connsiteY3330" fmla="*/ 3294288 h 8562303"/>
                <a:gd name="connsiteX3331" fmla="*/ 7803949 w 8622239"/>
                <a:gd name="connsiteY3331" fmla="*/ 3313953 h 8562303"/>
                <a:gd name="connsiteX3332" fmla="*/ 7845522 w 8622239"/>
                <a:gd name="connsiteY3332" fmla="*/ 3333791 h 8562303"/>
                <a:gd name="connsiteX3333" fmla="*/ 7845867 w 8622239"/>
                <a:gd name="connsiteY3333" fmla="*/ 3326718 h 8562303"/>
                <a:gd name="connsiteX3334" fmla="*/ 7862600 w 8622239"/>
                <a:gd name="connsiteY3334" fmla="*/ 3327926 h 8562303"/>
                <a:gd name="connsiteX3335" fmla="*/ 7862600 w 8622239"/>
                <a:gd name="connsiteY3335" fmla="*/ 3328961 h 8562303"/>
                <a:gd name="connsiteX3336" fmla="*/ 7847075 w 8622239"/>
                <a:gd name="connsiteY3336" fmla="*/ 3327753 h 8562303"/>
                <a:gd name="connsiteX3337" fmla="*/ 7846730 w 8622239"/>
                <a:gd name="connsiteY3337" fmla="*/ 3334308 h 8562303"/>
                <a:gd name="connsiteX3338" fmla="*/ 7846212 w 8622239"/>
                <a:gd name="connsiteY3338" fmla="*/ 3333963 h 8562303"/>
                <a:gd name="connsiteX3339" fmla="*/ 7845350 w 8622239"/>
                <a:gd name="connsiteY3339" fmla="*/ 3364496 h 8562303"/>
                <a:gd name="connsiteX3340" fmla="*/ 7846557 w 8622239"/>
                <a:gd name="connsiteY3340" fmla="*/ 3396064 h 8562303"/>
                <a:gd name="connsiteX3341" fmla="*/ 7862772 w 8622239"/>
                <a:gd name="connsiteY3341" fmla="*/ 3429701 h 8562303"/>
                <a:gd name="connsiteX3342" fmla="*/ 7856735 w 8622239"/>
                <a:gd name="connsiteY3342" fmla="*/ 3436429 h 8562303"/>
                <a:gd name="connsiteX3343" fmla="*/ 7851215 w 8622239"/>
                <a:gd name="connsiteY3343" fmla="*/ 3454886 h 8562303"/>
                <a:gd name="connsiteX3344" fmla="*/ 7855872 w 8622239"/>
                <a:gd name="connsiteY3344" fmla="*/ 3471102 h 8562303"/>
                <a:gd name="connsiteX3345" fmla="*/ 7869672 w 8622239"/>
                <a:gd name="connsiteY3345" fmla="*/ 3483004 h 8562303"/>
                <a:gd name="connsiteX3346" fmla="*/ 7885543 w 8622239"/>
                <a:gd name="connsiteY3346" fmla="*/ 3488869 h 8562303"/>
                <a:gd name="connsiteX3347" fmla="*/ 7875537 w 8622239"/>
                <a:gd name="connsiteY3347" fmla="*/ 3531132 h 8562303"/>
                <a:gd name="connsiteX3348" fmla="*/ 7867947 w 8622239"/>
                <a:gd name="connsiteY3348" fmla="*/ 3524059 h 8562303"/>
                <a:gd name="connsiteX3349" fmla="*/ 7862600 w 8622239"/>
                <a:gd name="connsiteY3349" fmla="*/ 3508017 h 8562303"/>
                <a:gd name="connsiteX3350" fmla="*/ 7846557 w 8622239"/>
                <a:gd name="connsiteY3350" fmla="*/ 3509569 h 8562303"/>
                <a:gd name="connsiteX3351" fmla="*/ 7852940 w 8622239"/>
                <a:gd name="connsiteY3351" fmla="*/ 3532857 h 8562303"/>
                <a:gd name="connsiteX3352" fmla="*/ 7871397 w 8622239"/>
                <a:gd name="connsiteY3352" fmla="*/ 3548209 h 8562303"/>
                <a:gd name="connsiteX3353" fmla="*/ 7874502 w 8622239"/>
                <a:gd name="connsiteY3353" fmla="*/ 3549072 h 8562303"/>
                <a:gd name="connsiteX3354" fmla="*/ 7875020 w 8622239"/>
                <a:gd name="connsiteY3354" fmla="*/ 3578397 h 8562303"/>
                <a:gd name="connsiteX3355" fmla="*/ 7872950 w 8622239"/>
                <a:gd name="connsiteY3355" fmla="*/ 3613415 h 8562303"/>
                <a:gd name="connsiteX3356" fmla="*/ 7870363 w 8622239"/>
                <a:gd name="connsiteY3356" fmla="*/ 3622730 h 8562303"/>
                <a:gd name="connsiteX3357" fmla="*/ 7869155 w 8622239"/>
                <a:gd name="connsiteY3357" fmla="*/ 3621523 h 8562303"/>
                <a:gd name="connsiteX3358" fmla="*/ 7794462 w 8622239"/>
                <a:gd name="connsiteY3358" fmla="*/ 3578052 h 8562303"/>
                <a:gd name="connsiteX3359" fmla="*/ 7773244 w 8622239"/>
                <a:gd name="connsiteY3359" fmla="*/ 3588230 h 8562303"/>
                <a:gd name="connsiteX3360" fmla="*/ 7765999 w 8622239"/>
                <a:gd name="connsiteY3360" fmla="*/ 3617038 h 8562303"/>
                <a:gd name="connsiteX3361" fmla="*/ 7787562 w 8622239"/>
                <a:gd name="connsiteY3361" fmla="*/ 3672928 h 8562303"/>
                <a:gd name="connsiteX3362" fmla="*/ 7804812 w 8622239"/>
                <a:gd name="connsiteY3362" fmla="*/ 3701563 h 8562303"/>
                <a:gd name="connsiteX3363" fmla="*/ 7871570 w 8622239"/>
                <a:gd name="connsiteY3363" fmla="*/ 3793506 h 8562303"/>
                <a:gd name="connsiteX3364" fmla="*/ 7969723 w 8622239"/>
                <a:gd name="connsiteY3364" fmla="*/ 3792816 h 8562303"/>
                <a:gd name="connsiteX3365" fmla="*/ 7988181 w 8622239"/>
                <a:gd name="connsiteY3365" fmla="*/ 3792989 h 8562303"/>
                <a:gd name="connsiteX3366" fmla="*/ 7930393 w 8622239"/>
                <a:gd name="connsiteY3366" fmla="*/ 3916845 h 8562303"/>
                <a:gd name="connsiteX3367" fmla="*/ 6691316 w 8622239"/>
                <a:gd name="connsiteY3367" fmla="*/ 6024293 h 8562303"/>
                <a:gd name="connsiteX3368" fmla="*/ 6688556 w 8622239"/>
                <a:gd name="connsiteY3368" fmla="*/ 6031365 h 8562303"/>
                <a:gd name="connsiteX3369" fmla="*/ 6678551 w 8622239"/>
                <a:gd name="connsiteY3369" fmla="*/ 6038955 h 8562303"/>
                <a:gd name="connsiteX3370" fmla="*/ 6660266 w 8622239"/>
                <a:gd name="connsiteY3370" fmla="*/ 6041198 h 8562303"/>
                <a:gd name="connsiteX3371" fmla="*/ 6646639 w 8622239"/>
                <a:gd name="connsiteY3371" fmla="*/ 6041198 h 8562303"/>
                <a:gd name="connsiteX3372" fmla="*/ 6691316 w 8622239"/>
                <a:gd name="connsiteY3372" fmla="*/ 6024293 h 8562303"/>
                <a:gd name="connsiteX3373" fmla="*/ 6625938 w 8622239"/>
                <a:gd name="connsiteY3373" fmla="*/ 6030330 h 8562303"/>
                <a:gd name="connsiteX3374" fmla="*/ 6623524 w 8622239"/>
                <a:gd name="connsiteY3374" fmla="*/ 6031020 h 8562303"/>
                <a:gd name="connsiteX3375" fmla="*/ 6623524 w 8622239"/>
                <a:gd name="connsiteY3375" fmla="*/ 5999108 h 8562303"/>
                <a:gd name="connsiteX3376" fmla="*/ 6664406 w 8622239"/>
                <a:gd name="connsiteY3376" fmla="*/ 5999108 h 8562303"/>
                <a:gd name="connsiteX3377" fmla="*/ 6685451 w 8622239"/>
                <a:gd name="connsiteY3377" fmla="*/ 6004973 h 8562303"/>
                <a:gd name="connsiteX3378" fmla="*/ 6687177 w 8622239"/>
                <a:gd name="connsiteY3378" fmla="*/ 6007215 h 8562303"/>
                <a:gd name="connsiteX3379" fmla="*/ 6625938 w 8622239"/>
                <a:gd name="connsiteY3379" fmla="*/ 6030330 h 8562303"/>
                <a:gd name="connsiteX3380" fmla="*/ 3499353 w 8622239"/>
                <a:gd name="connsiteY3380" fmla="*/ 2751081 h 8562303"/>
                <a:gd name="connsiteX3381" fmla="*/ 3505563 w 8622239"/>
                <a:gd name="connsiteY3381" fmla="*/ 2755221 h 8562303"/>
                <a:gd name="connsiteX3382" fmla="*/ 3505563 w 8622239"/>
                <a:gd name="connsiteY3382" fmla="*/ 2755221 h 8562303"/>
                <a:gd name="connsiteX3383" fmla="*/ 3499353 w 8622239"/>
                <a:gd name="connsiteY3383" fmla="*/ 2751081 h 8562303"/>
                <a:gd name="connsiteX3384" fmla="*/ 6199860 w 8622239"/>
                <a:gd name="connsiteY3384" fmla="*/ 3432116 h 8562303"/>
                <a:gd name="connsiteX3385" fmla="*/ 6206933 w 8622239"/>
                <a:gd name="connsiteY3385" fmla="*/ 3430046 h 8562303"/>
                <a:gd name="connsiteX3386" fmla="*/ 6209865 w 8622239"/>
                <a:gd name="connsiteY3386" fmla="*/ 3442121 h 8562303"/>
                <a:gd name="connsiteX3387" fmla="*/ 6206760 w 8622239"/>
                <a:gd name="connsiteY3387" fmla="*/ 3430219 h 8562303"/>
                <a:gd name="connsiteX3388" fmla="*/ 6199860 w 8622239"/>
                <a:gd name="connsiteY3388" fmla="*/ 3432116 h 8562303"/>
                <a:gd name="connsiteX3389" fmla="*/ 7173630 w 8622239"/>
                <a:gd name="connsiteY3389" fmla="*/ 3113334 h 8562303"/>
                <a:gd name="connsiteX3390" fmla="*/ 7173458 w 8622239"/>
                <a:gd name="connsiteY3390" fmla="*/ 3113506 h 8562303"/>
                <a:gd name="connsiteX3391" fmla="*/ 7168110 w 8622239"/>
                <a:gd name="connsiteY3391" fmla="*/ 3098326 h 8562303"/>
                <a:gd name="connsiteX3392" fmla="*/ 7173630 w 8622239"/>
                <a:gd name="connsiteY3392" fmla="*/ 3113334 h 8562303"/>
                <a:gd name="connsiteX3393" fmla="*/ 7867258 w 8622239"/>
                <a:gd name="connsiteY3393" fmla="*/ 3452644 h 8562303"/>
                <a:gd name="connsiteX3394" fmla="*/ 7873123 w 8622239"/>
                <a:gd name="connsiteY3394" fmla="*/ 3440224 h 8562303"/>
                <a:gd name="connsiteX3395" fmla="*/ 7887957 w 8622239"/>
                <a:gd name="connsiteY3395" fmla="*/ 3462821 h 8562303"/>
                <a:gd name="connsiteX3396" fmla="*/ 7888130 w 8622239"/>
                <a:gd name="connsiteY3396" fmla="*/ 3467479 h 8562303"/>
                <a:gd name="connsiteX3397" fmla="*/ 7887957 w 8622239"/>
                <a:gd name="connsiteY3397" fmla="*/ 3470929 h 8562303"/>
                <a:gd name="connsiteX3398" fmla="*/ 7872088 w 8622239"/>
                <a:gd name="connsiteY3398" fmla="*/ 3464201 h 8562303"/>
                <a:gd name="connsiteX3399" fmla="*/ 7867258 w 8622239"/>
                <a:gd name="connsiteY3399" fmla="*/ 3452644 h 8562303"/>
                <a:gd name="connsiteX3400" fmla="*/ 8085989 w 8622239"/>
                <a:gd name="connsiteY3400" fmla="*/ 3653090 h 8562303"/>
                <a:gd name="connsiteX3401" fmla="*/ 8066496 w 8622239"/>
                <a:gd name="connsiteY3401" fmla="*/ 3671376 h 8562303"/>
                <a:gd name="connsiteX3402" fmla="*/ 8064599 w 8622239"/>
                <a:gd name="connsiteY3402" fmla="*/ 3673100 h 8562303"/>
                <a:gd name="connsiteX3403" fmla="*/ 8042864 w 8622239"/>
                <a:gd name="connsiteY3403" fmla="*/ 3697078 h 8562303"/>
                <a:gd name="connsiteX3404" fmla="*/ 8028546 w 8622239"/>
                <a:gd name="connsiteY3404" fmla="*/ 3716053 h 8562303"/>
                <a:gd name="connsiteX3405" fmla="*/ 8000773 w 8622239"/>
                <a:gd name="connsiteY3405" fmla="*/ 3759006 h 8562303"/>
                <a:gd name="connsiteX3406" fmla="*/ 7995081 w 8622239"/>
                <a:gd name="connsiteY3406" fmla="*/ 3774704 h 8562303"/>
                <a:gd name="connsiteX3407" fmla="*/ 7969378 w 8622239"/>
                <a:gd name="connsiteY3407" fmla="*/ 3774531 h 8562303"/>
                <a:gd name="connsiteX3408" fmla="*/ 7871225 w 8622239"/>
                <a:gd name="connsiteY3408" fmla="*/ 3774704 h 8562303"/>
                <a:gd name="connsiteX3409" fmla="*/ 7821200 w 8622239"/>
                <a:gd name="connsiteY3409" fmla="*/ 3699148 h 8562303"/>
                <a:gd name="connsiteX3410" fmla="*/ 7797740 w 8622239"/>
                <a:gd name="connsiteY3410" fmla="*/ 3658265 h 8562303"/>
                <a:gd name="connsiteX3411" fmla="*/ 7782387 w 8622239"/>
                <a:gd name="connsiteY3411" fmla="*/ 3616003 h 8562303"/>
                <a:gd name="connsiteX3412" fmla="*/ 7794117 w 8622239"/>
                <a:gd name="connsiteY3412" fmla="*/ 3594268 h 8562303"/>
                <a:gd name="connsiteX3413" fmla="*/ 7857425 w 8622239"/>
                <a:gd name="connsiteY3413" fmla="*/ 3633080 h 8562303"/>
                <a:gd name="connsiteX3414" fmla="*/ 7871053 w 8622239"/>
                <a:gd name="connsiteY3414" fmla="*/ 3639635 h 8562303"/>
                <a:gd name="connsiteX3415" fmla="*/ 7888992 w 8622239"/>
                <a:gd name="connsiteY3415" fmla="*/ 3615140 h 8562303"/>
                <a:gd name="connsiteX3416" fmla="*/ 7891408 w 8622239"/>
                <a:gd name="connsiteY3416" fmla="*/ 3577190 h 8562303"/>
                <a:gd name="connsiteX3417" fmla="*/ 7890890 w 8622239"/>
                <a:gd name="connsiteY3417" fmla="*/ 3551660 h 8562303"/>
                <a:gd name="connsiteX3418" fmla="*/ 7900205 w 8622239"/>
                <a:gd name="connsiteY3418" fmla="*/ 3552350 h 8562303"/>
                <a:gd name="connsiteX3419" fmla="*/ 7924873 w 8622239"/>
                <a:gd name="connsiteY3419" fmla="*/ 3547175 h 8562303"/>
                <a:gd name="connsiteX3420" fmla="*/ 7941778 w 8622239"/>
                <a:gd name="connsiteY3420" fmla="*/ 3532857 h 8562303"/>
                <a:gd name="connsiteX3421" fmla="*/ 7947643 w 8622239"/>
                <a:gd name="connsiteY3421" fmla="*/ 3513364 h 8562303"/>
                <a:gd name="connsiteX3422" fmla="*/ 7942295 w 8622239"/>
                <a:gd name="connsiteY3422" fmla="*/ 3494907 h 8562303"/>
                <a:gd name="connsiteX3423" fmla="*/ 7925735 w 8622239"/>
                <a:gd name="connsiteY3423" fmla="*/ 3481624 h 8562303"/>
                <a:gd name="connsiteX3424" fmla="*/ 7904000 w 8622239"/>
                <a:gd name="connsiteY3424" fmla="*/ 3474896 h 8562303"/>
                <a:gd name="connsiteX3425" fmla="*/ 7904518 w 8622239"/>
                <a:gd name="connsiteY3425" fmla="*/ 3467134 h 8562303"/>
                <a:gd name="connsiteX3426" fmla="*/ 7904345 w 8622239"/>
                <a:gd name="connsiteY3426" fmla="*/ 3460579 h 8562303"/>
                <a:gd name="connsiteX3427" fmla="*/ 7890200 w 8622239"/>
                <a:gd name="connsiteY3427" fmla="*/ 3433324 h 8562303"/>
                <a:gd name="connsiteX3428" fmla="*/ 7896238 w 8622239"/>
                <a:gd name="connsiteY3428" fmla="*/ 3432979 h 8562303"/>
                <a:gd name="connsiteX3429" fmla="*/ 7918663 w 8622239"/>
                <a:gd name="connsiteY3429" fmla="*/ 3439189 h 8562303"/>
                <a:gd name="connsiteX3430" fmla="*/ 7927460 w 8622239"/>
                <a:gd name="connsiteY3430" fmla="*/ 3457819 h 8562303"/>
                <a:gd name="connsiteX3431" fmla="*/ 7943676 w 8622239"/>
                <a:gd name="connsiteY3431" fmla="*/ 3456611 h 8562303"/>
                <a:gd name="connsiteX3432" fmla="*/ 7937293 w 8622239"/>
                <a:gd name="connsiteY3432" fmla="*/ 3436084 h 8562303"/>
                <a:gd name="connsiteX3433" fmla="*/ 7920560 w 8622239"/>
                <a:gd name="connsiteY3433" fmla="*/ 3422456 h 8562303"/>
                <a:gd name="connsiteX3434" fmla="*/ 7895375 w 8622239"/>
                <a:gd name="connsiteY3434" fmla="*/ 3417799 h 8562303"/>
                <a:gd name="connsiteX3435" fmla="*/ 7877953 w 8622239"/>
                <a:gd name="connsiteY3435" fmla="*/ 3420386 h 8562303"/>
                <a:gd name="connsiteX3436" fmla="*/ 7862255 w 8622239"/>
                <a:gd name="connsiteY3436" fmla="*/ 3393303 h 8562303"/>
                <a:gd name="connsiteX3437" fmla="*/ 7861047 w 8622239"/>
                <a:gd name="connsiteY3437" fmla="*/ 3363461 h 8562303"/>
                <a:gd name="connsiteX3438" fmla="*/ 7861393 w 8622239"/>
                <a:gd name="connsiteY3438" fmla="*/ 3343278 h 8562303"/>
                <a:gd name="connsiteX3439" fmla="*/ 7861393 w 8622239"/>
                <a:gd name="connsiteY3439" fmla="*/ 3343278 h 8562303"/>
                <a:gd name="connsiteX3440" fmla="*/ 7861393 w 8622239"/>
                <a:gd name="connsiteY3440" fmla="*/ 3342933 h 8562303"/>
                <a:gd name="connsiteX3441" fmla="*/ 7876400 w 8622239"/>
                <a:gd name="connsiteY3441" fmla="*/ 3357078 h 8562303"/>
                <a:gd name="connsiteX3442" fmla="*/ 7961098 w 8622239"/>
                <a:gd name="connsiteY3442" fmla="*/ 3389164 h 8562303"/>
                <a:gd name="connsiteX3443" fmla="*/ 7986456 w 8622239"/>
                <a:gd name="connsiteY3443" fmla="*/ 3418489 h 8562303"/>
                <a:gd name="connsiteX3444" fmla="*/ 7988871 w 8622239"/>
                <a:gd name="connsiteY3444" fmla="*/ 3421939 h 8562303"/>
                <a:gd name="connsiteX3445" fmla="*/ 7971965 w 8622239"/>
                <a:gd name="connsiteY3445" fmla="*/ 3421939 h 8562303"/>
                <a:gd name="connsiteX3446" fmla="*/ 7971965 w 8622239"/>
                <a:gd name="connsiteY3446" fmla="*/ 3550280 h 8562303"/>
                <a:gd name="connsiteX3447" fmla="*/ 8069256 w 8622239"/>
                <a:gd name="connsiteY3447" fmla="*/ 3550280 h 8562303"/>
                <a:gd name="connsiteX3448" fmla="*/ 8069256 w 8622239"/>
                <a:gd name="connsiteY3448" fmla="*/ 3535099 h 8562303"/>
                <a:gd name="connsiteX3449" fmla="*/ 7989216 w 8622239"/>
                <a:gd name="connsiteY3449" fmla="*/ 3535099 h 8562303"/>
                <a:gd name="connsiteX3450" fmla="*/ 7989216 w 8622239"/>
                <a:gd name="connsiteY3450" fmla="*/ 3491629 h 8562303"/>
                <a:gd name="connsiteX3451" fmla="*/ 8061322 w 8622239"/>
                <a:gd name="connsiteY3451" fmla="*/ 3491629 h 8562303"/>
                <a:gd name="connsiteX3452" fmla="*/ 8061322 w 8622239"/>
                <a:gd name="connsiteY3452" fmla="*/ 3481452 h 8562303"/>
                <a:gd name="connsiteX3453" fmla="*/ 8117902 w 8622239"/>
                <a:gd name="connsiteY3453" fmla="*/ 3527165 h 8562303"/>
                <a:gd name="connsiteX3454" fmla="*/ 8183452 w 8622239"/>
                <a:gd name="connsiteY3454" fmla="*/ 3586677 h 8562303"/>
                <a:gd name="connsiteX3455" fmla="*/ 8085989 w 8622239"/>
                <a:gd name="connsiteY3455" fmla="*/ 3653090 h 8562303"/>
                <a:gd name="connsiteX3456" fmla="*/ 7891235 w 8622239"/>
                <a:gd name="connsiteY3456" fmla="*/ 3536134 h 8562303"/>
                <a:gd name="connsiteX3457" fmla="*/ 7901585 w 8622239"/>
                <a:gd name="connsiteY3457" fmla="*/ 3491974 h 8562303"/>
                <a:gd name="connsiteX3458" fmla="*/ 7916938 w 8622239"/>
                <a:gd name="connsiteY3458" fmla="*/ 3496459 h 8562303"/>
                <a:gd name="connsiteX3459" fmla="*/ 7928323 w 8622239"/>
                <a:gd name="connsiteY3459" fmla="*/ 3504222 h 8562303"/>
                <a:gd name="connsiteX3460" fmla="*/ 7931946 w 8622239"/>
                <a:gd name="connsiteY3460" fmla="*/ 3514917 h 8562303"/>
                <a:gd name="connsiteX3461" fmla="*/ 7928323 w 8622239"/>
                <a:gd name="connsiteY3461" fmla="*/ 3525957 h 8562303"/>
                <a:gd name="connsiteX3462" fmla="*/ 7917283 w 8622239"/>
                <a:gd name="connsiteY3462" fmla="*/ 3533892 h 8562303"/>
                <a:gd name="connsiteX3463" fmla="*/ 7900205 w 8622239"/>
                <a:gd name="connsiteY3463" fmla="*/ 3536825 h 8562303"/>
                <a:gd name="connsiteX3464" fmla="*/ 7891235 w 8622239"/>
                <a:gd name="connsiteY3464" fmla="*/ 3536134 h 8562303"/>
                <a:gd name="connsiteX3465" fmla="*/ 7989906 w 8622239"/>
                <a:gd name="connsiteY3465" fmla="*/ 3476276 h 8562303"/>
                <a:gd name="connsiteX3466" fmla="*/ 7989906 w 8622239"/>
                <a:gd name="connsiteY3466" fmla="*/ 3436946 h 8562303"/>
                <a:gd name="connsiteX3467" fmla="*/ 8000429 w 8622239"/>
                <a:gd name="connsiteY3467" fmla="*/ 3436946 h 8562303"/>
                <a:gd name="connsiteX3468" fmla="*/ 8025269 w 8622239"/>
                <a:gd name="connsiteY3468" fmla="*/ 3456784 h 8562303"/>
                <a:gd name="connsiteX3469" fmla="*/ 8055284 w 8622239"/>
                <a:gd name="connsiteY3469" fmla="*/ 3476276 h 8562303"/>
                <a:gd name="connsiteX3470" fmla="*/ 7989906 w 8622239"/>
                <a:gd name="connsiteY3470" fmla="*/ 3476276 h 8562303"/>
                <a:gd name="connsiteX3471" fmla="*/ 8458074 w 8622239"/>
                <a:gd name="connsiteY3471" fmla="*/ 3327580 h 8562303"/>
                <a:gd name="connsiteX3472" fmla="*/ 8379759 w 8622239"/>
                <a:gd name="connsiteY3472" fmla="*/ 3414694 h 8562303"/>
                <a:gd name="connsiteX3473" fmla="*/ 8246588 w 8622239"/>
                <a:gd name="connsiteY3473" fmla="*/ 3553557 h 8562303"/>
                <a:gd name="connsiteX3474" fmla="*/ 8199150 w 8622239"/>
                <a:gd name="connsiteY3474" fmla="*/ 3577707 h 8562303"/>
                <a:gd name="connsiteX3475" fmla="*/ 8128770 w 8622239"/>
                <a:gd name="connsiteY3475" fmla="*/ 3513364 h 8562303"/>
                <a:gd name="connsiteX3476" fmla="*/ 8028719 w 8622239"/>
                <a:gd name="connsiteY3476" fmla="*/ 3439706 h 8562303"/>
                <a:gd name="connsiteX3477" fmla="*/ 8023716 w 8622239"/>
                <a:gd name="connsiteY3477" fmla="*/ 3436946 h 8562303"/>
                <a:gd name="connsiteX3478" fmla="*/ 8067014 w 8622239"/>
                <a:gd name="connsiteY3478" fmla="*/ 3436946 h 8562303"/>
                <a:gd name="connsiteX3479" fmla="*/ 8067014 w 8622239"/>
                <a:gd name="connsiteY3479" fmla="*/ 3421939 h 8562303"/>
                <a:gd name="connsiteX3480" fmla="*/ 8010261 w 8622239"/>
                <a:gd name="connsiteY3480" fmla="*/ 3421939 h 8562303"/>
                <a:gd name="connsiteX3481" fmla="*/ 8000773 w 8622239"/>
                <a:gd name="connsiteY3481" fmla="*/ 3408139 h 8562303"/>
                <a:gd name="connsiteX3482" fmla="*/ 7963858 w 8622239"/>
                <a:gd name="connsiteY3482" fmla="*/ 3371568 h 8562303"/>
                <a:gd name="connsiteX3483" fmla="*/ 7892270 w 8622239"/>
                <a:gd name="connsiteY3483" fmla="*/ 3349488 h 8562303"/>
                <a:gd name="connsiteX3484" fmla="*/ 7809814 w 8622239"/>
                <a:gd name="connsiteY3484" fmla="*/ 3296185 h 8562303"/>
                <a:gd name="connsiteX3485" fmla="*/ 7809470 w 8622239"/>
                <a:gd name="connsiteY3485" fmla="*/ 3292735 h 8562303"/>
                <a:gd name="connsiteX3486" fmla="*/ 7814990 w 8622239"/>
                <a:gd name="connsiteY3486" fmla="*/ 3269792 h 8562303"/>
                <a:gd name="connsiteX3487" fmla="*/ 7816025 w 8622239"/>
                <a:gd name="connsiteY3487" fmla="*/ 3269620 h 8562303"/>
                <a:gd name="connsiteX3488" fmla="*/ 7817577 w 8622239"/>
                <a:gd name="connsiteY3488" fmla="*/ 3265480 h 8562303"/>
                <a:gd name="connsiteX3489" fmla="*/ 7803605 w 8622239"/>
                <a:gd name="connsiteY3489" fmla="*/ 3258752 h 8562303"/>
                <a:gd name="connsiteX3490" fmla="*/ 7803949 w 8622239"/>
                <a:gd name="connsiteY3490" fmla="*/ 3257717 h 8562303"/>
                <a:gd name="connsiteX3491" fmla="*/ 7819130 w 8622239"/>
                <a:gd name="connsiteY3491" fmla="*/ 3264962 h 8562303"/>
                <a:gd name="connsiteX3492" fmla="*/ 7817577 w 8622239"/>
                <a:gd name="connsiteY3492" fmla="*/ 3269275 h 8562303"/>
                <a:gd name="connsiteX3493" fmla="*/ 7899688 w 8622239"/>
                <a:gd name="connsiteY3493" fmla="*/ 3227875 h 8562303"/>
                <a:gd name="connsiteX3494" fmla="*/ 7921595 w 8622239"/>
                <a:gd name="connsiteY3494" fmla="*/ 3223045 h 8562303"/>
                <a:gd name="connsiteX3495" fmla="*/ 7951093 w 8622239"/>
                <a:gd name="connsiteY3495" fmla="*/ 3226667 h 8562303"/>
                <a:gd name="connsiteX3496" fmla="*/ 7988009 w 8622239"/>
                <a:gd name="connsiteY3496" fmla="*/ 3250817 h 8562303"/>
                <a:gd name="connsiteX3497" fmla="*/ 8036309 w 8622239"/>
                <a:gd name="connsiteY3497" fmla="*/ 3275658 h 8562303"/>
                <a:gd name="connsiteX3498" fmla="*/ 8067531 w 8622239"/>
                <a:gd name="connsiteY3498" fmla="*/ 3289803 h 8562303"/>
                <a:gd name="connsiteX3499" fmla="*/ 8140154 w 8622239"/>
                <a:gd name="connsiteY3499" fmla="*/ 3304120 h 8562303"/>
                <a:gd name="connsiteX3500" fmla="*/ 8165167 w 8622239"/>
                <a:gd name="connsiteY3500" fmla="*/ 3302913 h 8562303"/>
                <a:gd name="connsiteX3501" fmla="*/ 8247623 w 8622239"/>
                <a:gd name="connsiteY3501" fmla="*/ 3269275 h 8562303"/>
                <a:gd name="connsiteX3502" fmla="*/ 8296786 w 8622239"/>
                <a:gd name="connsiteY3502" fmla="*/ 3237707 h 8562303"/>
                <a:gd name="connsiteX3503" fmla="*/ 8399941 w 8622239"/>
                <a:gd name="connsiteY3503" fmla="*/ 3223562 h 8562303"/>
                <a:gd name="connsiteX3504" fmla="*/ 8407186 w 8622239"/>
                <a:gd name="connsiteY3504" fmla="*/ 3223907 h 8562303"/>
                <a:gd name="connsiteX3505" fmla="*/ 8502752 w 8622239"/>
                <a:gd name="connsiteY3505" fmla="*/ 3262893 h 8562303"/>
                <a:gd name="connsiteX3506" fmla="*/ 8458074 w 8622239"/>
                <a:gd name="connsiteY3506" fmla="*/ 3327580 h 8562303"/>
                <a:gd name="connsiteX3507" fmla="*/ 8586415 w 8622239"/>
                <a:gd name="connsiteY3507" fmla="*/ 3022426 h 8562303"/>
                <a:gd name="connsiteX3508" fmla="*/ 8572615 w 8622239"/>
                <a:gd name="connsiteY3508" fmla="*/ 3079524 h 8562303"/>
                <a:gd name="connsiteX3509" fmla="*/ 8510169 w 8622239"/>
                <a:gd name="connsiteY3509" fmla="*/ 3247195 h 8562303"/>
                <a:gd name="connsiteX3510" fmla="*/ 8410464 w 8622239"/>
                <a:gd name="connsiteY3510" fmla="*/ 3207002 h 8562303"/>
                <a:gd name="connsiteX3511" fmla="*/ 8398561 w 8622239"/>
                <a:gd name="connsiteY3511" fmla="*/ 3206657 h 8562303"/>
                <a:gd name="connsiteX3512" fmla="*/ 8292300 w 8622239"/>
                <a:gd name="connsiteY3512" fmla="*/ 3221147 h 8562303"/>
                <a:gd name="connsiteX3513" fmla="*/ 8235893 w 8622239"/>
                <a:gd name="connsiteY3513" fmla="*/ 3256337 h 8562303"/>
                <a:gd name="connsiteX3514" fmla="*/ 8162752 w 8622239"/>
                <a:gd name="connsiteY3514" fmla="*/ 3285835 h 8562303"/>
                <a:gd name="connsiteX3515" fmla="*/ 8139465 w 8622239"/>
                <a:gd name="connsiteY3515" fmla="*/ 3286870 h 8562303"/>
                <a:gd name="connsiteX3516" fmla="*/ 8035964 w 8622239"/>
                <a:gd name="connsiteY3516" fmla="*/ 3258580 h 8562303"/>
                <a:gd name="connsiteX3517" fmla="*/ 7996978 w 8622239"/>
                <a:gd name="connsiteY3517" fmla="*/ 3236500 h 8562303"/>
                <a:gd name="connsiteX3518" fmla="*/ 7954715 w 8622239"/>
                <a:gd name="connsiteY3518" fmla="*/ 3209935 h 8562303"/>
                <a:gd name="connsiteX3519" fmla="*/ 7921595 w 8622239"/>
                <a:gd name="connsiteY3519" fmla="*/ 3205795 h 8562303"/>
                <a:gd name="connsiteX3520" fmla="*/ 7889510 w 8622239"/>
                <a:gd name="connsiteY3520" fmla="*/ 3214075 h 8562303"/>
                <a:gd name="connsiteX3521" fmla="*/ 7811195 w 8622239"/>
                <a:gd name="connsiteY3521" fmla="*/ 3252887 h 8562303"/>
                <a:gd name="connsiteX3522" fmla="*/ 7802397 w 8622239"/>
                <a:gd name="connsiteY3522" fmla="*/ 3245125 h 8562303"/>
                <a:gd name="connsiteX3523" fmla="*/ 7799810 w 8622239"/>
                <a:gd name="connsiteY3523" fmla="*/ 3227530 h 8562303"/>
                <a:gd name="connsiteX3524" fmla="*/ 7799810 w 8622239"/>
                <a:gd name="connsiteY3524" fmla="*/ 3224597 h 8562303"/>
                <a:gd name="connsiteX3525" fmla="*/ 7800154 w 8622239"/>
                <a:gd name="connsiteY3525" fmla="*/ 3218905 h 8562303"/>
                <a:gd name="connsiteX3526" fmla="*/ 7795497 w 8622239"/>
                <a:gd name="connsiteY3526" fmla="*/ 3216145 h 8562303"/>
                <a:gd name="connsiteX3527" fmla="*/ 7769277 w 8622239"/>
                <a:gd name="connsiteY3527" fmla="*/ 3199930 h 8562303"/>
                <a:gd name="connsiteX3528" fmla="*/ 7751164 w 8622239"/>
                <a:gd name="connsiteY3528" fmla="*/ 3186302 h 8562303"/>
                <a:gd name="connsiteX3529" fmla="*/ 7745472 w 8622239"/>
                <a:gd name="connsiteY3529" fmla="*/ 3180609 h 8562303"/>
                <a:gd name="connsiteX3530" fmla="*/ 7744264 w 8622239"/>
                <a:gd name="connsiteY3530" fmla="*/ 3178712 h 8562303"/>
                <a:gd name="connsiteX3531" fmla="*/ 7712696 w 8622239"/>
                <a:gd name="connsiteY3531" fmla="*/ 3160082 h 8562303"/>
                <a:gd name="connsiteX3532" fmla="*/ 7689064 w 8622239"/>
                <a:gd name="connsiteY3532" fmla="*/ 3158357 h 8562303"/>
                <a:gd name="connsiteX3533" fmla="*/ 7686994 w 8622239"/>
                <a:gd name="connsiteY3533" fmla="*/ 3158357 h 8562303"/>
                <a:gd name="connsiteX3534" fmla="*/ 7685096 w 8622239"/>
                <a:gd name="connsiteY3534" fmla="*/ 3159392 h 8562303"/>
                <a:gd name="connsiteX3535" fmla="*/ 7680438 w 8622239"/>
                <a:gd name="connsiteY3535" fmla="*/ 3161289 h 8562303"/>
                <a:gd name="connsiteX3536" fmla="*/ 7665258 w 8622239"/>
                <a:gd name="connsiteY3536" fmla="*/ 3163359 h 8562303"/>
                <a:gd name="connsiteX3537" fmla="*/ 7597811 w 8622239"/>
                <a:gd name="connsiteY3537" fmla="*/ 3128169 h 8562303"/>
                <a:gd name="connsiteX3538" fmla="*/ 7552788 w 8622239"/>
                <a:gd name="connsiteY3538" fmla="*/ 3099534 h 8562303"/>
                <a:gd name="connsiteX3539" fmla="*/ 7529328 w 8622239"/>
                <a:gd name="connsiteY3539" fmla="*/ 3114541 h 8562303"/>
                <a:gd name="connsiteX3540" fmla="*/ 7519667 w 8622239"/>
                <a:gd name="connsiteY3540" fmla="*/ 3122822 h 8562303"/>
                <a:gd name="connsiteX3541" fmla="*/ 7472919 w 8622239"/>
                <a:gd name="connsiteY3541" fmla="*/ 3160944 h 8562303"/>
                <a:gd name="connsiteX3542" fmla="*/ 7400641 w 8622239"/>
                <a:gd name="connsiteY3542" fmla="*/ 3201827 h 8562303"/>
                <a:gd name="connsiteX3543" fmla="*/ 7366314 w 8622239"/>
                <a:gd name="connsiteY3543" fmla="*/ 3212350 h 8562303"/>
                <a:gd name="connsiteX3544" fmla="*/ 7353549 w 8622239"/>
                <a:gd name="connsiteY3544" fmla="*/ 3228737 h 8562303"/>
                <a:gd name="connsiteX3545" fmla="*/ 7355964 w 8622239"/>
                <a:gd name="connsiteY3545" fmla="*/ 3253578 h 8562303"/>
                <a:gd name="connsiteX3546" fmla="*/ 7341301 w 8622239"/>
                <a:gd name="connsiteY3546" fmla="*/ 3276865 h 8562303"/>
                <a:gd name="connsiteX3547" fmla="*/ 7285583 w 8622239"/>
                <a:gd name="connsiteY3547" fmla="*/ 3285663 h 8562303"/>
                <a:gd name="connsiteX3548" fmla="*/ 7278683 w 8622239"/>
                <a:gd name="connsiteY3548" fmla="*/ 3286008 h 8562303"/>
                <a:gd name="connsiteX3549" fmla="*/ 7268505 w 8622239"/>
                <a:gd name="connsiteY3549" fmla="*/ 3281695 h 8562303"/>
                <a:gd name="connsiteX3550" fmla="*/ 7276441 w 8622239"/>
                <a:gd name="connsiteY3550" fmla="*/ 3254957 h 8562303"/>
                <a:gd name="connsiteX3551" fmla="*/ 7274026 w 8622239"/>
                <a:gd name="connsiteY3551" fmla="*/ 3248057 h 8562303"/>
                <a:gd name="connsiteX3552" fmla="*/ 7267643 w 8622239"/>
                <a:gd name="connsiteY3552" fmla="*/ 3244780 h 8562303"/>
                <a:gd name="connsiteX3553" fmla="*/ 7252980 w 8622239"/>
                <a:gd name="connsiteY3553" fmla="*/ 3188372 h 8562303"/>
                <a:gd name="connsiteX3554" fmla="*/ 7202955 w 8622239"/>
                <a:gd name="connsiteY3554" fmla="*/ 3128169 h 8562303"/>
                <a:gd name="connsiteX3555" fmla="*/ 7171732 w 8622239"/>
                <a:gd name="connsiteY3555" fmla="*/ 3101259 h 8562303"/>
                <a:gd name="connsiteX3556" fmla="*/ 7174665 w 8622239"/>
                <a:gd name="connsiteY3556" fmla="*/ 3096946 h 8562303"/>
                <a:gd name="connsiteX3557" fmla="*/ 7217618 w 8622239"/>
                <a:gd name="connsiteY3557" fmla="*/ 3066241 h 8562303"/>
                <a:gd name="connsiteX3558" fmla="*/ 7318703 w 8622239"/>
                <a:gd name="connsiteY3558" fmla="*/ 3004486 h 8562303"/>
                <a:gd name="connsiteX3559" fmla="*/ 7334574 w 8622239"/>
                <a:gd name="connsiteY3559" fmla="*/ 2978438 h 8562303"/>
                <a:gd name="connsiteX3560" fmla="*/ 7325776 w 8622239"/>
                <a:gd name="connsiteY3560" fmla="*/ 2941523 h 8562303"/>
                <a:gd name="connsiteX3561" fmla="*/ 7305421 w 8622239"/>
                <a:gd name="connsiteY3561" fmla="*/ 2917373 h 8562303"/>
                <a:gd name="connsiteX3562" fmla="*/ 7304731 w 8622239"/>
                <a:gd name="connsiteY3562" fmla="*/ 2910300 h 8562303"/>
                <a:gd name="connsiteX3563" fmla="*/ 7306801 w 8622239"/>
                <a:gd name="connsiteY3563" fmla="*/ 2872522 h 8562303"/>
                <a:gd name="connsiteX3564" fmla="*/ 7305076 w 8622239"/>
                <a:gd name="connsiteY3564" fmla="*/ 2855617 h 8562303"/>
                <a:gd name="connsiteX3565" fmla="*/ 7304386 w 8622239"/>
                <a:gd name="connsiteY3565" fmla="*/ 2850442 h 8562303"/>
                <a:gd name="connsiteX3566" fmla="*/ 7311803 w 8622239"/>
                <a:gd name="connsiteY3566" fmla="*/ 2844749 h 8562303"/>
                <a:gd name="connsiteX3567" fmla="*/ 7312666 w 8622239"/>
                <a:gd name="connsiteY3567" fmla="*/ 2844749 h 8562303"/>
                <a:gd name="connsiteX3568" fmla="*/ 7312838 w 8622239"/>
                <a:gd name="connsiteY3568" fmla="*/ 2843714 h 8562303"/>
                <a:gd name="connsiteX3569" fmla="*/ 7312148 w 8622239"/>
                <a:gd name="connsiteY3569" fmla="*/ 2843197 h 8562303"/>
                <a:gd name="connsiteX3570" fmla="*/ 7314219 w 8622239"/>
                <a:gd name="connsiteY3570" fmla="*/ 2828017 h 8562303"/>
                <a:gd name="connsiteX3571" fmla="*/ 7315254 w 8622239"/>
                <a:gd name="connsiteY3571" fmla="*/ 2828189 h 8562303"/>
                <a:gd name="connsiteX3572" fmla="*/ 7313184 w 8622239"/>
                <a:gd name="connsiteY3572" fmla="*/ 2844232 h 8562303"/>
                <a:gd name="connsiteX3573" fmla="*/ 7314908 w 8622239"/>
                <a:gd name="connsiteY3573" fmla="*/ 2845267 h 8562303"/>
                <a:gd name="connsiteX3574" fmla="*/ 7347511 w 8622239"/>
                <a:gd name="connsiteY3574" fmla="*/ 2850787 h 8562303"/>
                <a:gd name="connsiteX3575" fmla="*/ 7459120 w 8622239"/>
                <a:gd name="connsiteY3575" fmla="*/ 2842507 h 8562303"/>
                <a:gd name="connsiteX3576" fmla="*/ 7491377 w 8622239"/>
                <a:gd name="connsiteY3576" fmla="*/ 2848027 h 8562303"/>
                <a:gd name="connsiteX3577" fmla="*/ 7544335 w 8622239"/>
                <a:gd name="connsiteY3577" fmla="*/ 2888910 h 8562303"/>
                <a:gd name="connsiteX3578" fmla="*/ 7572453 w 8622239"/>
                <a:gd name="connsiteY3578" fmla="*/ 2908920 h 8562303"/>
                <a:gd name="connsiteX3579" fmla="*/ 7581596 w 8622239"/>
                <a:gd name="connsiteY3579" fmla="*/ 2916338 h 8562303"/>
                <a:gd name="connsiteX3580" fmla="*/ 7584183 w 8622239"/>
                <a:gd name="connsiteY3580" fmla="*/ 2918753 h 8562303"/>
                <a:gd name="connsiteX3581" fmla="*/ 7584528 w 8622239"/>
                <a:gd name="connsiteY3581" fmla="*/ 2919098 h 8562303"/>
                <a:gd name="connsiteX3582" fmla="*/ 7653701 w 8622239"/>
                <a:gd name="connsiteY3582" fmla="*/ 2956013 h 8562303"/>
                <a:gd name="connsiteX3583" fmla="*/ 7654046 w 8622239"/>
                <a:gd name="connsiteY3583" fmla="*/ 2956013 h 8562303"/>
                <a:gd name="connsiteX3584" fmla="*/ 7689754 w 8622239"/>
                <a:gd name="connsiteY3584" fmla="*/ 2939798 h 8562303"/>
                <a:gd name="connsiteX3585" fmla="*/ 7728566 w 8622239"/>
                <a:gd name="connsiteY3585" fmla="*/ 2920650 h 8562303"/>
                <a:gd name="connsiteX3586" fmla="*/ 7731499 w 8622239"/>
                <a:gd name="connsiteY3586" fmla="*/ 2920133 h 8562303"/>
                <a:gd name="connsiteX3587" fmla="*/ 7732017 w 8622239"/>
                <a:gd name="connsiteY3587" fmla="*/ 2920823 h 8562303"/>
                <a:gd name="connsiteX3588" fmla="*/ 7733224 w 8622239"/>
                <a:gd name="connsiteY3588" fmla="*/ 2920305 h 8562303"/>
                <a:gd name="connsiteX3589" fmla="*/ 7768587 w 8622239"/>
                <a:gd name="connsiteY3589" fmla="*/ 2945145 h 8562303"/>
                <a:gd name="connsiteX3590" fmla="*/ 7780490 w 8622239"/>
                <a:gd name="connsiteY3590" fmla="*/ 2938418 h 8562303"/>
                <a:gd name="connsiteX3591" fmla="*/ 7782042 w 8622239"/>
                <a:gd name="connsiteY3591" fmla="*/ 2938073 h 8562303"/>
                <a:gd name="connsiteX3592" fmla="*/ 7796532 w 8622239"/>
                <a:gd name="connsiteY3592" fmla="*/ 2945145 h 8562303"/>
                <a:gd name="connsiteX3593" fmla="*/ 7804294 w 8622239"/>
                <a:gd name="connsiteY3593" fmla="*/ 2955323 h 8562303"/>
                <a:gd name="connsiteX3594" fmla="*/ 7840520 w 8622239"/>
                <a:gd name="connsiteY3594" fmla="*/ 2979473 h 8562303"/>
                <a:gd name="connsiteX3595" fmla="*/ 7884508 w 8622239"/>
                <a:gd name="connsiteY3595" fmla="*/ 2961878 h 8562303"/>
                <a:gd name="connsiteX3596" fmla="*/ 7942813 w 8622239"/>
                <a:gd name="connsiteY3596" fmla="*/ 2910817 h 8562303"/>
                <a:gd name="connsiteX3597" fmla="*/ 8004913 w 8622239"/>
                <a:gd name="connsiteY3597" fmla="*/ 2877697 h 8562303"/>
                <a:gd name="connsiteX3598" fmla="*/ 8059424 w 8622239"/>
                <a:gd name="connsiteY3598" fmla="*/ 2863897 h 8562303"/>
                <a:gd name="connsiteX3599" fmla="*/ 8061839 w 8622239"/>
                <a:gd name="connsiteY3599" fmla="*/ 2864242 h 8562303"/>
                <a:gd name="connsiteX3600" fmla="*/ 8062701 w 8622239"/>
                <a:gd name="connsiteY3600" fmla="*/ 2868900 h 8562303"/>
                <a:gd name="connsiteX3601" fmla="*/ 8069947 w 8622239"/>
                <a:gd name="connsiteY3601" fmla="*/ 2903055 h 8562303"/>
                <a:gd name="connsiteX3602" fmla="*/ 8064771 w 8622239"/>
                <a:gd name="connsiteY3602" fmla="*/ 2911508 h 8562303"/>
                <a:gd name="connsiteX3603" fmla="*/ 8035274 w 8622239"/>
                <a:gd name="connsiteY3603" fmla="*/ 2968260 h 8562303"/>
                <a:gd name="connsiteX3604" fmla="*/ 8008881 w 8622239"/>
                <a:gd name="connsiteY3604" fmla="*/ 3012421 h 8562303"/>
                <a:gd name="connsiteX3605" fmla="*/ 8014401 w 8622239"/>
                <a:gd name="connsiteY3605" fmla="*/ 3027773 h 8562303"/>
                <a:gd name="connsiteX3606" fmla="*/ 8024923 w 8622239"/>
                <a:gd name="connsiteY3606" fmla="*/ 3056926 h 8562303"/>
                <a:gd name="connsiteX3607" fmla="*/ 8056319 w 8622239"/>
                <a:gd name="connsiteY3607" fmla="*/ 3082284 h 8562303"/>
                <a:gd name="connsiteX3608" fmla="*/ 8086334 w 8622239"/>
                <a:gd name="connsiteY3608" fmla="*/ 3084354 h 8562303"/>
                <a:gd name="connsiteX3609" fmla="*/ 8088232 w 8622239"/>
                <a:gd name="connsiteY3609" fmla="*/ 3084354 h 8562303"/>
                <a:gd name="connsiteX3610" fmla="*/ 8178450 w 8622239"/>
                <a:gd name="connsiteY3610" fmla="*/ 3015008 h 8562303"/>
                <a:gd name="connsiteX3611" fmla="*/ 8213813 w 8622239"/>
                <a:gd name="connsiteY3611" fmla="*/ 2979473 h 8562303"/>
                <a:gd name="connsiteX3612" fmla="*/ 8283675 w 8622239"/>
                <a:gd name="connsiteY3612" fmla="*/ 3001553 h 8562303"/>
                <a:gd name="connsiteX3613" fmla="*/ 8320246 w 8622239"/>
                <a:gd name="connsiteY3613" fmla="*/ 3004141 h 8562303"/>
                <a:gd name="connsiteX3614" fmla="*/ 8384589 w 8622239"/>
                <a:gd name="connsiteY3614" fmla="*/ 2986373 h 8562303"/>
                <a:gd name="connsiteX3615" fmla="*/ 8394593 w 8622239"/>
                <a:gd name="connsiteY3615" fmla="*/ 2981888 h 8562303"/>
                <a:gd name="connsiteX3616" fmla="*/ 8406324 w 8622239"/>
                <a:gd name="connsiteY3616" fmla="*/ 2983958 h 8562303"/>
                <a:gd name="connsiteX3617" fmla="*/ 8420468 w 8622239"/>
                <a:gd name="connsiteY3617" fmla="*/ 2972055 h 8562303"/>
                <a:gd name="connsiteX3618" fmla="*/ 8472047 w 8622239"/>
                <a:gd name="connsiteY3618" fmla="*/ 2912888 h 8562303"/>
                <a:gd name="connsiteX3619" fmla="*/ 8485847 w 8622239"/>
                <a:gd name="connsiteY3619" fmla="*/ 2911852 h 8562303"/>
                <a:gd name="connsiteX3620" fmla="*/ 8593487 w 8622239"/>
                <a:gd name="connsiteY3620" fmla="*/ 2971366 h 8562303"/>
                <a:gd name="connsiteX3621" fmla="*/ 8586415 w 8622239"/>
                <a:gd name="connsiteY3621" fmla="*/ 3022426 h 8562303"/>
                <a:gd name="connsiteX3622" fmla="*/ 8598490 w 8622239"/>
                <a:gd name="connsiteY3622" fmla="*/ 2948250 h 8562303"/>
                <a:gd name="connsiteX3623" fmla="*/ 8597800 w 8622239"/>
                <a:gd name="connsiteY3623" fmla="*/ 2951355 h 8562303"/>
                <a:gd name="connsiteX3624" fmla="*/ 8485502 w 8622239"/>
                <a:gd name="connsiteY3624" fmla="*/ 2894947 h 8562303"/>
                <a:gd name="connsiteX3625" fmla="*/ 8469287 w 8622239"/>
                <a:gd name="connsiteY3625" fmla="*/ 2895982 h 8562303"/>
                <a:gd name="connsiteX3626" fmla="*/ 8404254 w 8622239"/>
                <a:gd name="connsiteY3626" fmla="*/ 2966363 h 8562303"/>
                <a:gd name="connsiteX3627" fmla="*/ 8404254 w 8622239"/>
                <a:gd name="connsiteY3627" fmla="*/ 2966535 h 8562303"/>
                <a:gd name="connsiteX3628" fmla="*/ 8394076 w 8622239"/>
                <a:gd name="connsiteY3628" fmla="*/ 2964810 h 8562303"/>
                <a:gd name="connsiteX3629" fmla="*/ 8373721 w 8622239"/>
                <a:gd name="connsiteY3629" fmla="*/ 2973090 h 8562303"/>
                <a:gd name="connsiteX3630" fmla="*/ 8319901 w 8622239"/>
                <a:gd name="connsiteY3630" fmla="*/ 2987063 h 8562303"/>
                <a:gd name="connsiteX3631" fmla="*/ 8285573 w 8622239"/>
                <a:gd name="connsiteY3631" fmla="*/ 2984476 h 8562303"/>
                <a:gd name="connsiteX3632" fmla="*/ 8213813 w 8622239"/>
                <a:gd name="connsiteY3632" fmla="*/ 2962395 h 8562303"/>
                <a:gd name="connsiteX3633" fmla="*/ 8162924 w 8622239"/>
                <a:gd name="connsiteY3633" fmla="*/ 3008453 h 8562303"/>
                <a:gd name="connsiteX3634" fmla="*/ 8085989 w 8622239"/>
                <a:gd name="connsiteY3634" fmla="*/ 3067103 h 8562303"/>
                <a:gd name="connsiteX3635" fmla="*/ 8057354 w 8622239"/>
                <a:gd name="connsiteY3635" fmla="*/ 3065034 h 8562303"/>
                <a:gd name="connsiteX3636" fmla="*/ 8040276 w 8622239"/>
                <a:gd name="connsiteY3636" fmla="*/ 3051233 h 8562303"/>
                <a:gd name="connsiteX3637" fmla="*/ 8027339 w 8622239"/>
                <a:gd name="connsiteY3637" fmla="*/ 3017251 h 8562303"/>
                <a:gd name="connsiteX3638" fmla="*/ 8025269 w 8622239"/>
                <a:gd name="connsiteY3638" fmla="*/ 3012593 h 8562303"/>
                <a:gd name="connsiteX3639" fmla="*/ 8050799 w 8622239"/>
                <a:gd name="connsiteY3639" fmla="*/ 2974298 h 8562303"/>
                <a:gd name="connsiteX3640" fmla="*/ 8076847 w 8622239"/>
                <a:gd name="connsiteY3640" fmla="*/ 2923238 h 8562303"/>
                <a:gd name="connsiteX3641" fmla="*/ 8086507 w 8622239"/>
                <a:gd name="connsiteY3641" fmla="*/ 2903055 h 8562303"/>
                <a:gd name="connsiteX3642" fmla="*/ 8079089 w 8622239"/>
                <a:gd name="connsiteY3642" fmla="*/ 2868900 h 8562303"/>
                <a:gd name="connsiteX3643" fmla="*/ 8073742 w 8622239"/>
                <a:gd name="connsiteY3643" fmla="*/ 2852167 h 8562303"/>
                <a:gd name="connsiteX3644" fmla="*/ 8059424 w 8622239"/>
                <a:gd name="connsiteY3644" fmla="*/ 2846475 h 8562303"/>
                <a:gd name="connsiteX3645" fmla="*/ 8003534 w 8622239"/>
                <a:gd name="connsiteY3645" fmla="*/ 2860275 h 8562303"/>
                <a:gd name="connsiteX3646" fmla="*/ 7932290 w 8622239"/>
                <a:gd name="connsiteY3646" fmla="*/ 2897190 h 8562303"/>
                <a:gd name="connsiteX3647" fmla="*/ 7873813 w 8622239"/>
                <a:gd name="connsiteY3647" fmla="*/ 2948423 h 8562303"/>
                <a:gd name="connsiteX3648" fmla="*/ 7840692 w 8622239"/>
                <a:gd name="connsiteY3648" fmla="*/ 2961878 h 8562303"/>
                <a:gd name="connsiteX3649" fmla="*/ 7824650 w 8622239"/>
                <a:gd name="connsiteY3649" fmla="*/ 2958255 h 8562303"/>
                <a:gd name="connsiteX3650" fmla="*/ 7821200 w 8622239"/>
                <a:gd name="connsiteY3650" fmla="*/ 2955495 h 8562303"/>
                <a:gd name="connsiteX3651" fmla="*/ 7820855 w 8622239"/>
                <a:gd name="connsiteY3651" fmla="*/ 2955323 h 8562303"/>
                <a:gd name="connsiteX3652" fmla="*/ 7782042 w 8622239"/>
                <a:gd name="connsiteY3652" fmla="*/ 2920650 h 8562303"/>
                <a:gd name="connsiteX3653" fmla="*/ 7767552 w 8622239"/>
                <a:gd name="connsiteY3653" fmla="*/ 2927723 h 8562303"/>
                <a:gd name="connsiteX3654" fmla="*/ 7753062 w 8622239"/>
                <a:gd name="connsiteY3654" fmla="*/ 2916683 h 8562303"/>
                <a:gd name="connsiteX3655" fmla="*/ 7747369 w 8622239"/>
                <a:gd name="connsiteY3655" fmla="*/ 2910473 h 8562303"/>
                <a:gd name="connsiteX3656" fmla="*/ 7746679 w 8622239"/>
                <a:gd name="connsiteY3656" fmla="*/ 2911162 h 8562303"/>
                <a:gd name="connsiteX3657" fmla="*/ 7742022 w 8622239"/>
                <a:gd name="connsiteY3657" fmla="*/ 2905470 h 8562303"/>
                <a:gd name="connsiteX3658" fmla="*/ 7743229 w 8622239"/>
                <a:gd name="connsiteY3658" fmla="*/ 2904435 h 8562303"/>
                <a:gd name="connsiteX3659" fmla="*/ 7749267 w 8622239"/>
                <a:gd name="connsiteY3659" fmla="*/ 2911335 h 8562303"/>
                <a:gd name="connsiteX3660" fmla="*/ 7756512 w 8622239"/>
                <a:gd name="connsiteY3660" fmla="*/ 2888565 h 8562303"/>
                <a:gd name="connsiteX3661" fmla="*/ 7742194 w 8622239"/>
                <a:gd name="connsiteY3661" fmla="*/ 2770401 h 8562303"/>
                <a:gd name="connsiteX3662" fmla="*/ 7745126 w 8622239"/>
                <a:gd name="connsiteY3662" fmla="*/ 2724689 h 8562303"/>
                <a:gd name="connsiteX3663" fmla="*/ 7766517 w 8622239"/>
                <a:gd name="connsiteY3663" fmla="*/ 2659656 h 8562303"/>
                <a:gd name="connsiteX3664" fmla="*/ 7776349 w 8622239"/>
                <a:gd name="connsiteY3664" fmla="*/ 2650685 h 8562303"/>
                <a:gd name="connsiteX3665" fmla="*/ 7779627 w 8622239"/>
                <a:gd name="connsiteY3665" fmla="*/ 2647408 h 8562303"/>
                <a:gd name="connsiteX3666" fmla="*/ 7863463 w 8622239"/>
                <a:gd name="connsiteY3666" fmla="*/ 2678803 h 8562303"/>
                <a:gd name="connsiteX3667" fmla="*/ 7887785 w 8622239"/>
                <a:gd name="connsiteY3667" fmla="*/ 2670178 h 8562303"/>
                <a:gd name="connsiteX3668" fmla="*/ 7953336 w 8622239"/>
                <a:gd name="connsiteY3668" fmla="*/ 2608250 h 8562303"/>
                <a:gd name="connsiteX3669" fmla="*/ 8024751 w 8622239"/>
                <a:gd name="connsiteY3669" fmla="*/ 2584445 h 8562303"/>
                <a:gd name="connsiteX3670" fmla="*/ 8034756 w 8622239"/>
                <a:gd name="connsiteY3670" fmla="*/ 2585480 h 8562303"/>
                <a:gd name="connsiteX3671" fmla="*/ 8035101 w 8622239"/>
                <a:gd name="connsiteY3671" fmla="*/ 2585653 h 8562303"/>
                <a:gd name="connsiteX3672" fmla="*/ 8043554 w 8622239"/>
                <a:gd name="connsiteY3672" fmla="*/ 2615323 h 8562303"/>
                <a:gd name="connsiteX3673" fmla="*/ 8034239 w 8622239"/>
                <a:gd name="connsiteY3673" fmla="*/ 2625500 h 8562303"/>
                <a:gd name="connsiteX3674" fmla="*/ 7990078 w 8622239"/>
                <a:gd name="connsiteY3674" fmla="*/ 2696053 h 8562303"/>
                <a:gd name="connsiteX3675" fmla="*/ 8045624 w 8622239"/>
                <a:gd name="connsiteY3675" fmla="*/ 2758844 h 8562303"/>
                <a:gd name="connsiteX3676" fmla="*/ 8111692 w 8622239"/>
                <a:gd name="connsiteY3676" fmla="*/ 2743836 h 8562303"/>
                <a:gd name="connsiteX3677" fmla="*/ 8118074 w 8622239"/>
                <a:gd name="connsiteY3677" fmla="*/ 2746769 h 8562303"/>
                <a:gd name="connsiteX3678" fmla="*/ 8182072 w 8622239"/>
                <a:gd name="connsiteY3678" fmla="*/ 2813009 h 8562303"/>
                <a:gd name="connsiteX3679" fmla="*/ 8182417 w 8622239"/>
                <a:gd name="connsiteY3679" fmla="*/ 2813009 h 8562303"/>
                <a:gd name="connsiteX3680" fmla="*/ 8209155 w 8622239"/>
                <a:gd name="connsiteY3680" fmla="*/ 2785064 h 8562303"/>
                <a:gd name="connsiteX3681" fmla="*/ 8220713 w 8622239"/>
                <a:gd name="connsiteY3681" fmla="*/ 2694328 h 8562303"/>
                <a:gd name="connsiteX3682" fmla="*/ 8251073 w 8622239"/>
                <a:gd name="connsiteY3682" fmla="*/ 2679321 h 8562303"/>
                <a:gd name="connsiteX3683" fmla="*/ 8309896 w 8622239"/>
                <a:gd name="connsiteY3683" fmla="*/ 2690878 h 8562303"/>
                <a:gd name="connsiteX3684" fmla="*/ 8392523 w 8622239"/>
                <a:gd name="connsiteY3684" fmla="*/ 2707093 h 8562303"/>
                <a:gd name="connsiteX3685" fmla="*/ 8417881 w 8622239"/>
                <a:gd name="connsiteY3685" fmla="*/ 2704678 h 8562303"/>
                <a:gd name="connsiteX3686" fmla="*/ 8556917 w 8622239"/>
                <a:gd name="connsiteY3686" fmla="*/ 2708646 h 8562303"/>
                <a:gd name="connsiteX3687" fmla="*/ 8558297 w 8622239"/>
                <a:gd name="connsiteY3687" fmla="*/ 2720376 h 8562303"/>
                <a:gd name="connsiteX3688" fmla="*/ 8578825 w 8622239"/>
                <a:gd name="connsiteY3688" fmla="*/ 2805419 h 8562303"/>
                <a:gd name="connsiteX3689" fmla="*/ 8598490 w 8622239"/>
                <a:gd name="connsiteY3689" fmla="*/ 2948250 h 856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</a:cxnLst>
              <a:rect l="l" t="t" r="r" b="b"/>
              <a:pathLst>
                <a:path w="8622239" h="8562303">
                  <a:moveTo>
                    <a:pt x="8598490" y="2798347"/>
                  </a:moveTo>
                  <a:cubicBezTo>
                    <a:pt x="8589693" y="2769539"/>
                    <a:pt x="8581412" y="2742284"/>
                    <a:pt x="8578997" y="2717444"/>
                  </a:cubicBezTo>
                  <a:cubicBezTo>
                    <a:pt x="8575030" y="2676561"/>
                    <a:pt x="8563299" y="2617565"/>
                    <a:pt x="8553812" y="2570300"/>
                  </a:cubicBezTo>
                  <a:cubicBezTo>
                    <a:pt x="8546912" y="2535455"/>
                    <a:pt x="8540357" y="2502680"/>
                    <a:pt x="8538805" y="2486809"/>
                  </a:cubicBezTo>
                  <a:cubicBezTo>
                    <a:pt x="8535010" y="2446962"/>
                    <a:pt x="8489469" y="2415739"/>
                    <a:pt x="8458592" y="2406424"/>
                  </a:cubicBezTo>
                  <a:cubicBezTo>
                    <a:pt x="8433579" y="2399006"/>
                    <a:pt x="8370789" y="2390899"/>
                    <a:pt x="8338013" y="2390899"/>
                  </a:cubicBezTo>
                  <a:cubicBezTo>
                    <a:pt x="8331459" y="2391071"/>
                    <a:pt x="8323868" y="2391761"/>
                    <a:pt x="8315243" y="2392796"/>
                  </a:cubicBezTo>
                  <a:cubicBezTo>
                    <a:pt x="8303858" y="2394004"/>
                    <a:pt x="8289713" y="2395556"/>
                    <a:pt x="8274878" y="2395556"/>
                  </a:cubicBezTo>
                  <a:cubicBezTo>
                    <a:pt x="8255213" y="2395556"/>
                    <a:pt x="8238825" y="2392796"/>
                    <a:pt x="8224508" y="2387104"/>
                  </a:cubicBezTo>
                  <a:lnTo>
                    <a:pt x="8211052" y="2381756"/>
                  </a:lnTo>
                  <a:cubicBezTo>
                    <a:pt x="8173102" y="2366749"/>
                    <a:pt x="8137395" y="2352776"/>
                    <a:pt x="8132565" y="2319828"/>
                  </a:cubicBezTo>
                  <a:cubicBezTo>
                    <a:pt x="8128597" y="2293090"/>
                    <a:pt x="8098064" y="2283085"/>
                    <a:pt x="8070982" y="2274460"/>
                  </a:cubicBezTo>
                  <a:cubicBezTo>
                    <a:pt x="8043036" y="2265318"/>
                    <a:pt x="8024406" y="2258245"/>
                    <a:pt x="8024233" y="2244445"/>
                  </a:cubicBezTo>
                  <a:cubicBezTo>
                    <a:pt x="8023198" y="2194247"/>
                    <a:pt x="7987318" y="2183207"/>
                    <a:pt x="7974036" y="2183207"/>
                  </a:cubicBezTo>
                  <a:cubicBezTo>
                    <a:pt x="7966101" y="2181310"/>
                    <a:pt x="7940053" y="2147844"/>
                    <a:pt x="7918145" y="2119382"/>
                  </a:cubicBezTo>
                  <a:cubicBezTo>
                    <a:pt x="7890373" y="2083329"/>
                    <a:pt x="7805502" y="1990523"/>
                    <a:pt x="7761514" y="1974308"/>
                  </a:cubicBezTo>
                  <a:cubicBezTo>
                    <a:pt x="7739261" y="1966201"/>
                    <a:pt x="7686476" y="1928078"/>
                    <a:pt x="7639211" y="1893923"/>
                  </a:cubicBezTo>
                  <a:cubicBezTo>
                    <a:pt x="7602813" y="1867702"/>
                    <a:pt x="7568658" y="1842862"/>
                    <a:pt x="7548475" y="1831822"/>
                  </a:cubicBezTo>
                  <a:cubicBezTo>
                    <a:pt x="7528638" y="1820955"/>
                    <a:pt x="7481890" y="1815607"/>
                    <a:pt x="7406162" y="1815607"/>
                  </a:cubicBezTo>
                  <a:cubicBezTo>
                    <a:pt x="7322498" y="1815607"/>
                    <a:pt x="7277303" y="1822680"/>
                    <a:pt x="7258845" y="1839930"/>
                  </a:cubicBezTo>
                  <a:cubicBezTo>
                    <a:pt x="7254015" y="1847002"/>
                    <a:pt x="7237455" y="1847347"/>
                    <a:pt x="7226588" y="1847865"/>
                  </a:cubicBezTo>
                  <a:cubicBezTo>
                    <a:pt x="7221930" y="1847002"/>
                    <a:pt x="7206578" y="1832685"/>
                    <a:pt x="7197090" y="1823887"/>
                  </a:cubicBezTo>
                  <a:cubicBezTo>
                    <a:pt x="7184153" y="1811812"/>
                    <a:pt x="7169145" y="1797839"/>
                    <a:pt x="7155690" y="1790594"/>
                  </a:cubicBezTo>
                  <a:lnTo>
                    <a:pt x="7151722" y="1789732"/>
                  </a:lnTo>
                  <a:cubicBezTo>
                    <a:pt x="7139992" y="1789732"/>
                    <a:pt x="7123087" y="1790939"/>
                    <a:pt x="7099282" y="1793009"/>
                  </a:cubicBezTo>
                  <a:cubicBezTo>
                    <a:pt x="7081514" y="1793009"/>
                    <a:pt x="7068059" y="1784039"/>
                    <a:pt x="7052189" y="1773517"/>
                  </a:cubicBezTo>
                  <a:cubicBezTo>
                    <a:pt x="7036146" y="1762822"/>
                    <a:pt x="7018034" y="1750747"/>
                    <a:pt x="6989916" y="1750747"/>
                  </a:cubicBezTo>
                  <a:cubicBezTo>
                    <a:pt x="6948516" y="1750747"/>
                    <a:pt x="6879343" y="1708311"/>
                    <a:pt x="6842255" y="1685714"/>
                  </a:cubicBezTo>
                  <a:lnTo>
                    <a:pt x="6836045" y="1681918"/>
                  </a:lnTo>
                  <a:lnTo>
                    <a:pt x="6833285" y="1681918"/>
                  </a:lnTo>
                  <a:cubicBezTo>
                    <a:pt x="6821900" y="1681918"/>
                    <a:pt x="6810860" y="1685886"/>
                    <a:pt x="6798957" y="1690199"/>
                  </a:cubicBezTo>
                  <a:cubicBezTo>
                    <a:pt x="6788779" y="1693821"/>
                    <a:pt x="6777912" y="1697961"/>
                    <a:pt x="6768080" y="1698134"/>
                  </a:cubicBezTo>
                  <a:cubicBezTo>
                    <a:pt x="6750312" y="1698479"/>
                    <a:pt x="6736684" y="1705206"/>
                    <a:pt x="6725472" y="1710726"/>
                  </a:cubicBezTo>
                  <a:cubicBezTo>
                    <a:pt x="6716674" y="1714694"/>
                    <a:pt x="6709257" y="1718489"/>
                    <a:pt x="6701494" y="1718661"/>
                  </a:cubicBezTo>
                  <a:cubicBezTo>
                    <a:pt x="6679586" y="1719006"/>
                    <a:pt x="6649399" y="1719869"/>
                    <a:pt x="6621281" y="1729184"/>
                  </a:cubicBezTo>
                  <a:cubicBezTo>
                    <a:pt x="6612829" y="1731944"/>
                    <a:pt x="6607481" y="1736256"/>
                    <a:pt x="6604893" y="1741776"/>
                  </a:cubicBezTo>
                  <a:cubicBezTo>
                    <a:pt x="6600926" y="1750574"/>
                    <a:pt x="6604548" y="1759544"/>
                    <a:pt x="6608516" y="1768859"/>
                  </a:cubicBezTo>
                  <a:cubicBezTo>
                    <a:pt x="6611966" y="1776967"/>
                    <a:pt x="6615761" y="1786109"/>
                    <a:pt x="6615933" y="1796977"/>
                  </a:cubicBezTo>
                  <a:cubicBezTo>
                    <a:pt x="6616106" y="1800254"/>
                    <a:pt x="6615589" y="1802497"/>
                    <a:pt x="6614381" y="1803532"/>
                  </a:cubicBezTo>
                  <a:cubicBezTo>
                    <a:pt x="6611103" y="1806809"/>
                    <a:pt x="6599891" y="1806982"/>
                    <a:pt x="6589713" y="1807154"/>
                  </a:cubicBezTo>
                  <a:cubicBezTo>
                    <a:pt x="6575568" y="1807327"/>
                    <a:pt x="6559871" y="1807499"/>
                    <a:pt x="6544518" y="1814054"/>
                  </a:cubicBezTo>
                  <a:cubicBezTo>
                    <a:pt x="6541585" y="1815262"/>
                    <a:pt x="6538825" y="1816642"/>
                    <a:pt x="6536065" y="1818194"/>
                  </a:cubicBezTo>
                  <a:cubicBezTo>
                    <a:pt x="6538481" y="1813019"/>
                    <a:pt x="6538653" y="1803704"/>
                    <a:pt x="6532788" y="1785592"/>
                  </a:cubicBezTo>
                  <a:cubicBezTo>
                    <a:pt x="6528303" y="1771102"/>
                    <a:pt x="6521230" y="1754197"/>
                    <a:pt x="6512088" y="1746952"/>
                  </a:cubicBezTo>
                  <a:cubicBezTo>
                    <a:pt x="6515365" y="1737981"/>
                    <a:pt x="6524853" y="1718316"/>
                    <a:pt x="6536755" y="1703999"/>
                  </a:cubicBezTo>
                  <a:cubicBezTo>
                    <a:pt x="6550383" y="1687611"/>
                    <a:pt x="6534685" y="1673638"/>
                    <a:pt x="6526060" y="1666048"/>
                  </a:cubicBezTo>
                  <a:cubicBezTo>
                    <a:pt x="6523300" y="1663461"/>
                    <a:pt x="6518298" y="1659148"/>
                    <a:pt x="6517780" y="1658631"/>
                  </a:cubicBezTo>
                  <a:cubicBezTo>
                    <a:pt x="6517780" y="1658631"/>
                    <a:pt x="6519505" y="1655353"/>
                    <a:pt x="6531580" y="1650868"/>
                  </a:cubicBezTo>
                  <a:cubicBezTo>
                    <a:pt x="6556075" y="1641726"/>
                    <a:pt x="6563321" y="1624993"/>
                    <a:pt x="6565218" y="1612918"/>
                  </a:cubicBezTo>
                  <a:cubicBezTo>
                    <a:pt x="6569186" y="1586525"/>
                    <a:pt x="6550728" y="1553750"/>
                    <a:pt x="6529855" y="1536155"/>
                  </a:cubicBezTo>
                  <a:cubicBezTo>
                    <a:pt x="6526923" y="1519250"/>
                    <a:pt x="6509328" y="1508382"/>
                    <a:pt x="6477242" y="1488545"/>
                  </a:cubicBezTo>
                  <a:cubicBezTo>
                    <a:pt x="6473447" y="1476814"/>
                    <a:pt x="6457405" y="1462152"/>
                    <a:pt x="6425492" y="1462152"/>
                  </a:cubicBezTo>
                  <a:cubicBezTo>
                    <a:pt x="6400824" y="1463014"/>
                    <a:pt x="6392372" y="1468707"/>
                    <a:pt x="6390992" y="1486475"/>
                  </a:cubicBezTo>
                  <a:cubicBezTo>
                    <a:pt x="6390819" y="1488200"/>
                    <a:pt x="6390647" y="1490097"/>
                    <a:pt x="6390302" y="1491822"/>
                  </a:cubicBezTo>
                  <a:cubicBezTo>
                    <a:pt x="6389094" y="1498205"/>
                    <a:pt x="6381504" y="1509072"/>
                    <a:pt x="6374432" y="1511832"/>
                  </a:cubicBezTo>
                  <a:cubicBezTo>
                    <a:pt x="6369602" y="1497342"/>
                    <a:pt x="6356319" y="1461289"/>
                    <a:pt x="6339241" y="1439037"/>
                  </a:cubicBezTo>
                  <a:lnTo>
                    <a:pt x="6335619" y="1435759"/>
                  </a:lnTo>
                  <a:lnTo>
                    <a:pt x="6331997" y="1435759"/>
                  </a:lnTo>
                  <a:cubicBezTo>
                    <a:pt x="6325096" y="1435759"/>
                    <a:pt x="6316989" y="1436794"/>
                    <a:pt x="6308536" y="1437657"/>
                  </a:cubicBezTo>
                  <a:cubicBezTo>
                    <a:pt x="6301463" y="1438519"/>
                    <a:pt x="6294046" y="1439382"/>
                    <a:pt x="6287664" y="1439554"/>
                  </a:cubicBezTo>
                  <a:cubicBezTo>
                    <a:pt x="6277831" y="1439554"/>
                    <a:pt x="6268516" y="1427997"/>
                    <a:pt x="6259891" y="1417647"/>
                  </a:cubicBezTo>
                  <a:cubicBezTo>
                    <a:pt x="6252818" y="1408849"/>
                    <a:pt x="6246091" y="1400569"/>
                    <a:pt x="6237638" y="1396774"/>
                  </a:cubicBezTo>
                  <a:cubicBezTo>
                    <a:pt x="6232980" y="1394704"/>
                    <a:pt x="6227633" y="1392979"/>
                    <a:pt x="6222458" y="1391426"/>
                  </a:cubicBezTo>
                  <a:cubicBezTo>
                    <a:pt x="6208140" y="1387114"/>
                    <a:pt x="6199343" y="1384009"/>
                    <a:pt x="6196410" y="1372279"/>
                  </a:cubicBezTo>
                  <a:cubicBezTo>
                    <a:pt x="6190373" y="1347956"/>
                    <a:pt x="6153113" y="1347611"/>
                    <a:pt x="6116887" y="1348301"/>
                  </a:cubicBezTo>
                  <a:cubicBezTo>
                    <a:pt x="6105502" y="1348301"/>
                    <a:pt x="6062894" y="1329326"/>
                    <a:pt x="6053925" y="1318803"/>
                  </a:cubicBezTo>
                  <a:cubicBezTo>
                    <a:pt x="6045472" y="1308626"/>
                    <a:pt x="6014594" y="1299138"/>
                    <a:pt x="5964914" y="1284821"/>
                  </a:cubicBezTo>
                  <a:lnTo>
                    <a:pt x="5962499" y="1284131"/>
                  </a:lnTo>
                  <a:cubicBezTo>
                    <a:pt x="5944386" y="1278956"/>
                    <a:pt x="5927481" y="1274126"/>
                    <a:pt x="5915751" y="1269986"/>
                  </a:cubicBezTo>
                  <a:lnTo>
                    <a:pt x="5911783" y="1269123"/>
                  </a:lnTo>
                  <a:cubicBezTo>
                    <a:pt x="5904711" y="1269123"/>
                    <a:pt x="5897120" y="1270158"/>
                    <a:pt x="5886425" y="1271711"/>
                  </a:cubicBezTo>
                  <a:cubicBezTo>
                    <a:pt x="5871073" y="1273781"/>
                    <a:pt x="5850373" y="1277058"/>
                    <a:pt x="5817080" y="1278956"/>
                  </a:cubicBezTo>
                  <a:cubicBezTo>
                    <a:pt x="5725482" y="1284303"/>
                    <a:pt x="5708059" y="1388149"/>
                    <a:pt x="5708232" y="1408504"/>
                  </a:cubicBezTo>
                  <a:cubicBezTo>
                    <a:pt x="5708577" y="1429894"/>
                    <a:pt x="5704782" y="1466982"/>
                    <a:pt x="5676319" y="1479057"/>
                  </a:cubicBezTo>
                  <a:cubicBezTo>
                    <a:pt x="5666486" y="1477160"/>
                    <a:pt x="5658551" y="1457667"/>
                    <a:pt x="5655447" y="1439727"/>
                  </a:cubicBezTo>
                  <a:lnTo>
                    <a:pt x="5653549" y="1431964"/>
                  </a:lnTo>
                  <a:lnTo>
                    <a:pt x="5646649" y="1431964"/>
                  </a:lnTo>
                  <a:cubicBezTo>
                    <a:pt x="5639231" y="1431964"/>
                    <a:pt x="5628709" y="1439899"/>
                    <a:pt x="5614909" y="1456114"/>
                  </a:cubicBezTo>
                  <a:cubicBezTo>
                    <a:pt x="5611458" y="1460944"/>
                    <a:pt x="5579891" y="1504242"/>
                    <a:pt x="5527106" y="1529945"/>
                  </a:cubicBezTo>
                  <a:cubicBezTo>
                    <a:pt x="5511063" y="1535120"/>
                    <a:pt x="5496228" y="1563065"/>
                    <a:pt x="5477425" y="1623613"/>
                  </a:cubicBezTo>
                  <a:lnTo>
                    <a:pt x="5476735" y="1625683"/>
                  </a:lnTo>
                  <a:cubicBezTo>
                    <a:pt x="5475183" y="1630858"/>
                    <a:pt x="5468800" y="1638276"/>
                    <a:pt x="5459658" y="1646383"/>
                  </a:cubicBezTo>
                  <a:cubicBezTo>
                    <a:pt x="5462590" y="1629823"/>
                    <a:pt x="5469662" y="1602050"/>
                    <a:pt x="5487603" y="1560133"/>
                  </a:cubicBezTo>
                  <a:cubicBezTo>
                    <a:pt x="5498470" y="1534947"/>
                    <a:pt x="5500023" y="1517525"/>
                    <a:pt x="5492777" y="1506312"/>
                  </a:cubicBezTo>
                  <a:cubicBezTo>
                    <a:pt x="5489328" y="1501482"/>
                    <a:pt x="5482255" y="1495272"/>
                    <a:pt x="5468627" y="1495272"/>
                  </a:cubicBezTo>
                  <a:cubicBezTo>
                    <a:pt x="5458967" y="1495272"/>
                    <a:pt x="5448790" y="1498205"/>
                    <a:pt x="5434990" y="1502172"/>
                  </a:cubicBezTo>
                  <a:cubicBezTo>
                    <a:pt x="5424122" y="1505450"/>
                    <a:pt x="5410667" y="1509072"/>
                    <a:pt x="5393244" y="1512350"/>
                  </a:cubicBezTo>
                  <a:lnTo>
                    <a:pt x="5390312" y="1513040"/>
                  </a:lnTo>
                  <a:cubicBezTo>
                    <a:pt x="5358744" y="1519077"/>
                    <a:pt x="5337182" y="1523045"/>
                    <a:pt x="5326487" y="1524942"/>
                  </a:cubicBezTo>
                  <a:cubicBezTo>
                    <a:pt x="5319931" y="1525977"/>
                    <a:pt x="5309409" y="1527357"/>
                    <a:pt x="5297679" y="1527357"/>
                  </a:cubicBezTo>
                  <a:cubicBezTo>
                    <a:pt x="5283189" y="1527357"/>
                    <a:pt x="5271286" y="1525287"/>
                    <a:pt x="5263178" y="1521147"/>
                  </a:cubicBezTo>
                  <a:lnTo>
                    <a:pt x="5298024" y="1498895"/>
                  </a:lnTo>
                  <a:lnTo>
                    <a:pt x="5371682" y="1499240"/>
                  </a:lnTo>
                  <a:lnTo>
                    <a:pt x="5442752" y="1491995"/>
                  </a:lnTo>
                  <a:cubicBezTo>
                    <a:pt x="5453275" y="1490270"/>
                    <a:pt x="5490190" y="1484232"/>
                    <a:pt x="5525898" y="1476124"/>
                  </a:cubicBezTo>
                  <a:cubicBezTo>
                    <a:pt x="5553843" y="1469914"/>
                    <a:pt x="5582823" y="1441969"/>
                    <a:pt x="5605076" y="1420579"/>
                  </a:cubicBezTo>
                  <a:cubicBezTo>
                    <a:pt x="5611976" y="1414024"/>
                    <a:pt x="5621118" y="1405226"/>
                    <a:pt x="5622153" y="1404191"/>
                  </a:cubicBezTo>
                  <a:cubicBezTo>
                    <a:pt x="5626984" y="1404019"/>
                    <a:pt x="5638714" y="1403847"/>
                    <a:pt x="5672869" y="1335018"/>
                  </a:cubicBezTo>
                  <a:cubicBezTo>
                    <a:pt x="5676492" y="1325186"/>
                    <a:pt x="5689257" y="1290513"/>
                    <a:pt x="5698227" y="1256530"/>
                  </a:cubicBezTo>
                  <a:cubicBezTo>
                    <a:pt x="5709094" y="1215993"/>
                    <a:pt x="5697192" y="1197363"/>
                    <a:pt x="5687704" y="1182700"/>
                  </a:cubicBezTo>
                  <a:cubicBezTo>
                    <a:pt x="5675974" y="1164415"/>
                    <a:pt x="5584376" y="1146647"/>
                    <a:pt x="5583686" y="1146475"/>
                  </a:cubicBezTo>
                  <a:lnTo>
                    <a:pt x="5582134" y="1146475"/>
                  </a:lnTo>
                  <a:lnTo>
                    <a:pt x="5581271" y="1146475"/>
                  </a:lnTo>
                  <a:cubicBezTo>
                    <a:pt x="5552463" y="1147337"/>
                    <a:pt x="5516065" y="1148890"/>
                    <a:pt x="5504853" y="1151305"/>
                  </a:cubicBezTo>
                  <a:cubicBezTo>
                    <a:pt x="5500195" y="1152167"/>
                    <a:pt x="5492088" y="1153375"/>
                    <a:pt x="5482600" y="1154755"/>
                  </a:cubicBezTo>
                  <a:cubicBezTo>
                    <a:pt x="5464832" y="1157342"/>
                    <a:pt x="5443098" y="1160447"/>
                    <a:pt x="5426365" y="1164760"/>
                  </a:cubicBezTo>
                  <a:cubicBezTo>
                    <a:pt x="5412565" y="1164415"/>
                    <a:pt x="5388759" y="1159240"/>
                    <a:pt x="5374787" y="1155962"/>
                  </a:cubicBezTo>
                  <a:cubicBezTo>
                    <a:pt x="5363402" y="1153375"/>
                    <a:pt x="5358399" y="1152340"/>
                    <a:pt x="5355122" y="1152340"/>
                  </a:cubicBezTo>
                  <a:cubicBezTo>
                    <a:pt x="5334077" y="1152340"/>
                    <a:pt x="5322864" y="1149407"/>
                    <a:pt x="5304062" y="1144060"/>
                  </a:cubicBezTo>
                  <a:cubicBezTo>
                    <a:pt x="5295609" y="1141645"/>
                    <a:pt x="5285949" y="1139230"/>
                    <a:pt x="5271459" y="1135952"/>
                  </a:cubicBezTo>
                  <a:cubicBezTo>
                    <a:pt x="5245583" y="1135952"/>
                    <a:pt x="5218328" y="1147682"/>
                    <a:pt x="5202631" y="1157860"/>
                  </a:cubicBezTo>
                  <a:cubicBezTo>
                    <a:pt x="5188313" y="1167520"/>
                    <a:pt x="5187451" y="1181492"/>
                    <a:pt x="5186588" y="1195465"/>
                  </a:cubicBezTo>
                  <a:cubicBezTo>
                    <a:pt x="5185898" y="1208230"/>
                    <a:pt x="5185035" y="1221513"/>
                    <a:pt x="5174686" y="1235830"/>
                  </a:cubicBezTo>
                  <a:cubicBezTo>
                    <a:pt x="5155883" y="1262050"/>
                    <a:pt x="5156745" y="1277403"/>
                    <a:pt x="5158125" y="1297068"/>
                  </a:cubicBezTo>
                  <a:cubicBezTo>
                    <a:pt x="5158471" y="1303451"/>
                    <a:pt x="5158988" y="1311558"/>
                    <a:pt x="5158471" y="1321218"/>
                  </a:cubicBezTo>
                  <a:cubicBezTo>
                    <a:pt x="5156745" y="1347094"/>
                    <a:pt x="5143980" y="1350371"/>
                    <a:pt x="5124488" y="1355546"/>
                  </a:cubicBezTo>
                  <a:lnTo>
                    <a:pt x="5120175" y="1356581"/>
                  </a:lnTo>
                  <a:cubicBezTo>
                    <a:pt x="5117587" y="1357271"/>
                    <a:pt x="5056177" y="1374521"/>
                    <a:pt x="5040997" y="1390564"/>
                  </a:cubicBezTo>
                  <a:cubicBezTo>
                    <a:pt x="5038927" y="1392634"/>
                    <a:pt x="5029095" y="1395394"/>
                    <a:pt x="5021159" y="1397636"/>
                  </a:cubicBezTo>
                  <a:cubicBezTo>
                    <a:pt x="5001322" y="1402984"/>
                    <a:pt x="4971307" y="1411092"/>
                    <a:pt x="4942499" y="1435414"/>
                  </a:cubicBezTo>
                  <a:cubicBezTo>
                    <a:pt x="4929216" y="1446799"/>
                    <a:pt x="4922834" y="1450939"/>
                    <a:pt x="4907998" y="1450939"/>
                  </a:cubicBezTo>
                  <a:cubicBezTo>
                    <a:pt x="4904031" y="1450939"/>
                    <a:pt x="4899028" y="1450594"/>
                    <a:pt x="4894198" y="1450077"/>
                  </a:cubicBezTo>
                  <a:cubicBezTo>
                    <a:pt x="4885401" y="1448352"/>
                    <a:pt x="4873498" y="1446627"/>
                    <a:pt x="4848831" y="1446627"/>
                  </a:cubicBezTo>
                  <a:lnTo>
                    <a:pt x="4780348" y="1448524"/>
                  </a:lnTo>
                  <a:cubicBezTo>
                    <a:pt x="4769308" y="1448524"/>
                    <a:pt x="4765340" y="1444212"/>
                    <a:pt x="4764132" y="1440244"/>
                  </a:cubicBezTo>
                  <a:cubicBezTo>
                    <a:pt x="4775173" y="1434034"/>
                    <a:pt x="4822093" y="1417647"/>
                    <a:pt x="4891266" y="1408331"/>
                  </a:cubicBezTo>
                  <a:cubicBezTo>
                    <a:pt x="4899201" y="1408159"/>
                    <a:pt x="4906446" y="1400569"/>
                    <a:pt x="4923696" y="1381076"/>
                  </a:cubicBezTo>
                  <a:cubicBezTo>
                    <a:pt x="4928871" y="1375039"/>
                    <a:pt x="4937496" y="1365034"/>
                    <a:pt x="4939566" y="1363826"/>
                  </a:cubicBezTo>
                  <a:cubicBezTo>
                    <a:pt x="4944396" y="1362101"/>
                    <a:pt x="4952849" y="1359169"/>
                    <a:pt x="4965442" y="1273953"/>
                  </a:cubicBezTo>
                  <a:cubicBezTo>
                    <a:pt x="4973894" y="1267053"/>
                    <a:pt x="4999769" y="1246698"/>
                    <a:pt x="5015640" y="1234968"/>
                  </a:cubicBezTo>
                  <a:cubicBezTo>
                    <a:pt x="5029267" y="1224790"/>
                    <a:pt x="5040825" y="1200122"/>
                    <a:pt x="5050829" y="1178387"/>
                  </a:cubicBezTo>
                  <a:cubicBezTo>
                    <a:pt x="5054452" y="1170625"/>
                    <a:pt x="5059282" y="1160102"/>
                    <a:pt x="5061007" y="1158205"/>
                  </a:cubicBezTo>
                  <a:cubicBezTo>
                    <a:pt x="5064630" y="1154410"/>
                    <a:pt x="5086365" y="1144405"/>
                    <a:pt x="5111377" y="1134917"/>
                  </a:cubicBezTo>
                  <a:lnTo>
                    <a:pt x="5116208" y="1132157"/>
                  </a:lnTo>
                  <a:lnTo>
                    <a:pt x="5117070" y="1127845"/>
                  </a:lnTo>
                  <a:cubicBezTo>
                    <a:pt x="5119485" y="1114907"/>
                    <a:pt x="5126730" y="1092482"/>
                    <a:pt x="5139668" y="1092137"/>
                  </a:cubicBezTo>
                  <a:cubicBezTo>
                    <a:pt x="5169166" y="1091447"/>
                    <a:pt x="5210221" y="1050909"/>
                    <a:pt x="5209703" y="1014339"/>
                  </a:cubicBezTo>
                  <a:cubicBezTo>
                    <a:pt x="5209531" y="1000711"/>
                    <a:pt x="5221088" y="994846"/>
                    <a:pt x="5240063" y="986738"/>
                  </a:cubicBezTo>
                  <a:cubicBezTo>
                    <a:pt x="5249896" y="982771"/>
                    <a:pt x="5260073" y="978458"/>
                    <a:pt x="5267664" y="971731"/>
                  </a:cubicBezTo>
                  <a:cubicBezTo>
                    <a:pt x="5274736" y="965521"/>
                    <a:pt x="5280256" y="958103"/>
                    <a:pt x="5286294" y="949478"/>
                  </a:cubicBezTo>
                  <a:cubicBezTo>
                    <a:pt x="5296816" y="934988"/>
                    <a:pt x="5306821" y="921188"/>
                    <a:pt x="5324934" y="916185"/>
                  </a:cubicBezTo>
                  <a:cubicBezTo>
                    <a:pt x="5352879" y="908250"/>
                    <a:pt x="5356329" y="899280"/>
                    <a:pt x="5360642" y="882548"/>
                  </a:cubicBezTo>
                  <a:cubicBezTo>
                    <a:pt x="5361677" y="878063"/>
                    <a:pt x="5363057" y="872888"/>
                    <a:pt x="5365299" y="866678"/>
                  </a:cubicBezTo>
                  <a:cubicBezTo>
                    <a:pt x="5376339" y="838560"/>
                    <a:pt x="5378237" y="766454"/>
                    <a:pt x="5368750" y="742477"/>
                  </a:cubicBezTo>
                  <a:cubicBezTo>
                    <a:pt x="5358917" y="717809"/>
                    <a:pt x="5325279" y="709011"/>
                    <a:pt x="5236441" y="707976"/>
                  </a:cubicBezTo>
                  <a:cubicBezTo>
                    <a:pt x="5232128" y="706251"/>
                    <a:pt x="5218156" y="689001"/>
                    <a:pt x="5199525" y="654501"/>
                  </a:cubicBezTo>
                  <a:cubicBezTo>
                    <a:pt x="5196076" y="648981"/>
                    <a:pt x="5178826" y="620173"/>
                    <a:pt x="5178135" y="588088"/>
                  </a:cubicBezTo>
                  <a:cubicBezTo>
                    <a:pt x="5177791" y="566180"/>
                    <a:pt x="5165543" y="540995"/>
                    <a:pt x="5154848" y="518570"/>
                  </a:cubicBezTo>
                  <a:cubicBezTo>
                    <a:pt x="5146913" y="502010"/>
                    <a:pt x="5138632" y="484587"/>
                    <a:pt x="5138460" y="474410"/>
                  </a:cubicBezTo>
                  <a:cubicBezTo>
                    <a:pt x="5138115" y="451640"/>
                    <a:pt x="5125523" y="411964"/>
                    <a:pt x="5117933" y="391092"/>
                  </a:cubicBezTo>
                  <a:cubicBezTo>
                    <a:pt x="5115863" y="379534"/>
                    <a:pt x="5102925" y="302943"/>
                    <a:pt x="5102580" y="286556"/>
                  </a:cubicBezTo>
                  <a:cubicBezTo>
                    <a:pt x="5102580" y="275688"/>
                    <a:pt x="5096543" y="266028"/>
                    <a:pt x="5090160" y="255678"/>
                  </a:cubicBezTo>
                  <a:cubicBezTo>
                    <a:pt x="5083605" y="244811"/>
                    <a:pt x="5075842" y="232563"/>
                    <a:pt x="5074290" y="217210"/>
                  </a:cubicBezTo>
                  <a:cubicBezTo>
                    <a:pt x="5070840" y="182710"/>
                    <a:pt x="5038582" y="170290"/>
                    <a:pt x="5009602" y="170290"/>
                  </a:cubicBezTo>
                  <a:lnTo>
                    <a:pt x="5005979" y="170463"/>
                  </a:lnTo>
                  <a:cubicBezTo>
                    <a:pt x="5000804" y="171325"/>
                    <a:pt x="4996664" y="174258"/>
                    <a:pt x="4993559" y="178915"/>
                  </a:cubicBezTo>
                  <a:cubicBezTo>
                    <a:pt x="4987867" y="188230"/>
                    <a:pt x="4988384" y="204445"/>
                    <a:pt x="4991489" y="220315"/>
                  </a:cubicBezTo>
                  <a:lnTo>
                    <a:pt x="4969926" y="207205"/>
                  </a:lnTo>
                  <a:cubicBezTo>
                    <a:pt x="4968374" y="206515"/>
                    <a:pt x="4966477" y="205653"/>
                    <a:pt x="4962854" y="206170"/>
                  </a:cubicBezTo>
                  <a:lnTo>
                    <a:pt x="4962509" y="205825"/>
                  </a:lnTo>
                  <a:lnTo>
                    <a:pt x="4962336" y="206170"/>
                  </a:lnTo>
                  <a:lnTo>
                    <a:pt x="4958369" y="207895"/>
                  </a:lnTo>
                  <a:lnTo>
                    <a:pt x="4956817" y="210828"/>
                  </a:lnTo>
                  <a:cubicBezTo>
                    <a:pt x="4939049" y="244293"/>
                    <a:pt x="4906101" y="305358"/>
                    <a:pt x="4881951" y="340031"/>
                  </a:cubicBezTo>
                  <a:cubicBezTo>
                    <a:pt x="4854005" y="379707"/>
                    <a:pt x="4836928" y="412999"/>
                    <a:pt x="4821403" y="443014"/>
                  </a:cubicBezTo>
                  <a:cubicBezTo>
                    <a:pt x="4813295" y="459057"/>
                    <a:pt x="4805015" y="475272"/>
                    <a:pt x="4795183" y="491660"/>
                  </a:cubicBezTo>
                  <a:cubicBezTo>
                    <a:pt x="4790525" y="499422"/>
                    <a:pt x="4788110" y="507702"/>
                    <a:pt x="4785868" y="515983"/>
                  </a:cubicBezTo>
                  <a:cubicBezTo>
                    <a:pt x="4779830" y="536683"/>
                    <a:pt x="4773103" y="560143"/>
                    <a:pt x="4731530" y="591883"/>
                  </a:cubicBezTo>
                  <a:cubicBezTo>
                    <a:pt x="4715142" y="611203"/>
                    <a:pt x="4691854" y="631213"/>
                    <a:pt x="4653387" y="627763"/>
                  </a:cubicBezTo>
                  <a:cubicBezTo>
                    <a:pt x="4626131" y="612411"/>
                    <a:pt x="4605604" y="603613"/>
                    <a:pt x="4588699" y="607063"/>
                  </a:cubicBezTo>
                  <a:lnTo>
                    <a:pt x="4583179" y="609133"/>
                  </a:lnTo>
                  <a:lnTo>
                    <a:pt x="4581626" y="613618"/>
                  </a:lnTo>
                  <a:cubicBezTo>
                    <a:pt x="4580936" y="615688"/>
                    <a:pt x="4571621" y="630006"/>
                    <a:pt x="4553509" y="628108"/>
                  </a:cubicBezTo>
                  <a:cubicBezTo>
                    <a:pt x="4551783" y="626383"/>
                    <a:pt x="4550576" y="624486"/>
                    <a:pt x="4549023" y="622761"/>
                  </a:cubicBezTo>
                  <a:cubicBezTo>
                    <a:pt x="4542468" y="614481"/>
                    <a:pt x="4534016" y="604131"/>
                    <a:pt x="4514868" y="604131"/>
                  </a:cubicBezTo>
                  <a:cubicBezTo>
                    <a:pt x="4498653" y="604131"/>
                    <a:pt x="4475020" y="612066"/>
                    <a:pt x="4441038" y="628626"/>
                  </a:cubicBezTo>
                  <a:cubicBezTo>
                    <a:pt x="4420510" y="638803"/>
                    <a:pt x="4403777" y="643806"/>
                    <a:pt x="4388942" y="643806"/>
                  </a:cubicBezTo>
                  <a:cubicBezTo>
                    <a:pt x="4365655" y="643806"/>
                    <a:pt x="4352200" y="630351"/>
                    <a:pt x="4337882" y="616206"/>
                  </a:cubicBezTo>
                  <a:cubicBezTo>
                    <a:pt x="4334259" y="612583"/>
                    <a:pt x="4330809" y="609133"/>
                    <a:pt x="4327187" y="606201"/>
                  </a:cubicBezTo>
                  <a:cubicBezTo>
                    <a:pt x="4316319" y="596886"/>
                    <a:pt x="4301312" y="589641"/>
                    <a:pt x="4285441" y="581705"/>
                  </a:cubicBezTo>
                  <a:cubicBezTo>
                    <a:pt x="4263879" y="571183"/>
                    <a:pt x="4239384" y="559280"/>
                    <a:pt x="4221788" y="540133"/>
                  </a:cubicBezTo>
                  <a:lnTo>
                    <a:pt x="4218338" y="536510"/>
                  </a:lnTo>
                  <a:lnTo>
                    <a:pt x="4214543" y="536510"/>
                  </a:lnTo>
                  <a:cubicBezTo>
                    <a:pt x="4200226" y="536510"/>
                    <a:pt x="4186426" y="548068"/>
                    <a:pt x="4173833" y="558245"/>
                  </a:cubicBezTo>
                  <a:cubicBezTo>
                    <a:pt x="4168313" y="562730"/>
                    <a:pt x="4162275" y="567905"/>
                    <a:pt x="4158480" y="569630"/>
                  </a:cubicBezTo>
                  <a:cubicBezTo>
                    <a:pt x="4151925" y="572563"/>
                    <a:pt x="4135020" y="576703"/>
                    <a:pt x="4090515" y="578083"/>
                  </a:cubicBezTo>
                  <a:cubicBezTo>
                    <a:pt x="4088790" y="578083"/>
                    <a:pt x="4086892" y="578255"/>
                    <a:pt x="4084305" y="578773"/>
                  </a:cubicBezTo>
                  <a:cubicBezTo>
                    <a:pt x="4076542" y="579635"/>
                    <a:pt x="4061535" y="580498"/>
                    <a:pt x="4045837" y="577738"/>
                  </a:cubicBezTo>
                  <a:cubicBezTo>
                    <a:pt x="4040662" y="572908"/>
                    <a:pt x="4030484" y="565318"/>
                    <a:pt x="4014269" y="565318"/>
                  </a:cubicBezTo>
                  <a:cubicBezTo>
                    <a:pt x="4004092" y="565318"/>
                    <a:pt x="3993224" y="568250"/>
                    <a:pt x="3982012" y="574288"/>
                  </a:cubicBezTo>
                  <a:lnTo>
                    <a:pt x="3977699" y="577220"/>
                  </a:lnTo>
                  <a:lnTo>
                    <a:pt x="3977009" y="581188"/>
                  </a:lnTo>
                  <a:cubicBezTo>
                    <a:pt x="3975974" y="589296"/>
                    <a:pt x="3973559" y="595851"/>
                    <a:pt x="3971489" y="601716"/>
                  </a:cubicBezTo>
                  <a:cubicBezTo>
                    <a:pt x="3964072" y="622243"/>
                    <a:pt x="3961657" y="637078"/>
                    <a:pt x="3994949" y="656571"/>
                  </a:cubicBezTo>
                  <a:cubicBezTo>
                    <a:pt x="4010819" y="665714"/>
                    <a:pt x="4019962" y="675201"/>
                    <a:pt x="4020135" y="682619"/>
                  </a:cubicBezTo>
                  <a:cubicBezTo>
                    <a:pt x="4020307" y="687966"/>
                    <a:pt x="4015477" y="692279"/>
                    <a:pt x="4012372" y="694176"/>
                  </a:cubicBezTo>
                  <a:cubicBezTo>
                    <a:pt x="4005989" y="698489"/>
                    <a:pt x="3988394" y="705906"/>
                    <a:pt x="3962864" y="705906"/>
                  </a:cubicBezTo>
                  <a:cubicBezTo>
                    <a:pt x="3957171" y="705906"/>
                    <a:pt x="3951134" y="705734"/>
                    <a:pt x="3945441" y="704871"/>
                  </a:cubicBezTo>
                  <a:cubicBezTo>
                    <a:pt x="3929571" y="691934"/>
                    <a:pt x="3886273" y="684861"/>
                    <a:pt x="3860743" y="684861"/>
                  </a:cubicBezTo>
                  <a:cubicBezTo>
                    <a:pt x="3845218" y="684861"/>
                    <a:pt x="3833143" y="686931"/>
                    <a:pt x="3825035" y="691244"/>
                  </a:cubicBezTo>
                  <a:cubicBezTo>
                    <a:pt x="3816583" y="695901"/>
                    <a:pt x="3803645" y="698489"/>
                    <a:pt x="3790190" y="698489"/>
                  </a:cubicBezTo>
                  <a:cubicBezTo>
                    <a:pt x="3774320" y="698489"/>
                    <a:pt x="3764142" y="694866"/>
                    <a:pt x="3762418" y="693141"/>
                  </a:cubicBezTo>
                  <a:cubicBezTo>
                    <a:pt x="3755000" y="683999"/>
                    <a:pt x="3732057" y="681411"/>
                    <a:pt x="3719810" y="681411"/>
                  </a:cubicBezTo>
                  <a:cubicBezTo>
                    <a:pt x="3688587" y="681411"/>
                    <a:pt x="3668405" y="693314"/>
                    <a:pt x="3664264" y="714014"/>
                  </a:cubicBezTo>
                  <a:cubicBezTo>
                    <a:pt x="3660297" y="734197"/>
                    <a:pt x="3646842" y="743512"/>
                    <a:pt x="3620794" y="743512"/>
                  </a:cubicBezTo>
                  <a:cubicBezTo>
                    <a:pt x="3615274" y="743512"/>
                    <a:pt x="3609064" y="743167"/>
                    <a:pt x="3601302" y="741959"/>
                  </a:cubicBezTo>
                  <a:cubicBezTo>
                    <a:pt x="3592331" y="741959"/>
                    <a:pt x="3584051" y="745409"/>
                    <a:pt x="3573356" y="749894"/>
                  </a:cubicBezTo>
                  <a:cubicBezTo>
                    <a:pt x="3555934" y="756967"/>
                    <a:pt x="3529368" y="767834"/>
                    <a:pt x="3481586" y="770767"/>
                  </a:cubicBezTo>
                  <a:cubicBezTo>
                    <a:pt x="3467440" y="770767"/>
                    <a:pt x="3454503" y="778184"/>
                    <a:pt x="3441738" y="793882"/>
                  </a:cubicBezTo>
                  <a:cubicBezTo>
                    <a:pt x="3412240" y="829590"/>
                    <a:pt x="3392230" y="847185"/>
                    <a:pt x="3366182" y="844425"/>
                  </a:cubicBezTo>
                  <a:cubicBezTo>
                    <a:pt x="3348242" y="832005"/>
                    <a:pt x="3334442" y="828382"/>
                    <a:pt x="3304599" y="828382"/>
                  </a:cubicBezTo>
                  <a:cubicBezTo>
                    <a:pt x="3287694" y="828382"/>
                    <a:pt x="3267512" y="806992"/>
                    <a:pt x="3258369" y="797505"/>
                  </a:cubicBezTo>
                  <a:cubicBezTo>
                    <a:pt x="3256644" y="795780"/>
                    <a:pt x="3255091" y="794227"/>
                    <a:pt x="3254056" y="793192"/>
                  </a:cubicBezTo>
                  <a:cubicBezTo>
                    <a:pt x="3250261" y="789569"/>
                    <a:pt x="3243534" y="784739"/>
                    <a:pt x="3235771" y="778874"/>
                  </a:cubicBezTo>
                  <a:cubicBezTo>
                    <a:pt x="3226974" y="772319"/>
                    <a:pt x="3215934" y="764212"/>
                    <a:pt x="3209034" y="757829"/>
                  </a:cubicBezTo>
                  <a:cubicBezTo>
                    <a:pt x="3201789" y="750929"/>
                    <a:pt x="3189023" y="740407"/>
                    <a:pt x="3171428" y="726607"/>
                  </a:cubicBezTo>
                  <a:cubicBezTo>
                    <a:pt x="3171083" y="715221"/>
                    <a:pt x="3169876" y="690381"/>
                    <a:pt x="3165391" y="670716"/>
                  </a:cubicBezTo>
                  <a:cubicBezTo>
                    <a:pt x="3162113" y="656054"/>
                    <a:pt x="3151073" y="644323"/>
                    <a:pt x="3141586" y="633801"/>
                  </a:cubicBezTo>
                  <a:cubicBezTo>
                    <a:pt x="3133306" y="624658"/>
                    <a:pt x="3124508" y="615171"/>
                    <a:pt x="3122438" y="605511"/>
                  </a:cubicBezTo>
                  <a:cubicBezTo>
                    <a:pt x="3121575" y="601888"/>
                    <a:pt x="3120540" y="597576"/>
                    <a:pt x="3118816" y="591366"/>
                  </a:cubicBezTo>
                  <a:cubicBezTo>
                    <a:pt x="3111915" y="566353"/>
                    <a:pt x="3101738" y="528403"/>
                    <a:pt x="3113123" y="485622"/>
                  </a:cubicBezTo>
                  <a:cubicBezTo>
                    <a:pt x="3119505" y="461127"/>
                    <a:pt x="3125888" y="450605"/>
                    <a:pt x="3130545" y="442669"/>
                  </a:cubicBezTo>
                  <a:cubicBezTo>
                    <a:pt x="3137618" y="430939"/>
                    <a:pt x="3141413" y="423522"/>
                    <a:pt x="3139516" y="403167"/>
                  </a:cubicBezTo>
                  <a:cubicBezTo>
                    <a:pt x="3138308" y="388677"/>
                    <a:pt x="3136238" y="379707"/>
                    <a:pt x="3134858" y="373151"/>
                  </a:cubicBezTo>
                  <a:cubicBezTo>
                    <a:pt x="3132960" y="364871"/>
                    <a:pt x="3132960" y="364009"/>
                    <a:pt x="3135203" y="359869"/>
                  </a:cubicBezTo>
                  <a:cubicBezTo>
                    <a:pt x="3139688" y="352451"/>
                    <a:pt x="3154351" y="338306"/>
                    <a:pt x="3166771" y="327956"/>
                  </a:cubicBezTo>
                  <a:cubicBezTo>
                    <a:pt x="3171946" y="324679"/>
                    <a:pt x="3190921" y="312086"/>
                    <a:pt x="3196268" y="290868"/>
                  </a:cubicBezTo>
                  <a:cubicBezTo>
                    <a:pt x="3199718" y="277241"/>
                    <a:pt x="3196959" y="263096"/>
                    <a:pt x="3188161" y="248778"/>
                  </a:cubicBezTo>
                  <a:cubicBezTo>
                    <a:pt x="3172291" y="223248"/>
                    <a:pt x="3165563" y="208240"/>
                    <a:pt x="3160561" y="197373"/>
                  </a:cubicBezTo>
                  <a:cubicBezTo>
                    <a:pt x="3157801" y="190818"/>
                    <a:pt x="3155386" y="185643"/>
                    <a:pt x="3152453" y="181158"/>
                  </a:cubicBezTo>
                  <a:cubicBezTo>
                    <a:pt x="3142793" y="165805"/>
                    <a:pt x="3124508" y="160285"/>
                    <a:pt x="3111570" y="160285"/>
                  </a:cubicBezTo>
                  <a:cubicBezTo>
                    <a:pt x="3104325" y="160630"/>
                    <a:pt x="3079658" y="161320"/>
                    <a:pt x="3067065" y="161492"/>
                  </a:cubicBezTo>
                  <a:lnTo>
                    <a:pt x="3065340" y="161492"/>
                  </a:lnTo>
                  <a:cubicBezTo>
                    <a:pt x="3062580" y="154592"/>
                    <a:pt x="3060165" y="140102"/>
                    <a:pt x="3076380" y="120610"/>
                  </a:cubicBezTo>
                  <a:cubicBezTo>
                    <a:pt x="3117953" y="69894"/>
                    <a:pt x="3098978" y="38499"/>
                    <a:pt x="3084143" y="24354"/>
                  </a:cubicBezTo>
                  <a:lnTo>
                    <a:pt x="3082418" y="22801"/>
                  </a:lnTo>
                  <a:cubicBezTo>
                    <a:pt x="3066548" y="7621"/>
                    <a:pt x="3055163" y="-3591"/>
                    <a:pt x="3021697" y="1066"/>
                  </a:cubicBezTo>
                  <a:lnTo>
                    <a:pt x="3019282" y="1756"/>
                  </a:lnTo>
                  <a:cubicBezTo>
                    <a:pt x="3013762" y="4171"/>
                    <a:pt x="3005827" y="5034"/>
                    <a:pt x="2986679" y="5034"/>
                  </a:cubicBezTo>
                  <a:cubicBezTo>
                    <a:pt x="2985127" y="5034"/>
                    <a:pt x="2983402" y="5034"/>
                    <a:pt x="2982022" y="5034"/>
                  </a:cubicBezTo>
                  <a:lnTo>
                    <a:pt x="2979089" y="5034"/>
                  </a:lnTo>
                  <a:cubicBezTo>
                    <a:pt x="2968394" y="5034"/>
                    <a:pt x="2945969" y="5034"/>
                    <a:pt x="2942002" y="25044"/>
                  </a:cubicBezTo>
                  <a:cubicBezTo>
                    <a:pt x="2940449" y="32461"/>
                    <a:pt x="2940967" y="40569"/>
                    <a:pt x="2941657" y="49367"/>
                  </a:cubicBezTo>
                  <a:cubicBezTo>
                    <a:pt x="2942864" y="68169"/>
                    <a:pt x="2944072" y="85764"/>
                    <a:pt x="2922854" y="97494"/>
                  </a:cubicBezTo>
                  <a:cubicBezTo>
                    <a:pt x="2883179" y="119402"/>
                    <a:pt x="2872311" y="133720"/>
                    <a:pt x="2867136" y="150625"/>
                  </a:cubicBezTo>
                  <a:cubicBezTo>
                    <a:pt x="2865929" y="154765"/>
                    <a:pt x="2852474" y="160285"/>
                    <a:pt x="2834533" y="162182"/>
                  </a:cubicBezTo>
                  <a:cubicBezTo>
                    <a:pt x="2828841" y="160975"/>
                    <a:pt x="2816421" y="158387"/>
                    <a:pt x="2802966" y="158387"/>
                  </a:cubicBezTo>
                  <a:cubicBezTo>
                    <a:pt x="2787613" y="158387"/>
                    <a:pt x="2775883" y="161837"/>
                    <a:pt x="2768120" y="168565"/>
                  </a:cubicBezTo>
                  <a:cubicBezTo>
                    <a:pt x="2762428" y="173395"/>
                    <a:pt x="2757425" y="180640"/>
                    <a:pt x="2752250" y="188230"/>
                  </a:cubicBezTo>
                  <a:cubicBezTo>
                    <a:pt x="2742073" y="202893"/>
                    <a:pt x="2731550" y="218245"/>
                    <a:pt x="2715853" y="218245"/>
                  </a:cubicBezTo>
                  <a:cubicBezTo>
                    <a:pt x="2714818" y="218245"/>
                    <a:pt x="2713782" y="218245"/>
                    <a:pt x="2711540" y="218073"/>
                  </a:cubicBezTo>
                  <a:cubicBezTo>
                    <a:pt x="2709815" y="218073"/>
                    <a:pt x="2668932" y="218245"/>
                    <a:pt x="2664102" y="234115"/>
                  </a:cubicBezTo>
                  <a:cubicBezTo>
                    <a:pt x="2662895" y="237910"/>
                    <a:pt x="2652027" y="247053"/>
                    <a:pt x="2648059" y="247743"/>
                  </a:cubicBezTo>
                  <a:lnTo>
                    <a:pt x="2620114" y="248433"/>
                  </a:lnTo>
                  <a:cubicBezTo>
                    <a:pt x="2615284" y="248433"/>
                    <a:pt x="2611662" y="248606"/>
                    <a:pt x="2611662" y="248606"/>
                  </a:cubicBezTo>
                  <a:cubicBezTo>
                    <a:pt x="2608212" y="248433"/>
                    <a:pt x="2590617" y="247398"/>
                    <a:pt x="2513508" y="251021"/>
                  </a:cubicBezTo>
                  <a:lnTo>
                    <a:pt x="2507471" y="251883"/>
                  </a:lnTo>
                  <a:lnTo>
                    <a:pt x="2505401" y="256196"/>
                  </a:lnTo>
                  <a:cubicBezTo>
                    <a:pt x="2504539" y="257921"/>
                    <a:pt x="2496431" y="260508"/>
                    <a:pt x="2491946" y="261716"/>
                  </a:cubicBezTo>
                  <a:cubicBezTo>
                    <a:pt x="2475903" y="266546"/>
                    <a:pt x="2451926" y="273963"/>
                    <a:pt x="2450373" y="305531"/>
                  </a:cubicBezTo>
                  <a:cubicBezTo>
                    <a:pt x="2449511" y="324679"/>
                    <a:pt x="2454341" y="339686"/>
                    <a:pt x="2457618" y="349519"/>
                  </a:cubicBezTo>
                  <a:cubicBezTo>
                    <a:pt x="2459171" y="353659"/>
                    <a:pt x="2460896" y="359179"/>
                    <a:pt x="2461241" y="359524"/>
                  </a:cubicBezTo>
                  <a:cubicBezTo>
                    <a:pt x="2461241" y="359524"/>
                    <a:pt x="2460551" y="360214"/>
                    <a:pt x="2458481" y="360559"/>
                  </a:cubicBezTo>
                  <a:cubicBezTo>
                    <a:pt x="2455548" y="361249"/>
                    <a:pt x="2452443" y="362111"/>
                    <a:pt x="2449511" y="362974"/>
                  </a:cubicBezTo>
                  <a:cubicBezTo>
                    <a:pt x="2438816" y="365906"/>
                    <a:pt x="2427258" y="369011"/>
                    <a:pt x="2416735" y="367459"/>
                  </a:cubicBezTo>
                  <a:cubicBezTo>
                    <a:pt x="2413113" y="362629"/>
                    <a:pt x="2408455" y="359006"/>
                    <a:pt x="2403453" y="355039"/>
                  </a:cubicBezTo>
                  <a:cubicBezTo>
                    <a:pt x="2398968" y="351416"/>
                    <a:pt x="2393275" y="347104"/>
                    <a:pt x="2387583" y="340894"/>
                  </a:cubicBezTo>
                  <a:cubicBezTo>
                    <a:pt x="2374818" y="326404"/>
                    <a:pt x="2335487" y="291386"/>
                    <a:pt x="2331002" y="287418"/>
                  </a:cubicBezTo>
                  <a:lnTo>
                    <a:pt x="2325482" y="283796"/>
                  </a:lnTo>
                  <a:lnTo>
                    <a:pt x="2320825" y="286211"/>
                  </a:lnTo>
                  <a:cubicBezTo>
                    <a:pt x="2319962" y="286556"/>
                    <a:pt x="2311510" y="291041"/>
                    <a:pt x="2279079" y="315191"/>
                  </a:cubicBezTo>
                  <a:cubicBezTo>
                    <a:pt x="2268039" y="314329"/>
                    <a:pt x="2256827" y="308981"/>
                    <a:pt x="2254757" y="307774"/>
                  </a:cubicBezTo>
                  <a:lnTo>
                    <a:pt x="2250962" y="306739"/>
                  </a:lnTo>
                  <a:cubicBezTo>
                    <a:pt x="2246477" y="306393"/>
                    <a:pt x="2234574" y="305531"/>
                    <a:pt x="2220601" y="305531"/>
                  </a:cubicBezTo>
                  <a:cubicBezTo>
                    <a:pt x="2209906" y="305531"/>
                    <a:pt x="2196969" y="306221"/>
                    <a:pt x="2176786" y="310016"/>
                  </a:cubicBezTo>
                  <a:cubicBezTo>
                    <a:pt x="2172301" y="310016"/>
                    <a:pt x="2167471" y="310016"/>
                    <a:pt x="2167126" y="293973"/>
                  </a:cubicBezTo>
                  <a:cubicBezTo>
                    <a:pt x="2166953" y="260853"/>
                    <a:pt x="2077770" y="262061"/>
                    <a:pt x="2065178" y="263613"/>
                  </a:cubicBezTo>
                  <a:cubicBezTo>
                    <a:pt x="2052585" y="263613"/>
                    <a:pt x="2038440" y="259818"/>
                    <a:pt x="2021707" y="233253"/>
                  </a:cubicBezTo>
                  <a:lnTo>
                    <a:pt x="2018085" y="228768"/>
                  </a:lnTo>
                  <a:lnTo>
                    <a:pt x="2013600" y="228768"/>
                  </a:lnTo>
                  <a:cubicBezTo>
                    <a:pt x="1998937" y="228768"/>
                    <a:pt x="1980997" y="238428"/>
                    <a:pt x="1976857" y="254298"/>
                  </a:cubicBezTo>
                  <a:cubicBezTo>
                    <a:pt x="1974270" y="264131"/>
                    <a:pt x="1975650" y="283451"/>
                    <a:pt x="2011012" y="302943"/>
                  </a:cubicBezTo>
                  <a:cubicBezTo>
                    <a:pt x="2072423" y="336581"/>
                    <a:pt x="2075873" y="343654"/>
                    <a:pt x="2082083" y="356419"/>
                  </a:cubicBezTo>
                  <a:cubicBezTo>
                    <a:pt x="2083118" y="358489"/>
                    <a:pt x="2084153" y="360904"/>
                    <a:pt x="2085533" y="363491"/>
                  </a:cubicBezTo>
                  <a:cubicBezTo>
                    <a:pt x="2090880" y="373324"/>
                    <a:pt x="2100023" y="376774"/>
                    <a:pt x="2108131" y="379707"/>
                  </a:cubicBezTo>
                  <a:cubicBezTo>
                    <a:pt x="2120723" y="384364"/>
                    <a:pt x="2129866" y="387642"/>
                    <a:pt x="2130038" y="414552"/>
                  </a:cubicBezTo>
                  <a:cubicBezTo>
                    <a:pt x="2130383" y="459747"/>
                    <a:pt x="2125381" y="488382"/>
                    <a:pt x="2123828" y="495972"/>
                  </a:cubicBezTo>
                  <a:lnTo>
                    <a:pt x="2123138" y="502527"/>
                  </a:lnTo>
                  <a:lnTo>
                    <a:pt x="2127451" y="505460"/>
                  </a:lnTo>
                  <a:cubicBezTo>
                    <a:pt x="2129348" y="506667"/>
                    <a:pt x="2176269" y="540823"/>
                    <a:pt x="2176786" y="574978"/>
                  </a:cubicBezTo>
                  <a:cubicBezTo>
                    <a:pt x="2177476" y="609823"/>
                    <a:pt x="2169714" y="620863"/>
                    <a:pt x="2169714" y="620863"/>
                  </a:cubicBezTo>
                  <a:cubicBezTo>
                    <a:pt x="2167644" y="623451"/>
                    <a:pt x="2166953" y="626556"/>
                    <a:pt x="2167989" y="629661"/>
                  </a:cubicBezTo>
                  <a:lnTo>
                    <a:pt x="2166091" y="633283"/>
                  </a:lnTo>
                  <a:lnTo>
                    <a:pt x="2170059" y="633283"/>
                  </a:lnTo>
                  <a:lnTo>
                    <a:pt x="2171956" y="636043"/>
                  </a:lnTo>
                  <a:lnTo>
                    <a:pt x="2238714" y="636906"/>
                  </a:lnTo>
                  <a:lnTo>
                    <a:pt x="2304609" y="640183"/>
                  </a:lnTo>
                  <a:cubicBezTo>
                    <a:pt x="2304954" y="640183"/>
                    <a:pt x="2313925" y="642081"/>
                    <a:pt x="2317375" y="648464"/>
                  </a:cubicBezTo>
                  <a:cubicBezTo>
                    <a:pt x="2319962" y="653121"/>
                    <a:pt x="2319445" y="660021"/>
                    <a:pt x="2315822" y="668474"/>
                  </a:cubicBezTo>
                  <a:cubicBezTo>
                    <a:pt x="2309267" y="684344"/>
                    <a:pt x="2294259" y="687966"/>
                    <a:pt x="2277182" y="692106"/>
                  </a:cubicBezTo>
                  <a:cubicBezTo>
                    <a:pt x="2263554" y="695556"/>
                    <a:pt x="2249409" y="699006"/>
                    <a:pt x="2240267" y="709529"/>
                  </a:cubicBezTo>
                  <a:cubicBezTo>
                    <a:pt x="2228364" y="723674"/>
                    <a:pt x="2203351" y="724709"/>
                    <a:pt x="2194036" y="724882"/>
                  </a:cubicBezTo>
                  <a:cubicBezTo>
                    <a:pt x="2177476" y="727297"/>
                    <a:pt x="2158846" y="740407"/>
                    <a:pt x="2161606" y="770077"/>
                  </a:cubicBezTo>
                  <a:cubicBezTo>
                    <a:pt x="2164021" y="797850"/>
                    <a:pt x="2144183" y="821482"/>
                    <a:pt x="2135386" y="825105"/>
                  </a:cubicBezTo>
                  <a:cubicBezTo>
                    <a:pt x="2131763" y="826657"/>
                    <a:pt x="2128486" y="829072"/>
                    <a:pt x="2124518" y="832522"/>
                  </a:cubicBezTo>
                  <a:cubicBezTo>
                    <a:pt x="2115548" y="839767"/>
                    <a:pt x="2105716" y="847530"/>
                    <a:pt x="2093985" y="839077"/>
                  </a:cubicBezTo>
                  <a:lnTo>
                    <a:pt x="2091225" y="837525"/>
                  </a:lnTo>
                  <a:lnTo>
                    <a:pt x="2088810" y="837525"/>
                  </a:lnTo>
                  <a:cubicBezTo>
                    <a:pt x="2072595" y="837525"/>
                    <a:pt x="2051550" y="853567"/>
                    <a:pt x="2043615" y="871680"/>
                  </a:cubicBezTo>
                  <a:cubicBezTo>
                    <a:pt x="2039992" y="880133"/>
                    <a:pt x="2027227" y="884445"/>
                    <a:pt x="2005665" y="884445"/>
                  </a:cubicBezTo>
                  <a:lnTo>
                    <a:pt x="2003940" y="884445"/>
                  </a:lnTo>
                  <a:lnTo>
                    <a:pt x="2000317" y="884445"/>
                  </a:lnTo>
                  <a:lnTo>
                    <a:pt x="1997902" y="885480"/>
                  </a:lnTo>
                  <a:cubicBezTo>
                    <a:pt x="1980997" y="893760"/>
                    <a:pt x="1924244" y="923430"/>
                    <a:pt x="1903027" y="954826"/>
                  </a:cubicBezTo>
                  <a:cubicBezTo>
                    <a:pt x="1894574" y="967418"/>
                    <a:pt x="1885604" y="977251"/>
                    <a:pt x="1878359" y="985358"/>
                  </a:cubicBezTo>
                  <a:cubicBezTo>
                    <a:pt x="1866456" y="998641"/>
                    <a:pt x="1856969" y="1008991"/>
                    <a:pt x="1857314" y="1022964"/>
                  </a:cubicBezTo>
                  <a:cubicBezTo>
                    <a:pt x="1857314" y="1025379"/>
                    <a:pt x="1856451" y="1027449"/>
                    <a:pt x="1854726" y="1029174"/>
                  </a:cubicBezTo>
                  <a:cubicBezTo>
                    <a:pt x="1851276" y="1032796"/>
                    <a:pt x="1844204" y="1033486"/>
                    <a:pt x="1835924" y="1030899"/>
                  </a:cubicBezTo>
                  <a:cubicBezTo>
                    <a:pt x="1832301" y="1021929"/>
                    <a:pt x="1835751" y="1012959"/>
                    <a:pt x="1839719" y="1002264"/>
                  </a:cubicBezTo>
                  <a:cubicBezTo>
                    <a:pt x="1842651" y="994846"/>
                    <a:pt x="1845411" y="987256"/>
                    <a:pt x="1845411" y="979148"/>
                  </a:cubicBezTo>
                  <a:cubicBezTo>
                    <a:pt x="1845239" y="957586"/>
                    <a:pt x="1830921" y="953618"/>
                    <a:pt x="1805046" y="953618"/>
                  </a:cubicBezTo>
                  <a:cubicBezTo>
                    <a:pt x="1801423" y="953618"/>
                    <a:pt x="1797283" y="953618"/>
                    <a:pt x="1792281" y="953791"/>
                  </a:cubicBezTo>
                  <a:cubicBezTo>
                    <a:pt x="1767786" y="956206"/>
                    <a:pt x="1753813" y="976561"/>
                    <a:pt x="1743808" y="991568"/>
                  </a:cubicBezTo>
                  <a:cubicBezTo>
                    <a:pt x="1740185" y="996916"/>
                    <a:pt x="1733630" y="1006749"/>
                    <a:pt x="1730870" y="1006921"/>
                  </a:cubicBezTo>
                  <a:cubicBezTo>
                    <a:pt x="1726040" y="1007094"/>
                    <a:pt x="1719313" y="1007956"/>
                    <a:pt x="1711033" y="1008991"/>
                  </a:cubicBezTo>
                  <a:cubicBezTo>
                    <a:pt x="1700510" y="1010544"/>
                    <a:pt x="1687572" y="1012269"/>
                    <a:pt x="1676015" y="1012269"/>
                  </a:cubicBezTo>
                  <a:cubicBezTo>
                    <a:pt x="1665492" y="1012269"/>
                    <a:pt x="1657902" y="1010716"/>
                    <a:pt x="1653245" y="1007956"/>
                  </a:cubicBezTo>
                  <a:cubicBezTo>
                    <a:pt x="1634442" y="996916"/>
                    <a:pt x="1625300" y="988291"/>
                    <a:pt x="1604427" y="968626"/>
                  </a:cubicBezTo>
                  <a:cubicBezTo>
                    <a:pt x="1591662" y="956206"/>
                    <a:pt x="1570789" y="939646"/>
                    <a:pt x="1555091" y="927053"/>
                  </a:cubicBezTo>
                  <a:cubicBezTo>
                    <a:pt x="1545949" y="919808"/>
                    <a:pt x="1538876" y="914115"/>
                    <a:pt x="1536116" y="911528"/>
                  </a:cubicBezTo>
                  <a:cubicBezTo>
                    <a:pt x="1531804" y="907560"/>
                    <a:pt x="1528699" y="894968"/>
                    <a:pt x="1528354" y="881685"/>
                  </a:cubicBezTo>
                  <a:cubicBezTo>
                    <a:pt x="1528354" y="869783"/>
                    <a:pt x="1515934" y="855637"/>
                    <a:pt x="1501616" y="839250"/>
                  </a:cubicBezTo>
                  <a:cubicBezTo>
                    <a:pt x="1496441" y="833212"/>
                    <a:pt x="1491611" y="827692"/>
                    <a:pt x="1488334" y="823207"/>
                  </a:cubicBezTo>
                  <a:cubicBezTo>
                    <a:pt x="1482641" y="814927"/>
                    <a:pt x="1474188" y="805095"/>
                    <a:pt x="1466426" y="795607"/>
                  </a:cubicBezTo>
                  <a:cubicBezTo>
                    <a:pt x="1461768" y="790087"/>
                    <a:pt x="1457456" y="785084"/>
                    <a:pt x="1456248" y="783359"/>
                  </a:cubicBezTo>
                  <a:cubicBezTo>
                    <a:pt x="1455903" y="782324"/>
                    <a:pt x="1455558" y="778702"/>
                    <a:pt x="1455386" y="776287"/>
                  </a:cubicBezTo>
                  <a:cubicBezTo>
                    <a:pt x="1454178" y="760934"/>
                    <a:pt x="1450901" y="724882"/>
                    <a:pt x="1412088" y="727469"/>
                  </a:cubicBezTo>
                  <a:lnTo>
                    <a:pt x="1408810" y="728159"/>
                  </a:lnTo>
                  <a:cubicBezTo>
                    <a:pt x="1366203" y="744374"/>
                    <a:pt x="1326010" y="763349"/>
                    <a:pt x="1323250" y="794745"/>
                  </a:cubicBezTo>
                  <a:cubicBezTo>
                    <a:pt x="1322042" y="809407"/>
                    <a:pt x="1306862" y="822862"/>
                    <a:pt x="1294097" y="824242"/>
                  </a:cubicBezTo>
                  <a:cubicBezTo>
                    <a:pt x="1292545" y="822690"/>
                    <a:pt x="1290820" y="820792"/>
                    <a:pt x="1288922" y="818722"/>
                  </a:cubicBezTo>
                  <a:cubicBezTo>
                    <a:pt x="1277882" y="806820"/>
                    <a:pt x="1257354" y="784222"/>
                    <a:pt x="1225269" y="784222"/>
                  </a:cubicBezTo>
                  <a:cubicBezTo>
                    <a:pt x="1223199" y="784222"/>
                    <a:pt x="1220957" y="784222"/>
                    <a:pt x="1218887" y="784394"/>
                  </a:cubicBezTo>
                  <a:lnTo>
                    <a:pt x="1210607" y="786465"/>
                  </a:lnTo>
                  <a:lnTo>
                    <a:pt x="1210607" y="793710"/>
                  </a:lnTo>
                  <a:cubicBezTo>
                    <a:pt x="1210607" y="804577"/>
                    <a:pt x="1211642" y="813202"/>
                    <a:pt x="1212504" y="820965"/>
                  </a:cubicBezTo>
                  <a:cubicBezTo>
                    <a:pt x="1213194" y="826312"/>
                    <a:pt x="1213712" y="833385"/>
                    <a:pt x="1213367" y="834592"/>
                  </a:cubicBezTo>
                  <a:cubicBezTo>
                    <a:pt x="1213367" y="834592"/>
                    <a:pt x="1211469" y="835800"/>
                    <a:pt x="1202672" y="836145"/>
                  </a:cubicBezTo>
                  <a:cubicBezTo>
                    <a:pt x="1171794" y="837007"/>
                    <a:pt x="1120043" y="838215"/>
                    <a:pt x="1117283" y="838215"/>
                  </a:cubicBezTo>
                  <a:lnTo>
                    <a:pt x="958065" y="842527"/>
                  </a:lnTo>
                  <a:cubicBezTo>
                    <a:pt x="956512" y="842355"/>
                    <a:pt x="950820" y="841665"/>
                    <a:pt x="940125" y="841665"/>
                  </a:cubicBezTo>
                  <a:cubicBezTo>
                    <a:pt x="928049" y="841665"/>
                    <a:pt x="913904" y="842527"/>
                    <a:pt x="898034" y="844080"/>
                  </a:cubicBezTo>
                  <a:cubicBezTo>
                    <a:pt x="896137" y="844252"/>
                    <a:pt x="894239" y="845115"/>
                    <a:pt x="892859" y="846495"/>
                  </a:cubicBezTo>
                  <a:cubicBezTo>
                    <a:pt x="891824" y="847185"/>
                    <a:pt x="888374" y="847530"/>
                    <a:pt x="885959" y="847702"/>
                  </a:cubicBezTo>
                  <a:cubicBezTo>
                    <a:pt x="874919" y="848910"/>
                    <a:pt x="851804" y="852015"/>
                    <a:pt x="851976" y="884100"/>
                  </a:cubicBezTo>
                  <a:cubicBezTo>
                    <a:pt x="852321" y="912218"/>
                    <a:pt x="852839" y="948788"/>
                    <a:pt x="852839" y="962416"/>
                  </a:cubicBezTo>
                  <a:lnTo>
                    <a:pt x="852839" y="966556"/>
                  </a:lnTo>
                  <a:cubicBezTo>
                    <a:pt x="851286" y="972248"/>
                    <a:pt x="848871" y="986566"/>
                    <a:pt x="857324" y="998469"/>
                  </a:cubicBezTo>
                  <a:cubicBezTo>
                    <a:pt x="864569" y="1008301"/>
                    <a:pt x="877334" y="1013476"/>
                    <a:pt x="895792" y="1013476"/>
                  </a:cubicBezTo>
                  <a:cubicBezTo>
                    <a:pt x="932534" y="1012441"/>
                    <a:pt x="955995" y="1007094"/>
                    <a:pt x="966172" y="1004679"/>
                  </a:cubicBezTo>
                  <a:cubicBezTo>
                    <a:pt x="967725" y="1004506"/>
                    <a:pt x="969105" y="1003989"/>
                    <a:pt x="968760" y="1003989"/>
                  </a:cubicBezTo>
                  <a:cubicBezTo>
                    <a:pt x="978937" y="1003989"/>
                    <a:pt x="1002742" y="1006749"/>
                    <a:pt x="1004640" y="1031071"/>
                  </a:cubicBezTo>
                  <a:cubicBezTo>
                    <a:pt x="1006193" y="1050909"/>
                    <a:pt x="1006710" y="1066779"/>
                    <a:pt x="1000672" y="1073334"/>
                  </a:cubicBezTo>
                  <a:cubicBezTo>
                    <a:pt x="997222" y="1076957"/>
                    <a:pt x="990840" y="1078682"/>
                    <a:pt x="981007" y="1078854"/>
                  </a:cubicBezTo>
                  <a:cubicBezTo>
                    <a:pt x="973072" y="1077647"/>
                    <a:pt x="966517" y="1075232"/>
                    <a:pt x="960480" y="1073334"/>
                  </a:cubicBezTo>
                  <a:cubicBezTo>
                    <a:pt x="945990" y="1068504"/>
                    <a:pt x="929084" y="1064537"/>
                    <a:pt x="908729" y="1070919"/>
                  </a:cubicBezTo>
                  <a:lnTo>
                    <a:pt x="906142" y="1071782"/>
                  </a:lnTo>
                  <a:lnTo>
                    <a:pt x="904589" y="1073334"/>
                  </a:lnTo>
                  <a:cubicBezTo>
                    <a:pt x="888029" y="1090412"/>
                    <a:pt x="858531" y="1099554"/>
                    <a:pt x="839039" y="1099554"/>
                  </a:cubicBezTo>
                  <a:cubicBezTo>
                    <a:pt x="837831" y="1099554"/>
                    <a:pt x="836451" y="1099554"/>
                    <a:pt x="834726" y="1099554"/>
                  </a:cubicBezTo>
                  <a:cubicBezTo>
                    <a:pt x="826619" y="1099554"/>
                    <a:pt x="816614" y="1105247"/>
                    <a:pt x="809541" y="1150960"/>
                  </a:cubicBezTo>
                  <a:lnTo>
                    <a:pt x="803159" y="1259463"/>
                  </a:lnTo>
                  <a:lnTo>
                    <a:pt x="803159" y="1262741"/>
                  </a:lnTo>
                  <a:lnTo>
                    <a:pt x="804366" y="1264810"/>
                  </a:lnTo>
                  <a:cubicBezTo>
                    <a:pt x="808161" y="1271366"/>
                    <a:pt x="828516" y="1304831"/>
                    <a:pt x="860601" y="1314491"/>
                  </a:cubicBezTo>
                  <a:lnTo>
                    <a:pt x="865949" y="1316043"/>
                  </a:lnTo>
                  <a:cubicBezTo>
                    <a:pt x="896654" y="1325013"/>
                    <a:pt x="910972" y="1330706"/>
                    <a:pt x="909764" y="1345024"/>
                  </a:cubicBezTo>
                  <a:cubicBezTo>
                    <a:pt x="908902" y="1352959"/>
                    <a:pt x="907177" y="1361411"/>
                    <a:pt x="905279" y="1370209"/>
                  </a:cubicBezTo>
                  <a:cubicBezTo>
                    <a:pt x="900967" y="1390219"/>
                    <a:pt x="897344" y="1407469"/>
                    <a:pt x="910627" y="1413679"/>
                  </a:cubicBezTo>
                  <a:cubicBezTo>
                    <a:pt x="918044" y="1417129"/>
                    <a:pt x="955995" y="1453009"/>
                    <a:pt x="956340" y="1470432"/>
                  </a:cubicBezTo>
                  <a:cubicBezTo>
                    <a:pt x="956340" y="1478712"/>
                    <a:pt x="958065" y="1487337"/>
                    <a:pt x="959617" y="1495445"/>
                  </a:cubicBezTo>
                  <a:cubicBezTo>
                    <a:pt x="962550" y="1510625"/>
                    <a:pt x="965827" y="1527875"/>
                    <a:pt x="959962" y="1549265"/>
                  </a:cubicBezTo>
                  <a:cubicBezTo>
                    <a:pt x="953925" y="1570828"/>
                    <a:pt x="922702" y="1755577"/>
                    <a:pt x="866984" y="2098337"/>
                  </a:cubicBezTo>
                  <a:lnTo>
                    <a:pt x="865087" y="2109894"/>
                  </a:lnTo>
                  <a:cubicBezTo>
                    <a:pt x="865087" y="2110584"/>
                    <a:pt x="861636" y="2173030"/>
                    <a:pt x="830931" y="2173892"/>
                  </a:cubicBezTo>
                  <a:cubicBezTo>
                    <a:pt x="815751" y="2173892"/>
                    <a:pt x="804711" y="2165957"/>
                    <a:pt x="790911" y="2155952"/>
                  </a:cubicBezTo>
                  <a:cubicBezTo>
                    <a:pt x="776248" y="2145429"/>
                    <a:pt x="758136" y="2132492"/>
                    <a:pt x="729673" y="2128352"/>
                  </a:cubicBezTo>
                  <a:cubicBezTo>
                    <a:pt x="706040" y="2128352"/>
                    <a:pt x="695690" y="2141289"/>
                    <a:pt x="683788" y="2156470"/>
                  </a:cubicBezTo>
                  <a:cubicBezTo>
                    <a:pt x="678613" y="2163025"/>
                    <a:pt x="673265" y="2169407"/>
                    <a:pt x="666710" y="2176307"/>
                  </a:cubicBezTo>
                  <a:cubicBezTo>
                    <a:pt x="644285" y="2199422"/>
                    <a:pt x="622205" y="2209600"/>
                    <a:pt x="593052" y="2210462"/>
                  </a:cubicBezTo>
                  <a:cubicBezTo>
                    <a:pt x="578734" y="2210807"/>
                    <a:pt x="562347" y="2218742"/>
                    <a:pt x="544579" y="2227368"/>
                  </a:cubicBezTo>
                  <a:cubicBezTo>
                    <a:pt x="524742" y="2236682"/>
                    <a:pt x="502489" y="2247378"/>
                    <a:pt x="482134" y="2247895"/>
                  </a:cubicBezTo>
                  <a:cubicBezTo>
                    <a:pt x="453498" y="2247895"/>
                    <a:pt x="415548" y="2253415"/>
                    <a:pt x="375528" y="2296540"/>
                  </a:cubicBezTo>
                  <a:lnTo>
                    <a:pt x="371215" y="2301198"/>
                  </a:lnTo>
                  <a:cubicBezTo>
                    <a:pt x="326883" y="2348808"/>
                    <a:pt x="297385" y="2380376"/>
                    <a:pt x="274442" y="2380894"/>
                  </a:cubicBezTo>
                  <a:cubicBezTo>
                    <a:pt x="243564" y="2381929"/>
                    <a:pt x="210444" y="2405906"/>
                    <a:pt x="208719" y="2407114"/>
                  </a:cubicBezTo>
                  <a:lnTo>
                    <a:pt x="205097" y="2410736"/>
                  </a:lnTo>
                  <a:lnTo>
                    <a:pt x="206304" y="2527175"/>
                  </a:lnTo>
                  <a:cubicBezTo>
                    <a:pt x="194402" y="2539077"/>
                    <a:pt x="158349" y="2577718"/>
                    <a:pt x="149206" y="2614633"/>
                  </a:cubicBezTo>
                  <a:cubicBezTo>
                    <a:pt x="142651" y="2642923"/>
                    <a:pt x="155244" y="2653446"/>
                    <a:pt x="164559" y="2661208"/>
                  </a:cubicBezTo>
                  <a:cubicBezTo>
                    <a:pt x="170941" y="2666556"/>
                    <a:pt x="174736" y="2669661"/>
                    <a:pt x="175081" y="2678458"/>
                  </a:cubicBezTo>
                  <a:cubicBezTo>
                    <a:pt x="175081" y="2683116"/>
                    <a:pt x="175426" y="2687773"/>
                    <a:pt x="175771" y="2692258"/>
                  </a:cubicBezTo>
                  <a:cubicBezTo>
                    <a:pt x="177324" y="2715719"/>
                    <a:pt x="177841" y="2726414"/>
                    <a:pt x="145411" y="2732106"/>
                  </a:cubicBezTo>
                  <a:cubicBezTo>
                    <a:pt x="98663" y="2740904"/>
                    <a:pt x="31560" y="2798864"/>
                    <a:pt x="35183" y="2837332"/>
                  </a:cubicBezTo>
                  <a:cubicBezTo>
                    <a:pt x="36045" y="2845267"/>
                    <a:pt x="37770" y="2854237"/>
                    <a:pt x="39840" y="2864932"/>
                  </a:cubicBezTo>
                  <a:cubicBezTo>
                    <a:pt x="43118" y="2880802"/>
                    <a:pt x="48121" y="2906678"/>
                    <a:pt x="43118" y="2913405"/>
                  </a:cubicBezTo>
                  <a:cubicBezTo>
                    <a:pt x="42946" y="2913750"/>
                    <a:pt x="42428" y="2914440"/>
                    <a:pt x="40185" y="2914440"/>
                  </a:cubicBezTo>
                  <a:cubicBezTo>
                    <a:pt x="23280" y="2915130"/>
                    <a:pt x="10515" y="2921685"/>
                    <a:pt x="4133" y="2933243"/>
                  </a:cubicBezTo>
                  <a:cubicBezTo>
                    <a:pt x="-1215" y="2943075"/>
                    <a:pt x="-3975" y="2960843"/>
                    <a:pt x="12585" y="2988960"/>
                  </a:cubicBezTo>
                  <a:cubicBezTo>
                    <a:pt x="22763" y="3006038"/>
                    <a:pt x="35355" y="3011213"/>
                    <a:pt x="45706" y="3015181"/>
                  </a:cubicBezTo>
                  <a:cubicBezTo>
                    <a:pt x="59506" y="3020701"/>
                    <a:pt x="67268" y="3023633"/>
                    <a:pt x="58126" y="3069864"/>
                  </a:cubicBezTo>
                  <a:cubicBezTo>
                    <a:pt x="55366" y="3079869"/>
                    <a:pt x="56056" y="3087804"/>
                    <a:pt x="60023" y="3094014"/>
                  </a:cubicBezTo>
                  <a:cubicBezTo>
                    <a:pt x="65716" y="3103156"/>
                    <a:pt x="76583" y="3105054"/>
                    <a:pt x="85381" y="3106606"/>
                  </a:cubicBezTo>
                  <a:cubicBezTo>
                    <a:pt x="97973" y="3109021"/>
                    <a:pt x="98663" y="3110056"/>
                    <a:pt x="98663" y="3113679"/>
                  </a:cubicBezTo>
                  <a:cubicBezTo>
                    <a:pt x="98836" y="3133172"/>
                    <a:pt x="113844" y="3139037"/>
                    <a:pt x="123676" y="3143177"/>
                  </a:cubicBezTo>
                  <a:cubicBezTo>
                    <a:pt x="135234" y="3147834"/>
                    <a:pt x="141099" y="3150939"/>
                    <a:pt x="142306" y="3162842"/>
                  </a:cubicBezTo>
                  <a:cubicBezTo>
                    <a:pt x="145239" y="3195617"/>
                    <a:pt x="152829" y="3217697"/>
                    <a:pt x="180429" y="3217697"/>
                  </a:cubicBezTo>
                  <a:cubicBezTo>
                    <a:pt x="186467" y="3217697"/>
                    <a:pt x="194919" y="3226150"/>
                    <a:pt x="204407" y="3235982"/>
                  </a:cubicBezTo>
                  <a:cubicBezTo>
                    <a:pt x="212514" y="3244262"/>
                    <a:pt x="220794" y="3252887"/>
                    <a:pt x="231144" y="3259270"/>
                  </a:cubicBezTo>
                  <a:cubicBezTo>
                    <a:pt x="250637" y="3271345"/>
                    <a:pt x="251155" y="3281523"/>
                    <a:pt x="245634" y="3294460"/>
                  </a:cubicBezTo>
                  <a:cubicBezTo>
                    <a:pt x="243564" y="3299635"/>
                    <a:pt x="233732" y="3309813"/>
                    <a:pt x="226142" y="3317748"/>
                  </a:cubicBezTo>
                  <a:cubicBezTo>
                    <a:pt x="210789" y="3333963"/>
                    <a:pt x="198887" y="3346901"/>
                    <a:pt x="202509" y="3358286"/>
                  </a:cubicBezTo>
                  <a:cubicBezTo>
                    <a:pt x="203372" y="3361218"/>
                    <a:pt x="206304" y="3366566"/>
                    <a:pt x="215102" y="3368291"/>
                  </a:cubicBezTo>
                  <a:cubicBezTo>
                    <a:pt x="226142" y="3370188"/>
                    <a:pt x="243392" y="3371223"/>
                    <a:pt x="266680" y="3371223"/>
                  </a:cubicBezTo>
                  <a:cubicBezTo>
                    <a:pt x="280825" y="3371223"/>
                    <a:pt x="293417" y="3370878"/>
                    <a:pt x="300835" y="3370533"/>
                  </a:cubicBezTo>
                  <a:lnTo>
                    <a:pt x="308252" y="3370188"/>
                  </a:lnTo>
                  <a:cubicBezTo>
                    <a:pt x="316188" y="3369843"/>
                    <a:pt x="328090" y="3369153"/>
                    <a:pt x="341373" y="3369153"/>
                  </a:cubicBezTo>
                  <a:cubicBezTo>
                    <a:pt x="399678" y="3369153"/>
                    <a:pt x="402438" y="3380193"/>
                    <a:pt x="402438" y="3380193"/>
                  </a:cubicBezTo>
                  <a:cubicBezTo>
                    <a:pt x="402438" y="3395718"/>
                    <a:pt x="410891" y="3409691"/>
                    <a:pt x="417963" y="3420904"/>
                  </a:cubicBezTo>
                  <a:cubicBezTo>
                    <a:pt x="421413" y="3426079"/>
                    <a:pt x="426761" y="3435049"/>
                    <a:pt x="426071" y="3437291"/>
                  </a:cubicBezTo>
                  <a:cubicBezTo>
                    <a:pt x="419516" y="3443846"/>
                    <a:pt x="417791" y="3452816"/>
                    <a:pt x="421241" y="3461269"/>
                  </a:cubicBezTo>
                  <a:cubicBezTo>
                    <a:pt x="426416" y="3473689"/>
                    <a:pt x="444701" y="3486627"/>
                    <a:pt x="481099" y="3486627"/>
                  </a:cubicBezTo>
                  <a:cubicBezTo>
                    <a:pt x="521809" y="3485419"/>
                    <a:pt x="595640" y="3474896"/>
                    <a:pt x="611682" y="3472481"/>
                  </a:cubicBezTo>
                  <a:lnTo>
                    <a:pt x="613752" y="3471792"/>
                  </a:lnTo>
                  <a:cubicBezTo>
                    <a:pt x="616340" y="3470757"/>
                    <a:pt x="676198" y="3441949"/>
                    <a:pt x="690343" y="3418834"/>
                  </a:cubicBezTo>
                  <a:cubicBezTo>
                    <a:pt x="697415" y="3407449"/>
                    <a:pt x="720875" y="3383643"/>
                    <a:pt x="752788" y="3354836"/>
                  </a:cubicBezTo>
                  <a:lnTo>
                    <a:pt x="754341" y="3353283"/>
                  </a:lnTo>
                  <a:cubicBezTo>
                    <a:pt x="760378" y="3346728"/>
                    <a:pt x="769866" y="3339483"/>
                    <a:pt x="778146" y="3341726"/>
                  </a:cubicBezTo>
                  <a:cubicBezTo>
                    <a:pt x="777973" y="3366048"/>
                    <a:pt x="775213" y="3383988"/>
                    <a:pt x="772971" y="3398651"/>
                  </a:cubicBezTo>
                  <a:cubicBezTo>
                    <a:pt x="772108" y="3402274"/>
                    <a:pt x="771763" y="3405896"/>
                    <a:pt x="771246" y="3409346"/>
                  </a:cubicBezTo>
                  <a:cubicBezTo>
                    <a:pt x="768658" y="3428149"/>
                    <a:pt x="769521" y="3494907"/>
                    <a:pt x="769521" y="3495079"/>
                  </a:cubicBezTo>
                  <a:lnTo>
                    <a:pt x="770728" y="3612035"/>
                  </a:lnTo>
                  <a:lnTo>
                    <a:pt x="771073" y="3616865"/>
                  </a:lnTo>
                  <a:lnTo>
                    <a:pt x="819201" y="3654815"/>
                  </a:lnTo>
                  <a:cubicBezTo>
                    <a:pt x="821961" y="3678793"/>
                    <a:pt x="843351" y="3680863"/>
                    <a:pt x="863362" y="3680863"/>
                  </a:cubicBezTo>
                  <a:cubicBezTo>
                    <a:pt x="867329" y="3680863"/>
                    <a:pt x="871814" y="3680691"/>
                    <a:pt x="877852" y="3680518"/>
                  </a:cubicBezTo>
                  <a:cubicBezTo>
                    <a:pt x="892514" y="3678793"/>
                    <a:pt x="904072" y="3670513"/>
                    <a:pt x="916492" y="3661715"/>
                  </a:cubicBezTo>
                  <a:cubicBezTo>
                    <a:pt x="932534" y="3650158"/>
                    <a:pt x="948922" y="3638255"/>
                    <a:pt x="977212" y="3637393"/>
                  </a:cubicBezTo>
                  <a:cubicBezTo>
                    <a:pt x="1028273" y="3635668"/>
                    <a:pt x="1070018" y="3634460"/>
                    <a:pt x="1075193" y="3634115"/>
                  </a:cubicBezTo>
                  <a:lnTo>
                    <a:pt x="1161444" y="3631355"/>
                  </a:lnTo>
                  <a:cubicBezTo>
                    <a:pt x="1165756" y="3644638"/>
                    <a:pt x="1178521" y="3669478"/>
                    <a:pt x="1214919" y="3669478"/>
                  </a:cubicBezTo>
                  <a:cubicBezTo>
                    <a:pt x="1256319" y="3667925"/>
                    <a:pt x="1290820" y="3637738"/>
                    <a:pt x="1316522" y="3611173"/>
                  </a:cubicBezTo>
                  <a:cubicBezTo>
                    <a:pt x="1319110" y="3608413"/>
                    <a:pt x="1322042" y="3604963"/>
                    <a:pt x="1325492" y="3601340"/>
                  </a:cubicBezTo>
                  <a:cubicBezTo>
                    <a:pt x="1344295" y="3579950"/>
                    <a:pt x="1373103" y="3547865"/>
                    <a:pt x="1417780" y="3547865"/>
                  </a:cubicBezTo>
                  <a:cubicBezTo>
                    <a:pt x="1420541" y="3547865"/>
                    <a:pt x="1423301" y="3548037"/>
                    <a:pt x="1425888" y="3548209"/>
                  </a:cubicBezTo>
                  <a:lnTo>
                    <a:pt x="1427786" y="3548382"/>
                  </a:lnTo>
                  <a:lnTo>
                    <a:pt x="1429338" y="3548037"/>
                  </a:lnTo>
                  <a:cubicBezTo>
                    <a:pt x="1443483" y="3544415"/>
                    <a:pt x="1451591" y="3530959"/>
                    <a:pt x="1459353" y="3518022"/>
                  </a:cubicBezTo>
                  <a:cubicBezTo>
                    <a:pt x="1467288" y="3505084"/>
                    <a:pt x="1475569" y="3491284"/>
                    <a:pt x="1489714" y="3486454"/>
                  </a:cubicBezTo>
                  <a:cubicBezTo>
                    <a:pt x="1520591" y="3475932"/>
                    <a:pt x="1527491" y="3472827"/>
                    <a:pt x="1551124" y="3461441"/>
                  </a:cubicBezTo>
                  <a:lnTo>
                    <a:pt x="1555954" y="3459026"/>
                  </a:lnTo>
                  <a:cubicBezTo>
                    <a:pt x="1564407" y="3455059"/>
                    <a:pt x="1572859" y="3452471"/>
                    <a:pt x="1579414" y="3450574"/>
                  </a:cubicBezTo>
                  <a:cubicBezTo>
                    <a:pt x="1595457" y="3445744"/>
                    <a:pt x="1612017" y="3440741"/>
                    <a:pt x="1618227" y="3419006"/>
                  </a:cubicBezTo>
                  <a:cubicBezTo>
                    <a:pt x="1624610" y="3396753"/>
                    <a:pt x="1678775" y="3346728"/>
                    <a:pt x="1721728" y="3345176"/>
                  </a:cubicBezTo>
                  <a:cubicBezTo>
                    <a:pt x="1742428" y="3344486"/>
                    <a:pt x="1755020" y="3341208"/>
                    <a:pt x="1771236" y="3336895"/>
                  </a:cubicBezTo>
                  <a:cubicBezTo>
                    <a:pt x="1792971" y="3331203"/>
                    <a:pt x="1820053" y="3323958"/>
                    <a:pt x="1884224" y="3320335"/>
                  </a:cubicBezTo>
                  <a:cubicBezTo>
                    <a:pt x="1889399" y="3319128"/>
                    <a:pt x="1894919" y="3317058"/>
                    <a:pt x="1901129" y="3314988"/>
                  </a:cubicBezTo>
                  <a:cubicBezTo>
                    <a:pt x="1910789" y="3311538"/>
                    <a:pt x="1920622" y="3308088"/>
                    <a:pt x="1928212" y="3308088"/>
                  </a:cubicBezTo>
                  <a:cubicBezTo>
                    <a:pt x="1933559" y="3308088"/>
                    <a:pt x="1947877" y="3308088"/>
                    <a:pt x="1948394" y="3356043"/>
                  </a:cubicBezTo>
                  <a:cubicBezTo>
                    <a:pt x="1949257" y="3424354"/>
                    <a:pt x="1939942" y="3437809"/>
                    <a:pt x="1929764" y="3451781"/>
                  </a:cubicBezTo>
                  <a:cubicBezTo>
                    <a:pt x="1927694" y="3454541"/>
                    <a:pt x="1925797" y="3457474"/>
                    <a:pt x="1923554" y="3460924"/>
                  </a:cubicBezTo>
                  <a:cubicBezTo>
                    <a:pt x="1913722" y="3477139"/>
                    <a:pt x="1923899" y="3490422"/>
                    <a:pt x="1932869" y="3502152"/>
                  </a:cubicBezTo>
                  <a:cubicBezTo>
                    <a:pt x="1939942" y="3511294"/>
                    <a:pt x="1947187" y="3520437"/>
                    <a:pt x="1948222" y="3532857"/>
                  </a:cubicBezTo>
                  <a:cubicBezTo>
                    <a:pt x="1949257" y="3545622"/>
                    <a:pt x="1950982" y="3555282"/>
                    <a:pt x="1952707" y="3564425"/>
                  </a:cubicBezTo>
                  <a:cubicBezTo>
                    <a:pt x="1955122" y="3576845"/>
                    <a:pt x="1956502" y="3585125"/>
                    <a:pt x="1954259" y="3593922"/>
                  </a:cubicBezTo>
                  <a:lnTo>
                    <a:pt x="1953569" y="3595992"/>
                  </a:lnTo>
                  <a:cubicBezTo>
                    <a:pt x="1948222" y="3614623"/>
                    <a:pt x="1939769" y="3645500"/>
                    <a:pt x="1977030" y="3690868"/>
                  </a:cubicBezTo>
                  <a:cubicBezTo>
                    <a:pt x="1984275" y="3699666"/>
                    <a:pt x="1990312" y="3706738"/>
                    <a:pt x="1995660" y="3713121"/>
                  </a:cubicBezTo>
                  <a:cubicBezTo>
                    <a:pt x="2014635" y="3735546"/>
                    <a:pt x="2017395" y="3739168"/>
                    <a:pt x="2027227" y="3759179"/>
                  </a:cubicBezTo>
                  <a:cubicBezTo>
                    <a:pt x="2045340" y="3796439"/>
                    <a:pt x="2107441" y="3825592"/>
                    <a:pt x="2108131" y="3825937"/>
                  </a:cubicBezTo>
                  <a:cubicBezTo>
                    <a:pt x="2145218" y="3842324"/>
                    <a:pt x="2153843" y="3850087"/>
                    <a:pt x="2155741" y="3852329"/>
                  </a:cubicBezTo>
                  <a:cubicBezTo>
                    <a:pt x="2155568" y="3855262"/>
                    <a:pt x="2156086" y="3859747"/>
                    <a:pt x="2159708" y="3864922"/>
                  </a:cubicBezTo>
                  <a:cubicBezTo>
                    <a:pt x="2171439" y="3881482"/>
                    <a:pt x="2208526" y="3901320"/>
                    <a:pt x="2265107" y="3908047"/>
                  </a:cubicBezTo>
                  <a:lnTo>
                    <a:pt x="2269592" y="3908047"/>
                  </a:lnTo>
                  <a:lnTo>
                    <a:pt x="2272179" y="3905977"/>
                  </a:lnTo>
                  <a:cubicBezTo>
                    <a:pt x="2277354" y="3902010"/>
                    <a:pt x="2307542" y="3894420"/>
                    <a:pt x="2342387" y="3894420"/>
                  </a:cubicBezTo>
                  <a:cubicBezTo>
                    <a:pt x="2346355" y="3894420"/>
                    <a:pt x="2350495" y="3894592"/>
                    <a:pt x="2354462" y="3894765"/>
                  </a:cubicBezTo>
                  <a:cubicBezTo>
                    <a:pt x="2354462" y="3895109"/>
                    <a:pt x="2354635" y="3895627"/>
                    <a:pt x="2354635" y="3895972"/>
                  </a:cubicBezTo>
                  <a:cubicBezTo>
                    <a:pt x="2357222" y="3906495"/>
                    <a:pt x="2361880" y="3926332"/>
                    <a:pt x="2394483" y="3926332"/>
                  </a:cubicBezTo>
                  <a:cubicBezTo>
                    <a:pt x="2402245" y="3926160"/>
                    <a:pt x="2410870" y="3924780"/>
                    <a:pt x="2420875" y="3923572"/>
                  </a:cubicBezTo>
                  <a:cubicBezTo>
                    <a:pt x="2431398" y="3922365"/>
                    <a:pt x="2441921" y="3920812"/>
                    <a:pt x="2451408" y="3920812"/>
                  </a:cubicBezTo>
                  <a:cubicBezTo>
                    <a:pt x="2473316" y="3920812"/>
                    <a:pt x="2475386" y="3928230"/>
                    <a:pt x="2475386" y="3936682"/>
                  </a:cubicBezTo>
                  <a:cubicBezTo>
                    <a:pt x="2475731" y="3970665"/>
                    <a:pt x="2502641" y="3981878"/>
                    <a:pt x="2528861" y="3992745"/>
                  </a:cubicBezTo>
                  <a:cubicBezTo>
                    <a:pt x="2536624" y="3996023"/>
                    <a:pt x="2544386" y="3999128"/>
                    <a:pt x="2552321" y="4003268"/>
                  </a:cubicBezTo>
                  <a:cubicBezTo>
                    <a:pt x="2559739" y="4013445"/>
                    <a:pt x="2570607" y="4024313"/>
                    <a:pt x="2589064" y="4024313"/>
                  </a:cubicBezTo>
                  <a:lnTo>
                    <a:pt x="2593032" y="4024141"/>
                  </a:lnTo>
                  <a:cubicBezTo>
                    <a:pt x="2616664" y="4023278"/>
                    <a:pt x="2640987" y="4022416"/>
                    <a:pt x="2674280" y="4019655"/>
                  </a:cubicBezTo>
                  <a:cubicBezTo>
                    <a:pt x="2675315" y="4024313"/>
                    <a:pt x="2676867" y="4033456"/>
                    <a:pt x="2677557" y="4037768"/>
                  </a:cubicBezTo>
                  <a:cubicBezTo>
                    <a:pt x="2683595" y="4077789"/>
                    <a:pt x="2725340" y="4099006"/>
                    <a:pt x="2733620" y="4102801"/>
                  </a:cubicBezTo>
                  <a:lnTo>
                    <a:pt x="2736553" y="4103664"/>
                  </a:lnTo>
                  <a:lnTo>
                    <a:pt x="2738450" y="4103664"/>
                  </a:lnTo>
                  <a:cubicBezTo>
                    <a:pt x="2743970" y="4103491"/>
                    <a:pt x="2772433" y="4102456"/>
                    <a:pt x="2791581" y="4099351"/>
                  </a:cubicBezTo>
                  <a:cubicBezTo>
                    <a:pt x="2804173" y="4097281"/>
                    <a:pt x="2842296" y="4095556"/>
                    <a:pt x="2873346" y="4095556"/>
                  </a:cubicBezTo>
                  <a:cubicBezTo>
                    <a:pt x="2898359" y="4095556"/>
                    <a:pt x="2909054" y="4096591"/>
                    <a:pt x="2913712" y="4097454"/>
                  </a:cubicBezTo>
                  <a:cubicBezTo>
                    <a:pt x="2922164" y="4099179"/>
                    <a:pt x="2930272" y="4105906"/>
                    <a:pt x="2938207" y="4112806"/>
                  </a:cubicBezTo>
                  <a:cubicBezTo>
                    <a:pt x="2948384" y="4121604"/>
                    <a:pt x="2958907" y="4130574"/>
                    <a:pt x="2972362" y="4130574"/>
                  </a:cubicBezTo>
                  <a:cubicBezTo>
                    <a:pt x="2991510" y="4130574"/>
                    <a:pt x="3026355" y="4141442"/>
                    <a:pt x="3029977" y="4147134"/>
                  </a:cubicBezTo>
                  <a:cubicBezTo>
                    <a:pt x="3031185" y="4150584"/>
                    <a:pt x="3033255" y="4153517"/>
                    <a:pt x="3035325" y="4156794"/>
                  </a:cubicBezTo>
                  <a:cubicBezTo>
                    <a:pt x="3040845" y="4165592"/>
                    <a:pt x="3044467" y="4171111"/>
                    <a:pt x="3036187" y="4185774"/>
                  </a:cubicBezTo>
                  <a:cubicBezTo>
                    <a:pt x="3019282" y="4214755"/>
                    <a:pt x="3032910" y="4268920"/>
                    <a:pt x="3049815" y="4281685"/>
                  </a:cubicBezTo>
                  <a:cubicBezTo>
                    <a:pt x="3058958" y="4288585"/>
                    <a:pt x="3076898" y="4324638"/>
                    <a:pt x="3077588" y="4360001"/>
                  </a:cubicBezTo>
                  <a:lnTo>
                    <a:pt x="3077588" y="4367073"/>
                  </a:lnTo>
                  <a:cubicBezTo>
                    <a:pt x="3078278" y="4403471"/>
                    <a:pt x="3077243" y="4415201"/>
                    <a:pt x="3052575" y="4416064"/>
                  </a:cubicBezTo>
                  <a:lnTo>
                    <a:pt x="3048435" y="4416409"/>
                  </a:lnTo>
                  <a:lnTo>
                    <a:pt x="3046020" y="4418479"/>
                  </a:lnTo>
                  <a:cubicBezTo>
                    <a:pt x="3028252" y="4434521"/>
                    <a:pt x="3028252" y="4455394"/>
                    <a:pt x="3045847" y="4476094"/>
                  </a:cubicBezTo>
                  <a:lnTo>
                    <a:pt x="3051885" y="4482994"/>
                  </a:lnTo>
                  <a:cubicBezTo>
                    <a:pt x="3064650" y="4497312"/>
                    <a:pt x="3094838" y="4530777"/>
                    <a:pt x="3095010" y="4552685"/>
                  </a:cubicBezTo>
                  <a:cubicBezTo>
                    <a:pt x="3095355" y="4579595"/>
                    <a:pt x="3098288" y="4637555"/>
                    <a:pt x="3098978" y="4653080"/>
                  </a:cubicBezTo>
                  <a:cubicBezTo>
                    <a:pt x="3098633" y="4656703"/>
                    <a:pt x="3096563" y="4675505"/>
                    <a:pt x="3109155" y="4690168"/>
                  </a:cubicBezTo>
                  <a:cubicBezTo>
                    <a:pt x="3118816" y="4701208"/>
                    <a:pt x="3133478" y="4706728"/>
                    <a:pt x="3154523" y="4706728"/>
                  </a:cubicBezTo>
                  <a:cubicBezTo>
                    <a:pt x="3154696" y="4706728"/>
                    <a:pt x="3154696" y="4706728"/>
                    <a:pt x="3154696" y="4706728"/>
                  </a:cubicBezTo>
                  <a:cubicBezTo>
                    <a:pt x="3206446" y="4702760"/>
                    <a:pt x="3286659" y="4699655"/>
                    <a:pt x="3292007" y="4699655"/>
                  </a:cubicBezTo>
                  <a:lnTo>
                    <a:pt x="3470546" y="4693273"/>
                  </a:lnTo>
                  <a:cubicBezTo>
                    <a:pt x="3483483" y="4694825"/>
                    <a:pt x="3498146" y="4699311"/>
                    <a:pt x="3500906" y="4705003"/>
                  </a:cubicBezTo>
                  <a:cubicBezTo>
                    <a:pt x="3501768" y="4706901"/>
                    <a:pt x="3501078" y="4709488"/>
                    <a:pt x="3499181" y="4712766"/>
                  </a:cubicBezTo>
                  <a:cubicBezTo>
                    <a:pt x="3496766" y="4716561"/>
                    <a:pt x="3494696" y="4720010"/>
                    <a:pt x="3492626" y="4723288"/>
                  </a:cubicBezTo>
                  <a:cubicBezTo>
                    <a:pt x="3479171" y="4744333"/>
                    <a:pt x="3470890" y="4756926"/>
                    <a:pt x="3471753" y="4798326"/>
                  </a:cubicBezTo>
                  <a:cubicBezTo>
                    <a:pt x="3471753" y="4809884"/>
                    <a:pt x="3474341" y="4910107"/>
                    <a:pt x="3516948" y="4913039"/>
                  </a:cubicBezTo>
                  <a:cubicBezTo>
                    <a:pt x="3525056" y="4913385"/>
                    <a:pt x="3532819" y="4922182"/>
                    <a:pt x="3541099" y="4931670"/>
                  </a:cubicBezTo>
                  <a:cubicBezTo>
                    <a:pt x="3551966" y="4944090"/>
                    <a:pt x="3564559" y="4958063"/>
                    <a:pt x="3583361" y="4958063"/>
                  </a:cubicBezTo>
                  <a:cubicBezTo>
                    <a:pt x="3597506" y="4958063"/>
                    <a:pt x="3604752" y="4959960"/>
                    <a:pt x="3611479" y="4963237"/>
                  </a:cubicBezTo>
                  <a:cubicBezTo>
                    <a:pt x="3614757" y="4965825"/>
                    <a:pt x="3618724" y="4979108"/>
                    <a:pt x="3623209" y="5002223"/>
                  </a:cubicBezTo>
                  <a:lnTo>
                    <a:pt x="3624934" y="5010675"/>
                  </a:lnTo>
                  <a:cubicBezTo>
                    <a:pt x="3626832" y="5018783"/>
                    <a:pt x="3635629" y="5030685"/>
                    <a:pt x="3645462" y="5044140"/>
                  </a:cubicBezTo>
                  <a:cubicBezTo>
                    <a:pt x="3649947" y="5050351"/>
                    <a:pt x="3657364" y="5060528"/>
                    <a:pt x="3658227" y="5062253"/>
                  </a:cubicBezTo>
                  <a:cubicBezTo>
                    <a:pt x="3658227" y="5064323"/>
                    <a:pt x="3658917" y="5067428"/>
                    <a:pt x="3659779" y="5071568"/>
                  </a:cubicBezTo>
                  <a:cubicBezTo>
                    <a:pt x="3662194" y="5082953"/>
                    <a:pt x="3666334" y="5103826"/>
                    <a:pt x="3659607" y="5129011"/>
                  </a:cubicBezTo>
                  <a:cubicBezTo>
                    <a:pt x="3655812" y="5143157"/>
                    <a:pt x="3650637" y="5155059"/>
                    <a:pt x="3646324" y="5164891"/>
                  </a:cubicBezTo>
                  <a:cubicBezTo>
                    <a:pt x="3639424" y="5181106"/>
                    <a:pt x="3632869" y="5196459"/>
                    <a:pt x="3633042" y="5214744"/>
                  </a:cubicBezTo>
                  <a:cubicBezTo>
                    <a:pt x="3633214" y="5229752"/>
                    <a:pt x="3629419" y="5238722"/>
                    <a:pt x="3621311" y="5256489"/>
                  </a:cubicBezTo>
                  <a:cubicBezTo>
                    <a:pt x="3616654" y="5266667"/>
                    <a:pt x="3610271" y="5280985"/>
                    <a:pt x="3602681" y="5301685"/>
                  </a:cubicBezTo>
                  <a:cubicBezTo>
                    <a:pt x="3586294" y="5347398"/>
                    <a:pt x="3580429" y="5373445"/>
                    <a:pt x="3578704" y="5382070"/>
                  </a:cubicBezTo>
                  <a:cubicBezTo>
                    <a:pt x="3544548" y="5442101"/>
                    <a:pt x="3552828" y="5452623"/>
                    <a:pt x="3556106" y="5456764"/>
                  </a:cubicBezTo>
                  <a:cubicBezTo>
                    <a:pt x="3559901" y="5461421"/>
                    <a:pt x="3568009" y="5467631"/>
                    <a:pt x="3578359" y="5475566"/>
                  </a:cubicBezTo>
                  <a:cubicBezTo>
                    <a:pt x="3583879" y="5479879"/>
                    <a:pt x="3594746" y="5488159"/>
                    <a:pt x="3598887" y="5492472"/>
                  </a:cubicBezTo>
                  <a:cubicBezTo>
                    <a:pt x="3594056" y="5500406"/>
                    <a:pt x="3574736" y="5521969"/>
                    <a:pt x="3558866" y="5535942"/>
                  </a:cubicBezTo>
                  <a:cubicBezTo>
                    <a:pt x="3544376" y="5548534"/>
                    <a:pt x="3552311" y="5563025"/>
                    <a:pt x="3557658" y="5572857"/>
                  </a:cubicBezTo>
                  <a:cubicBezTo>
                    <a:pt x="3560591" y="5578377"/>
                    <a:pt x="3563696" y="5584414"/>
                    <a:pt x="3563869" y="5589935"/>
                  </a:cubicBezTo>
                  <a:cubicBezTo>
                    <a:pt x="3564041" y="5601665"/>
                    <a:pt x="3573701" y="5622710"/>
                    <a:pt x="3585259" y="5647377"/>
                  </a:cubicBezTo>
                  <a:cubicBezTo>
                    <a:pt x="3595264" y="5669113"/>
                    <a:pt x="3606821" y="5693953"/>
                    <a:pt x="3608029" y="5706200"/>
                  </a:cubicBezTo>
                  <a:cubicBezTo>
                    <a:pt x="3609064" y="5716033"/>
                    <a:pt x="3611306" y="5722760"/>
                    <a:pt x="3612859" y="5728453"/>
                  </a:cubicBezTo>
                  <a:cubicBezTo>
                    <a:pt x="3616481" y="5740010"/>
                    <a:pt x="3619414" y="5749153"/>
                    <a:pt x="3611997" y="5777443"/>
                  </a:cubicBezTo>
                  <a:cubicBezTo>
                    <a:pt x="3599921" y="5824018"/>
                    <a:pt x="3596126" y="5918894"/>
                    <a:pt x="3596126" y="5927347"/>
                  </a:cubicBezTo>
                  <a:cubicBezTo>
                    <a:pt x="3595954" y="5928209"/>
                    <a:pt x="3594919" y="5931660"/>
                    <a:pt x="3593711" y="5934592"/>
                  </a:cubicBezTo>
                  <a:cubicBezTo>
                    <a:pt x="3589916" y="5945632"/>
                    <a:pt x="3583879" y="5962365"/>
                    <a:pt x="3592676" y="5974440"/>
                  </a:cubicBezTo>
                  <a:cubicBezTo>
                    <a:pt x="3598024" y="5981858"/>
                    <a:pt x="3607684" y="5985825"/>
                    <a:pt x="3621484" y="5985825"/>
                  </a:cubicBezTo>
                  <a:lnTo>
                    <a:pt x="3639252" y="5985135"/>
                  </a:lnTo>
                  <a:cubicBezTo>
                    <a:pt x="3652017" y="5984790"/>
                    <a:pt x="3665127" y="5984100"/>
                    <a:pt x="3676512" y="5984100"/>
                  </a:cubicBezTo>
                  <a:cubicBezTo>
                    <a:pt x="3704457" y="5984100"/>
                    <a:pt x="3709632" y="5987723"/>
                    <a:pt x="3709805" y="5986860"/>
                  </a:cubicBezTo>
                  <a:cubicBezTo>
                    <a:pt x="3713600" y="6008595"/>
                    <a:pt x="3747928" y="6009975"/>
                    <a:pt x="3785533" y="6009630"/>
                  </a:cubicBezTo>
                  <a:lnTo>
                    <a:pt x="3788120" y="6009630"/>
                  </a:lnTo>
                  <a:cubicBezTo>
                    <a:pt x="3796228" y="6010320"/>
                    <a:pt x="3808993" y="6009975"/>
                    <a:pt x="3862641" y="6006870"/>
                  </a:cubicBezTo>
                  <a:lnTo>
                    <a:pt x="3868333" y="6005663"/>
                  </a:lnTo>
                  <a:lnTo>
                    <a:pt x="3870231" y="6001350"/>
                  </a:lnTo>
                  <a:cubicBezTo>
                    <a:pt x="3873853" y="5993415"/>
                    <a:pt x="3883858" y="5985997"/>
                    <a:pt x="3920774" y="5963572"/>
                  </a:cubicBezTo>
                  <a:cubicBezTo>
                    <a:pt x="3925949" y="5965297"/>
                    <a:pt x="3928536" y="5972715"/>
                    <a:pt x="3929744" y="5978925"/>
                  </a:cubicBezTo>
                  <a:cubicBezTo>
                    <a:pt x="3936126" y="6012045"/>
                    <a:pt x="3975802" y="6011700"/>
                    <a:pt x="3989947" y="6012045"/>
                  </a:cubicBezTo>
                  <a:lnTo>
                    <a:pt x="3992362" y="6012045"/>
                  </a:lnTo>
                  <a:cubicBezTo>
                    <a:pt x="3993914" y="6011873"/>
                    <a:pt x="3995984" y="6011700"/>
                    <a:pt x="3998399" y="6011355"/>
                  </a:cubicBezTo>
                  <a:lnTo>
                    <a:pt x="4001159" y="6011182"/>
                  </a:lnTo>
                  <a:cubicBezTo>
                    <a:pt x="4007369" y="6010320"/>
                    <a:pt x="4013752" y="6009457"/>
                    <a:pt x="4020307" y="6009457"/>
                  </a:cubicBezTo>
                  <a:cubicBezTo>
                    <a:pt x="4038247" y="6009457"/>
                    <a:pt x="4041870" y="6015840"/>
                    <a:pt x="4042905" y="6022050"/>
                  </a:cubicBezTo>
                  <a:cubicBezTo>
                    <a:pt x="4045837" y="6038093"/>
                    <a:pt x="4053600" y="6048098"/>
                    <a:pt x="4060327" y="6057240"/>
                  </a:cubicBezTo>
                  <a:cubicBezTo>
                    <a:pt x="4067745" y="6067073"/>
                    <a:pt x="4073610" y="6075008"/>
                    <a:pt x="4073782" y="6089325"/>
                  </a:cubicBezTo>
                  <a:cubicBezTo>
                    <a:pt x="4073955" y="6100883"/>
                    <a:pt x="4073955" y="6109508"/>
                    <a:pt x="4073782" y="6118306"/>
                  </a:cubicBezTo>
                  <a:cubicBezTo>
                    <a:pt x="4073437" y="6131071"/>
                    <a:pt x="4073437" y="6142283"/>
                    <a:pt x="4074990" y="6159878"/>
                  </a:cubicBezTo>
                  <a:cubicBezTo>
                    <a:pt x="4076542" y="6172471"/>
                    <a:pt x="4076542" y="6178509"/>
                    <a:pt x="4076715" y="6185754"/>
                  </a:cubicBezTo>
                  <a:cubicBezTo>
                    <a:pt x="4076887" y="6194034"/>
                    <a:pt x="4077060" y="6202314"/>
                    <a:pt x="4078612" y="6219392"/>
                  </a:cubicBezTo>
                  <a:cubicBezTo>
                    <a:pt x="4081545" y="6252512"/>
                    <a:pt x="4081890" y="6269762"/>
                    <a:pt x="4082062" y="6280802"/>
                  </a:cubicBezTo>
                  <a:cubicBezTo>
                    <a:pt x="4082062" y="6288219"/>
                    <a:pt x="4086547" y="6295809"/>
                    <a:pt x="4091033" y="6303572"/>
                  </a:cubicBezTo>
                  <a:cubicBezTo>
                    <a:pt x="4093448" y="6307885"/>
                    <a:pt x="4097587" y="6314957"/>
                    <a:pt x="4097587" y="6317890"/>
                  </a:cubicBezTo>
                  <a:cubicBezTo>
                    <a:pt x="4097587" y="6318752"/>
                    <a:pt x="4097587" y="6320305"/>
                    <a:pt x="4097415" y="6322030"/>
                  </a:cubicBezTo>
                  <a:cubicBezTo>
                    <a:pt x="4096380" y="6336347"/>
                    <a:pt x="4094483" y="6369468"/>
                    <a:pt x="4112595" y="6388788"/>
                  </a:cubicBezTo>
                  <a:cubicBezTo>
                    <a:pt x="4121048" y="6397930"/>
                    <a:pt x="4133468" y="6402588"/>
                    <a:pt x="4149338" y="6402588"/>
                  </a:cubicBezTo>
                  <a:cubicBezTo>
                    <a:pt x="4165381" y="6400518"/>
                    <a:pt x="4177111" y="6399656"/>
                    <a:pt x="4187116" y="6398965"/>
                  </a:cubicBezTo>
                  <a:cubicBezTo>
                    <a:pt x="4208506" y="6397413"/>
                    <a:pt x="4218856" y="6396895"/>
                    <a:pt x="4237659" y="6381543"/>
                  </a:cubicBezTo>
                  <a:cubicBezTo>
                    <a:pt x="4248181" y="6372573"/>
                    <a:pt x="4258186" y="6364120"/>
                    <a:pt x="4276126" y="6364120"/>
                  </a:cubicBezTo>
                  <a:cubicBezTo>
                    <a:pt x="4281302" y="6364120"/>
                    <a:pt x="4286994" y="6364983"/>
                    <a:pt x="4293032" y="6366190"/>
                  </a:cubicBezTo>
                  <a:cubicBezTo>
                    <a:pt x="4314422" y="6386373"/>
                    <a:pt x="4323909" y="6398621"/>
                    <a:pt x="4324254" y="6423806"/>
                  </a:cubicBezTo>
                  <a:cubicBezTo>
                    <a:pt x="4324427" y="6440366"/>
                    <a:pt x="4327704" y="6455373"/>
                    <a:pt x="4330809" y="6469863"/>
                  </a:cubicBezTo>
                  <a:cubicBezTo>
                    <a:pt x="4332879" y="6480386"/>
                    <a:pt x="4335294" y="6489873"/>
                    <a:pt x="4335294" y="6497981"/>
                  </a:cubicBezTo>
                  <a:cubicBezTo>
                    <a:pt x="4335467" y="6505398"/>
                    <a:pt x="4333397" y="6512126"/>
                    <a:pt x="4330809" y="6520234"/>
                  </a:cubicBezTo>
                  <a:cubicBezTo>
                    <a:pt x="4327532" y="6529894"/>
                    <a:pt x="4323737" y="6541969"/>
                    <a:pt x="4323909" y="6558184"/>
                  </a:cubicBezTo>
                  <a:cubicBezTo>
                    <a:pt x="4324254" y="6580437"/>
                    <a:pt x="4315974" y="6610107"/>
                    <a:pt x="4313732" y="6618387"/>
                  </a:cubicBezTo>
                  <a:cubicBezTo>
                    <a:pt x="4302002" y="6629944"/>
                    <a:pt x="4288374" y="6645125"/>
                    <a:pt x="4285959" y="6654612"/>
                  </a:cubicBezTo>
                  <a:cubicBezTo>
                    <a:pt x="4285097" y="6657545"/>
                    <a:pt x="4276989" y="6669275"/>
                    <a:pt x="4272331" y="6676175"/>
                  </a:cubicBezTo>
                  <a:cubicBezTo>
                    <a:pt x="4256461" y="6698945"/>
                    <a:pt x="4251286" y="6707743"/>
                    <a:pt x="4253701" y="6715505"/>
                  </a:cubicBezTo>
                  <a:cubicBezTo>
                    <a:pt x="4254391" y="6717403"/>
                    <a:pt x="4255426" y="6719128"/>
                    <a:pt x="4257324" y="6720335"/>
                  </a:cubicBezTo>
                  <a:cubicBezTo>
                    <a:pt x="4257496" y="6721370"/>
                    <a:pt x="4258014" y="6723095"/>
                    <a:pt x="4258186" y="6723958"/>
                  </a:cubicBezTo>
                  <a:cubicBezTo>
                    <a:pt x="4260774" y="6734998"/>
                    <a:pt x="4266466" y="6760873"/>
                    <a:pt x="4304244" y="6760873"/>
                  </a:cubicBezTo>
                  <a:cubicBezTo>
                    <a:pt x="4328912" y="6760010"/>
                    <a:pt x="4347714" y="6752938"/>
                    <a:pt x="4363584" y="6747073"/>
                  </a:cubicBezTo>
                  <a:cubicBezTo>
                    <a:pt x="4373417" y="6743278"/>
                    <a:pt x="4381870" y="6740000"/>
                    <a:pt x="4387735" y="6740000"/>
                  </a:cubicBezTo>
                  <a:cubicBezTo>
                    <a:pt x="4398775" y="6741035"/>
                    <a:pt x="4414473" y="6765358"/>
                    <a:pt x="4412920" y="6796063"/>
                  </a:cubicBezTo>
                  <a:cubicBezTo>
                    <a:pt x="4411195" y="6827286"/>
                    <a:pt x="4427410" y="6850401"/>
                    <a:pt x="4436380" y="6863684"/>
                  </a:cubicBezTo>
                  <a:cubicBezTo>
                    <a:pt x="4438105" y="6866099"/>
                    <a:pt x="4439313" y="6867996"/>
                    <a:pt x="4440175" y="6869376"/>
                  </a:cubicBezTo>
                  <a:cubicBezTo>
                    <a:pt x="4440520" y="6870239"/>
                    <a:pt x="4442762" y="6878691"/>
                    <a:pt x="4425685" y="6919574"/>
                  </a:cubicBezTo>
                  <a:cubicBezTo>
                    <a:pt x="4421372" y="6930614"/>
                    <a:pt x="4424133" y="6951142"/>
                    <a:pt x="4427755" y="6978397"/>
                  </a:cubicBezTo>
                  <a:cubicBezTo>
                    <a:pt x="4430688" y="7001685"/>
                    <a:pt x="4434310" y="7027905"/>
                    <a:pt x="4432240" y="7046707"/>
                  </a:cubicBezTo>
                  <a:cubicBezTo>
                    <a:pt x="4429653" y="7071203"/>
                    <a:pt x="4419303" y="7075860"/>
                    <a:pt x="4400845" y="7084485"/>
                  </a:cubicBezTo>
                  <a:cubicBezTo>
                    <a:pt x="4394807" y="7087245"/>
                    <a:pt x="4388770" y="7090178"/>
                    <a:pt x="4382215" y="7094318"/>
                  </a:cubicBezTo>
                  <a:cubicBezTo>
                    <a:pt x="4359962" y="7108808"/>
                    <a:pt x="4336847" y="7126231"/>
                    <a:pt x="4317009" y="7141411"/>
                  </a:cubicBezTo>
                  <a:lnTo>
                    <a:pt x="4312524" y="7144861"/>
                  </a:lnTo>
                  <a:cubicBezTo>
                    <a:pt x="4299069" y="7155038"/>
                    <a:pt x="4268019" y="7159868"/>
                    <a:pt x="4245249" y="7160903"/>
                  </a:cubicBezTo>
                  <a:cubicBezTo>
                    <a:pt x="4234209" y="7161248"/>
                    <a:pt x="4196776" y="7166251"/>
                    <a:pt x="4187461" y="7207651"/>
                  </a:cubicBezTo>
                  <a:cubicBezTo>
                    <a:pt x="4184011" y="7221969"/>
                    <a:pt x="4162103" y="7230939"/>
                    <a:pt x="4140368" y="7239564"/>
                  </a:cubicBezTo>
                  <a:cubicBezTo>
                    <a:pt x="4126223" y="7245257"/>
                    <a:pt x="4112768" y="7250604"/>
                    <a:pt x="4103625" y="7258367"/>
                  </a:cubicBezTo>
                  <a:cubicBezTo>
                    <a:pt x="4096380" y="7264404"/>
                    <a:pt x="4085512" y="7271132"/>
                    <a:pt x="4075852" y="7276997"/>
                  </a:cubicBezTo>
                  <a:cubicBezTo>
                    <a:pt x="4051702" y="7291487"/>
                    <a:pt x="4030830" y="7304080"/>
                    <a:pt x="4031002" y="7321157"/>
                  </a:cubicBezTo>
                  <a:cubicBezTo>
                    <a:pt x="4031347" y="7339097"/>
                    <a:pt x="4025827" y="7353415"/>
                    <a:pt x="4016857" y="7358417"/>
                  </a:cubicBezTo>
                  <a:cubicBezTo>
                    <a:pt x="4012544" y="7360833"/>
                    <a:pt x="4007887" y="7362212"/>
                    <a:pt x="4003229" y="7363937"/>
                  </a:cubicBezTo>
                  <a:cubicBezTo>
                    <a:pt x="3990809" y="7368250"/>
                    <a:pt x="3977009" y="7373080"/>
                    <a:pt x="3972352" y="7388088"/>
                  </a:cubicBezTo>
                  <a:cubicBezTo>
                    <a:pt x="3969937" y="7395333"/>
                    <a:pt x="3953204" y="7416723"/>
                    <a:pt x="3943199" y="7429488"/>
                  </a:cubicBezTo>
                  <a:cubicBezTo>
                    <a:pt x="3929054" y="7447255"/>
                    <a:pt x="3924569" y="7453466"/>
                    <a:pt x="3923534" y="7457088"/>
                  </a:cubicBezTo>
                  <a:cubicBezTo>
                    <a:pt x="3922326" y="7459503"/>
                    <a:pt x="3913874" y="7468646"/>
                    <a:pt x="3908009" y="7475200"/>
                  </a:cubicBezTo>
                  <a:lnTo>
                    <a:pt x="3906284" y="7477098"/>
                  </a:lnTo>
                  <a:cubicBezTo>
                    <a:pt x="3889033" y="7496073"/>
                    <a:pt x="3872991" y="7514013"/>
                    <a:pt x="3866781" y="7526779"/>
                  </a:cubicBezTo>
                  <a:cubicBezTo>
                    <a:pt x="3862813" y="7535231"/>
                    <a:pt x="3853843" y="7542821"/>
                    <a:pt x="3845736" y="7549376"/>
                  </a:cubicBezTo>
                  <a:cubicBezTo>
                    <a:pt x="3836421" y="7557139"/>
                    <a:pt x="3828486" y="7563694"/>
                    <a:pt x="3826761" y="7572664"/>
                  </a:cubicBezTo>
                  <a:cubicBezTo>
                    <a:pt x="3825208" y="7576114"/>
                    <a:pt x="3814340" y="7586291"/>
                    <a:pt x="3804508" y="7595262"/>
                  </a:cubicBezTo>
                  <a:cubicBezTo>
                    <a:pt x="3785705" y="7612339"/>
                    <a:pt x="3760520" y="7635800"/>
                    <a:pt x="3744133" y="7662882"/>
                  </a:cubicBezTo>
                  <a:cubicBezTo>
                    <a:pt x="3733437" y="7663745"/>
                    <a:pt x="3724985" y="7667194"/>
                    <a:pt x="3719120" y="7673059"/>
                  </a:cubicBezTo>
                  <a:cubicBezTo>
                    <a:pt x="3713427" y="7679097"/>
                    <a:pt x="3710150" y="7687550"/>
                    <a:pt x="3710322" y="7697382"/>
                  </a:cubicBezTo>
                  <a:cubicBezTo>
                    <a:pt x="3710495" y="7719808"/>
                    <a:pt x="3690140" y="7734125"/>
                    <a:pt x="3675132" y="7744475"/>
                  </a:cubicBezTo>
                  <a:cubicBezTo>
                    <a:pt x="3668232" y="7748960"/>
                    <a:pt x="3663402" y="7752583"/>
                    <a:pt x="3660469" y="7756550"/>
                  </a:cubicBezTo>
                  <a:lnTo>
                    <a:pt x="3658399" y="7759310"/>
                  </a:lnTo>
                  <a:cubicBezTo>
                    <a:pt x="3654604" y="7764485"/>
                    <a:pt x="3649257" y="7771730"/>
                    <a:pt x="3652189" y="7780183"/>
                  </a:cubicBezTo>
                  <a:cubicBezTo>
                    <a:pt x="3655639" y="7790188"/>
                    <a:pt x="3668232" y="7794673"/>
                    <a:pt x="3681169" y="7798123"/>
                  </a:cubicBezTo>
                  <a:cubicBezTo>
                    <a:pt x="3694107" y="7801573"/>
                    <a:pt x="3706700" y="7803298"/>
                    <a:pt x="3717050" y="7803298"/>
                  </a:cubicBezTo>
                  <a:cubicBezTo>
                    <a:pt x="3750515" y="7803298"/>
                    <a:pt x="3756553" y="7785358"/>
                    <a:pt x="3757415" y="7777768"/>
                  </a:cubicBezTo>
                  <a:cubicBezTo>
                    <a:pt x="3758105" y="7773110"/>
                    <a:pt x="3775183" y="7758620"/>
                    <a:pt x="3802610" y="7758620"/>
                  </a:cubicBezTo>
                  <a:cubicBezTo>
                    <a:pt x="3806923" y="7758620"/>
                    <a:pt x="3811408" y="7758793"/>
                    <a:pt x="3815375" y="7759655"/>
                  </a:cubicBezTo>
                  <a:cubicBezTo>
                    <a:pt x="3822793" y="7772593"/>
                    <a:pt x="3840733" y="7782943"/>
                    <a:pt x="3858501" y="7793121"/>
                  </a:cubicBezTo>
                  <a:cubicBezTo>
                    <a:pt x="3869196" y="7799330"/>
                    <a:pt x="3886618" y="7809681"/>
                    <a:pt x="3887481" y="7814166"/>
                  </a:cubicBezTo>
                  <a:cubicBezTo>
                    <a:pt x="3887653" y="7832968"/>
                    <a:pt x="3919394" y="7861604"/>
                    <a:pt x="3947166" y="7882821"/>
                  </a:cubicBezTo>
                  <a:cubicBezTo>
                    <a:pt x="3953549" y="7906454"/>
                    <a:pt x="3956482" y="7926119"/>
                    <a:pt x="3955274" y="7935952"/>
                  </a:cubicBezTo>
                  <a:cubicBezTo>
                    <a:pt x="3954067" y="7945957"/>
                    <a:pt x="3956999" y="7955962"/>
                    <a:pt x="3963209" y="7963034"/>
                  </a:cubicBezTo>
                  <a:cubicBezTo>
                    <a:pt x="3972007" y="7972867"/>
                    <a:pt x="3985807" y="7974937"/>
                    <a:pt x="4000814" y="7969244"/>
                  </a:cubicBezTo>
                  <a:lnTo>
                    <a:pt x="4004264" y="7968037"/>
                  </a:lnTo>
                  <a:lnTo>
                    <a:pt x="4005817" y="7965622"/>
                  </a:lnTo>
                  <a:cubicBezTo>
                    <a:pt x="4017202" y="7947854"/>
                    <a:pt x="4036522" y="7933019"/>
                    <a:pt x="4046527" y="7925946"/>
                  </a:cubicBezTo>
                  <a:cubicBezTo>
                    <a:pt x="4051875" y="7929741"/>
                    <a:pt x="4060672" y="7937504"/>
                    <a:pt x="4065502" y="7949924"/>
                  </a:cubicBezTo>
                  <a:cubicBezTo>
                    <a:pt x="4075162" y="7973902"/>
                    <a:pt x="4090515" y="7993912"/>
                    <a:pt x="4103625" y="8000122"/>
                  </a:cubicBezTo>
                  <a:cubicBezTo>
                    <a:pt x="4104832" y="8000467"/>
                    <a:pt x="4107247" y="8002537"/>
                    <a:pt x="4108973" y="8003745"/>
                  </a:cubicBezTo>
                  <a:cubicBezTo>
                    <a:pt x="4117425" y="8010644"/>
                    <a:pt x="4131743" y="8021685"/>
                    <a:pt x="4158480" y="8021685"/>
                  </a:cubicBezTo>
                  <a:cubicBezTo>
                    <a:pt x="4163138" y="8021685"/>
                    <a:pt x="4168141" y="8021339"/>
                    <a:pt x="4171935" y="8020650"/>
                  </a:cubicBezTo>
                  <a:cubicBezTo>
                    <a:pt x="4186253" y="8020650"/>
                    <a:pt x="4200916" y="8038762"/>
                    <a:pt x="4210576" y="8052562"/>
                  </a:cubicBezTo>
                  <a:cubicBezTo>
                    <a:pt x="4216614" y="8061015"/>
                    <a:pt x="4225929" y="8064982"/>
                    <a:pt x="4234554" y="8068605"/>
                  </a:cubicBezTo>
                  <a:cubicBezTo>
                    <a:pt x="4246284" y="8073435"/>
                    <a:pt x="4250424" y="8076023"/>
                    <a:pt x="4250596" y="8083785"/>
                  </a:cubicBezTo>
                  <a:cubicBezTo>
                    <a:pt x="4250941" y="8112420"/>
                    <a:pt x="4283717" y="8155891"/>
                    <a:pt x="4331672" y="8155891"/>
                  </a:cubicBezTo>
                  <a:cubicBezTo>
                    <a:pt x="4354097" y="8155891"/>
                    <a:pt x="4381870" y="8160375"/>
                    <a:pt x="4386527" y="8181248"/>
                  </a:cubicBezTo>
                  <a:cubicBezTo>
                    <a:pt x="4392047" y="8205743"/>
                    <a:pt x="4412575" y="8274399"/>
                    <a:pt x="4419820" y="8284749"/>
                  </a:cubicBezTo>
                  <a:cubicBezTo>
                    <a:pt x="4427065" y="8295272"/>
                    <a:pt x="4446040" y="8306312"/>
                    <a:pt x="4466568" y="8306312"/>
                  </a:cubicBezTo>
                  <a:cubicBezTo>
                    <a:pt x="4470190" y="8306312"/>
                    <a:pt x="4476400" y="8317180"/>
                    <a:pt x="4479161" y="8332705"/>
                  </a:cubicBezTo>
                  <a:lnTo>
                    <a:pt x="4480195" y="8337362"/>
                  </a:lnTo>
                  <a:lnTo>
                    <a:pt x="4483473" y="8339260"/>
                  </a:lnTo>
                  <a:cubicBezTo>
                    <a:pt x="4484681" y="8340122"/>
                    <a:pt x="4486233" y="8341847"/>
                    <a:pt x="4486233" y="8344090"/>
                  </a:cubicBezTo>
                  <a:cubicBezTo>
                    <a:pt x="4486233" y="8347885"/>
                    <a:pt x="4481748" y="8362375"/>
                    <a:pt x="4432930" y="8388422"/>
                  </a:cubicBezTo>
                  <a:lnTo>
                    <a:pt x="4430515" y="8390320"/>
                  </a:lnTo>
                  <a:cubicBezTo>
                    <a:pt x="4400155" y="8425682"/>
                    <a:pt x="4405502" y="8506758"/>
                    <a:pt x="4405502" y="8506758"/>
                  </a:cubicBezTo>
                  <a:cubicBezTo>
                    <a:pt x="4405502" y="8507793"/>
                    <a:pt x="4404640" y="8537291"/>
                    <a:pt x="4428618" y="8559716"/>
                  </a:cubicBezTo>
                  <a:lnTo>
                    <a:pt x="4431895" y="8562303"/>
                  </a:lnTo>
                  <a:lnTo>
                    <a:pt x="4435172" y="8562303"/>
                  </a:lnTo>
                  <a:lnTo>
                    <a:pt x="4457598" y="8554196"/>
                  </a:lnTo>
                  <a:cubicBezTo>
                    <a:pt x="4488993" y="8540568"/>
                    <a:pt x="4508141" y="8532288"/>
                    <a:pt x="4513661" y="8511243"/>
                  </a:cubicBezTo>
                  <a:cubicBezTo>
                    <a:pt x="4515386" y="8505550"/>
                    <a:pt x="4536776" y="8488473"/>
                    <a:pt x="4551439" y="8476743"/>
                  </a:cubicBezTo>
                  <a:cubicBezTo>
                    <a:pt x="4580591" y="8453627"/>
                    <a:pt x="4613539" y="8427235"/>
                    <a:pt x="4618887" y="8404810"/>
                  </a:cubicBezTo>
                  <a:cubicBezTo>
                    <a:pt x="4622164" y="8390664"/>
                    <a:pt x="4633549" y="8364272"/>
                    <a:pt x="4646142" y="8335465"/>
                  </a:cubicBezTo>
                  <a:cubicBezTo>
                    <a:pt x="4662184" y="8298722"/>
                    <a:pt x="4678745" y="8260944"/>
                    <a:pt x="4681849" y="8239726"/>
                  </a:cubicBezTo>
                  <a:cubicBezTo>
                    <a:pt x="4683747" y="8225409"/>
                    <a:pt x="4696512" y="8218681"/>
                    <a:pt x="4717557" y="8209021"/>
                  </a:cubicBezTo>
                  <a:cubicBezTo>
                    <a:pt x="4733082" y="8201776"/>
                    <a:pt x="4749125" y="8194358"/>
                    <a:pt x="4758785" y="8180041"/>
                  </a:cubicBezTo>
                  <a:cubicBezTo>
                    <a:pt x="4774310" y="8156580"/>
                    <a:pt x="4888333" y="8073607"/>
                    <a:pt x="4916279" y="8053770"/>
                  </a:cubicBezTo>
                  <a:lnTo>
                    <a:pt x="4919039" y="8051873"/>
                  </a:lnTo>
                  <a:cubicBezTo>
                    <a:pt x="4931976" y="8040832"/>
                    <a:pt x="4998562" y="7981837"/>
                    <a:pt x="5041342" y="7904729"/>
                  </a:cubicBezTo>
                  <a:cubicBezTo>
                    <a:pt x="5087400" y="7821238"/>
                    <a:pt x="5151398" y="7671335"/>
                    <a:pt x="5151225" y="7671335"/>
                  </a:cubicBezTo>
                  <a:cubicBezTo>
                    <a:pt x="5246446" y="7524709"/>
                    <a:pt x="5322692" y="7472958"/>
                    <a:pt x="5355295" y="7450706"/>
                  </a:cubicBezTo>
                  <a:cubicBezTo>
                    <a:pt x="5368922" y="7441563"/>
                    <a:pt x="5375822" y="7436905"/>
                    <a:pt x="5377029" y="7429316"/>
                  </a:cubicBezTo>
                  <a:cubicBezTo>
                    <a:pt x="5377719" y="7425003"/>
                    <a:pt x="5388587" y="7409305"/>
                    <a:pt x="5395832" y="7398955"/>
                  </a:cubicBezTo>
                  <a:cubicBezTo>
                    <a:pt x="5408252" y="7381532"/>
                    <a:pt x="5422225" y="7361350"/>
                    <a:pt x="5426710" y="7346515"/>
                  </a:cubicBezTo>
                  <a:cubicBezTo>
                    <a:pt x="5429470" y="7337717"/>
                    <a:pt x="5431885" y="7327022"/>
                    <a:pt x="5434645" y="7315292"/>
                  </a:cubicBezTo>
                  <a:cubicBezTo>
                    <a:pt x="5439130" y="7296317"/>
                    <a:pt x="5443960" y="7274927"/>
                    <a:pt x="5451895" y="7259747"/>
                  </a:cubicBezTo>
                  <a:cubicBezTo>
                    <a:pt x="5460693" y="7242841"/>
                    <a:pt x="5457242" y="7210756"/>
                    <a:pt x="5453793" y="7178671"/>
                  </a:cubicBezTo>
                  <a:cubicBezTo>
                    <a:pt x="5452585" y="7166079"/>
                    <a:pt x="5450515" y="7147276"/>
                    <a:pt x="5450860" y="7144689"/>
                  </a:cubicBezTo>
                  <a:cubicBezTo>
                    <a:pt x="5462762" y="7131923"/>
                    <a:pt x="5462935" y="7086383"/>
                    <a:pt x="5460175" y="7060853"/>
                  </a:cubicBezTo>
                  <a:cubicBezTo>
                    <a:pt x="5457415" y="7036185"/>
                    <a:pt x="5451205" y="6998407"/>
                    <a:pt x="5448617" y="6982192"/>
                  </a:cubicBezTo>
                  <a:lnTo>
                    <a:pt x="5447928" y="6978570"/>
                  </a:lnTo>
                  <a:cubicBezTo>
                    <a:pt x="5452412" y="6966150"/>
                    <a:pt x="5471043" y="6913364"/>
                    <a:pt x="5470525" y="6886799"/>
                  </a:cubicBezTo>
                  <a:cubicBezTo>
                    <a:pt x="5470353" y="6870239"/>
                    <a:pt x="5474492" y="6853678"/>
                    <a:pt x="5478287" y="6840051"/>
                  </a:cubicBezTo>
                  <a:lnTo>
                    <a:pt x="5478633" y="6838153"/>
                  </a:lnTo>
                  <a:cubicBezTo>
                    <a:pt x="5480358" y="6831081"/>
                    <a:pt x="5482083" y="6825216"/>
                    <a:pt x="5482600" y="6819868"/>
                  </a:cubicBezTo>
                  <a:cubicBezTo>
                    <a:pt x="5483290" y="6814694"/>
                    <a:pt x="5487085" y="6811588"/>
                    <a:pt x="5493985" y="6805551"/>
                  </a:cubicBezTo>
                  <a:cubicBezTo>
                    <a:pt x="5500540" y="6799858"/>
                    <a:pt x="5508993" y="6792786"/>
                    <a:pt x="5515720" y="6781056"/>
                  </a:cubicBezTo>
                  <a:cubicBezTo>
                    <a:pt x="5526760" y="6762770"/>
                    <a:pt x="5510200" y="6746900"/>
                    <a:pt x="5498298" y="6735170"/>
                  </a:cubicBezTo>
                  <a:cubicBezTo>
                    <a:pt x="5495020" y="6731893"/>
                    <a:pt x="5487430" y="6724648"/>
                    <a:pt x="5486395" y="6723785"/>
                  </a:cubicBezTo>
                  <a:cubicBezTo>
                    <a:pt x="5489845" y="6720335"/>
                    <a:pt x="5495365" y="6718610"/>
                    <a:pt x="5501575" y="6716540"/>
                  </a:cubicBezTo>
                  <a:cubicBezTo>
                    <a:pt x="5511408" y="6713263"/>
                    <a:pt x="5524690" y="6709123"/>
                    <a:pt x="5531073" y="6694287"/>
                  </a:cubicBezTo>
                  <a:cubicBezTo>
                    <a:pt x="5536421" y="6697220"/>
                    <a:pt x="5543493" y="6702222"/>
                    <a:pt x="5549013" y="6706190"/>
                  </a:cubicBezTo>
                  <a:cubicBezTo>
                    <a:pt x="5558328" y="6712745"/>
                    <a:pt x="5564021" y="6716368"/>
                    <a:pt x="5568506" y="6717748"/>
                  </a:cubicBezTo>
                  <a:lnTo>
                    <a:pt x="5570921" y="6717920"/>
                  </a:lnTo>
                  <a:cubicBezTo>
                    <a:pt x="5579201" y="6717920"/>
                    <a:pt x="5587136" y="6711365"/>
                    <a:pt x="5590931" y="6707225"/>
                  </a:cubicBezTo>
                  <a:cubicBezTo>
                    <a:pt x="5601626" y="6696185"/>
                    <a:pt x="5608009" y="6680832"/>
                    <a:pt x="5607491" y="6666342"/>
                  </a:cubicBezTo>
                  <a:cubicBezTo>
                    <a:pt x="5607491" y="6659960"/>
                    <a:pt x="5614736" y="6654267"/>
                    <a:pt x="5626466" y="6645470"/>
                  </a:cubicBezTo>
                  <a:cubicBezTo>
                    <a:pt x="5640094" y="6635292"/>
                    <a:pt x="5659069" y="6621147"/>
                    <a:pt x="5668039" y="6596824"/>
                  </a:cubicBezTo>
                  <a:cubicBezTo>
                    <a:pt x="5674076" y="6580954"/>
                    <a:pt x="5685806" y="6579402"/>
                    <a:pt x="5704264" y="6578022"/>
                  </a:cubicBezTo>
                  <a:cubicBezTo>
                    <a:pt x="5719617" y="6576987"/>
                    <a:pt x="5738420" y="6575434"/>
                    <a:pt x="5743594" y="6554907"/>
                  </a:cubicBezTo>
                  <a:cubicBezTo>
                    <a:pt x="5748252" y="6536622"/>
                    <a:pt x="5768090" y="6528514"/>
                    <a:pt x="5791205" y="6519026"/>
                  </a:cubicBezTo>
                  <a:cubicBezTo>
                    <a:pt x="5798967" y="6515749"/>
                    <a:pt x="5806730" y="6512644"/>
                    <a:pt x="5813975" y="6509021"/>
                  </a:cubicBezTo>
                  <a:cubicBezTo>
                    <a:pt x="5843473" y="6494014"/>
                    <a:pt x="5901261" y="6455891"/>
                    <a:pt x="5921271" y="6431741"/>
                  </a:cubicBezTo>
                  <a:cubicBezTo>
                    <a:pt x="5932656" y="6417595"/>
                    <a:pt x="5984406" y="6405521"/>
                    <a:pt x="6016492" y="6401380"/>
                  </a:cubicBezTo>
                  <a:lnTo>
                    <a:pt x="6020459" y="6400518"/>
                  </a:lnTo>
                  <a:cubicBezTo>
                    <a:pt x="6057202" y="6386373"/>
                    <a:pt x="6086182" y="6376885"/>
                    <a:pt x="6094635" y="6376540"/>
                  </a:cubicBezTo>
                  <a:cubicBezTo>
                    <a:pt x="6106710" y="6376195"/>
                    <a:pt x="6146730" y="6372400"/>
                    <a:pt x="6161048" y="6364810"/>
                  </a:cubicBezTo>
                  <a:cubicBezTo>
                    <a:pt x="6167257" y="6361360"/>
                    <a:pt x="6168810" y="6356013"/>
                    <a:pt x="6169500" y="6352390"/>
                  </a:cubicBezTo>
                  <a:cubicBezTo>
                    <a:pt x="6171225" y="6345835"/>
                    <a:pt x="6175020" y="6330482"/>
                    <a:pt x="6247988" y="6302192"/>
                  </a:cubicBezTo>
                  <a:cubicBezTo>
                    <a:pt x="6303189" y="6280802"/>
                    <a:pt x="6316471" y="6269762"/>
                    <a:pt x="6319921" y="6258722"/>
                  </a:cubicBezTo>
                  <a:cubicBezTo>
                    <a:pt x="6322336" y="6249924"/>
                    <a:pt x="6317851" y="6243714"/>
                    <a:pt x="6314574" y="6239229"/>
                  </a:cubicBezTo>
                  <a:cubicBezTo>
                    <a:pt x="6314229" y="6238539"/>
                    <a:pt x="6313711" y="6238194"/>
                    <a:pt x="6313366" y="6237504"/>
                  </a:cubicBezTo>
                  <a:cubicBezTo>
                    <a:pt x="6319921" y="6235779"/>
                    <a:pt x="6333549" y="6234227"/>
                    <a:pt x="6343726" y="6233191"/>
                  </a:cubicBezTo>
                  <a:cubicBezTo>
                    <a:pt x="6379779" y="6229396"/>
                    <a:pt x="6428425" y="6224049"/>
                    <a:pt x="6443087" y="6195069"/>
                  </a:cubicBezTo>
                  <a:cubicBezTo>
                    <a:pt x="6452402" y="6197484"/>
                    <a:pt x="6463615" y="6203349"/>
                    <a:pt x="6467237" y="6205764"/>
                  </a:cubicBezTo>
                  <a:lnTo>
                    <a:pt x="6524163" y="6244232"/>
                  </a:lnTo>
                  <a:lnTo>
                    <a:pt x="6526750" y="6245267"/>
                  </a:lnTo>
                  <a:lnTo>
                    <a:pt x="6528648" y="6245267"/>
                  </a:lnTo>
                  <a:cubicBezTo>
                    <a:pt x="6544518" y="6245267"/>
                    <a:pt x="6582813" y="6240092"/>
                    <a:pt x="6595061" y="6193172"/>
                  </a:cubicBezTo>
                  <a:cubicBezTo>
                    <a:pt x="6600408" y="6172471"/>
                    <a:pt x="6605929" y="6170746"/>
                    <a:pt x="6611448" y="6170746"/>
                  </a:cubicBezTo>
                  <a:cubicBezTo>
                    <a:pt x="6613863" y="6170746"/>
                    <a:pt x="6616278" y="6171091"/>
                    <a:pt x="6619384" y="6171781"/>
                  </a:cubicBezTo>
                  <a:lnTo>
                    <a:pt x="6620419" y="6216114"/>
                  </a:lnTo>
                  <a:cubicBezTo>
                    <a:pt x="6620763" y="6237849"/>
                    <a:pt x="6650089" y="6239574"/>
                    <a:pt x="6674239" y="6241127"/>
                  </a:cubicBezTo>
                  <a:cubicBezTo>
                    <a:pt x="6678551" y="6241299"/>
                    <a:pt x="6682346" y="6241472"/>
                    <a:pt x="6685969" y="6241989"/>
                  </a:cubicBezTo>
                  <a:cubicBezTo>
                    <a:pt x="6689937" y="6242334"/>
                    <a:pt x="6695974" y="6243197"/>
                    <a:pt x="6703909" y="6244577"/>
                  </a:cubicBezTo>
                  <a:lnTo>
                    <a:pt x="6708566" y="6245439"/>
                  </a:lnTo>
                  <a:cubicBezTo>
                    <a:pt x="6733752" y="6249579"/>
                    <a:pt x="6776187" y="6256307"/>
                    <a:pt x="6811032" y="6256307"/>
                  </a:cubicBezTo>
                  <a:cubicBezTo>
                    <a:pt x="6811032" y="6256307"/>
                    <a:pt x="6811205" y="6256307"/>
                    <a:pt x="6811377" y="6256307"/>
                  </a:cubicBezTo>
                  <a:cubicBezTo>
                    <a:pt x="6859850" y="6254582"/>
                    <a:pt x="6860713" y="6225429"/>
                    <a:pt x="6862093" y="6172471"/>
                  </a:cubicBezTo>
                  <a:cubicBezTo>
                    <a:pt x="6862955" y="6132106"/>
                    <a:pt x="6906425" y="6114856"/>
                    <a:pt x="6948861" y="6097951"/>
                  </a:cubicBezTo>
                  <a:cubicBezTo>
                    <a:pt x="6958521" y="6094155"/>
                    <a:pt x="6967491" y="6090533"/>
                    <a:pt x="6975771" y="6086565"/>
                  </a:cubicBezTo>
                  <a:cubicBezTo>
                    <a:pt x="7006476" y="6072421"/>
                    <a:pt x="7030109" y="6072075"/>
                    <a:pt x="7047359" y="6071558"/>
                  </a:cubicBezTo>
                  <a:cubicBezTo>
                    <a:pt x="7055121" y="6071386"/>
                    <a:pt x="7061504" y="6071213"/>
                    <a:pt x="7067369" y="6070005"/>
                  </a:cubicBezTo>
                  <a:cubicBezTo>
                    <a:pt x="7089794" y="6066210"/>
                    <a:pt x="7086862" y="6031020"/>
                    <a:pt x="7083239" y="5986342"/>
                  </a:cubicBezTo>
                  <a:cubicBezTo>
                    <a:pt x="7082204" y="5974612"/>
                    <a:pt x="7081169" y="5962365"/>
                    <a:pt x="7080824" y="5952187"/>
                  </a:cubicBezTo>
                  <a:lnTo>
                    <a:pt x="7080479" y="5937007"/>
                  </a:lnTo>
                  <a:cubicBezTo>
                    <a:pt x="7079617" y="5907854"/>
                    <a:pt x="7079444" y="5894572"/>
                    <a:pt x="7092037" y="5860589"/>
                  </a:cubicBezTo>
                  <a:cubicBezTo>
                    <a:pt x="7101352" y="5835231"/>
                    <a:pt x="7132575" y="5814531"/>
                    <a:pt x="7159312" y="5796763"/>
                  </a:cubicBezTo>
                  <a:cubicBezTo>
                    <a:pt x="7163452" y="5794003"/>
                    <a:pt x="7167420" y="5791243"/>
                    <a:pt x="7171388" y="5788656"/>
                  </a:cubicBezTo>
                  <a:cubicBezTo>
                    <a:pt x="7173975" y="5788829"/>
                    <a:pt x="7176390" y="5789346"/>
                    <a:pt x="7179323" y="5789346"/>
                  </a:cubicBezTo>
                  <a:cubicBezTo>
                    <a:pt x="7188465" y="5789346"/>
                    <a:pt x="7196573" y="5787621"/>
                    <a:pt x="7203990" y="5784171"/>
                  </a:cubicBezTo>
                  <a:cubicBezTo>
                    <a:pt x="7211408" y="5780721"/>
                    <a:pt x="7217100" y="5776063"/>
                    <a:pt x="7220895" y="5769853"/>
                  </a:cubicBezTo>
                  <a:cubicBezTo>
                    <a:pt x="7224863" y="5763816"/>
                    <a:pt x="7226760" y="5757261"/>
                    <a:pt x="7226760" y="5750361"/>
                  </a:cubicBezTo>
                  <a:cubicBezTo>
                    <a:pt x="7226760" y="5746738"/>
                    <a:pt x="7226243" y="5743461"/>
                    <a:pt x="7225208" y="5740183"/>
                  </a:cubicBezTo>
                  <a:cubicBezTo>
                    <a:pt x="7241078" y="5722588"/>
                    <a:pt x="7255913" y="5700508"/>
                    <a:pt x="7263331" y="5669457"/>
                  </a:cubicBezTo>
                  <a:cubicBezTo>
                    <a:pt x="7272646" y="5630473"/>
                    <a:pt x="7312148" y="5577342"/>
                    <a:pt x="7332849" y="5553192"/>
                  </a:cubicBezTo>
                  <a:cubicBezTo>
                    <a:pt x="7364761" y="5527661"/>
                    <a:pt x="7396674" y="5472633"/>
                    <a:pt x="7395639" y="5416743"/>
                  </a:cubicBezTo>
                  <a:cubicBezTo>
                    <a:pt x="7395467" y="5409326"/>
                    <a:pt x="7394949" y="5401218"/>
                    <a:pt x="7394604" y="5392765"/>
                  </a:cubicBezTo>
                  <a:cubicBezTo>
                    <a:pt x="7392016" y="5346018"/>
                    <a:pt x="7389084" y="5288057"/>
                    <a:pt x="7427379" y="5229407"/>
                  </a:cubicBezTo>
                  <a:cubicBezTo>
                    <a:pt x="7443422" y="5204739"/>
                    <a:pt x="7461362" y="5185074"/>
                    <a:pt x="7477060" y="5167824"/>
                  </a:cubicBezTo>
                  <a:cubicBezTo>
                    <a:pt x="7507592" y="5134531"/>
                    <a:pt x="7533640" y="5105896"/>
                    <a:pt x="7532605" y="5058630"/>
                  </a:cubicBezTo>
                  <a:cubicBezTo>
                    <a:pt x="7531570" y="5007915"/>
                    <a:pt x="7551580" y="4953405"/>
                    <a:pt x="7562620" y="4922872"/>
                  </a:cubicBezTo>
                  <a:cubicBezTo>
                    <a:pt x="7565553" y="4914592"/>
                    <a:pt x="7568141" y="4908209"/>
                    <a:pt x="7569175" y="4903725"/>
                  </a:cubicBezTo>
                  <a:cubicBezTo>
                    <a:pt x="7570210" y="4899067"/>
                    <a:pt x="7573833" y="4889062"/>
                    <a:pt x="7578145" y="4877504"/>
                  </a:cubicBezTo>
                  <a:cubicBezTo>
                    <a:pt x="7590048" y="4845247"/>
                    <a:pt x="7609713" y="4791081"/>
                    <a:pt x="7616785" y="4742436"/>
                  </a:cubicBezTo>
                  <a:cubicBezTo>
                    <a:pt x="7626101" y="4675505"/>
                    <a:pt x="7614025" y="4603055"/>
                    <a:pt x="7613508" y="4601502"/>
                  </a:cubicBezTo>
                  <a:cubicBezTo>
                    <a:pt x="7613508" y="4588737"/>
                    <a:pt x="7613508" y="4473679"/>
                    <a:pt x="7612646" y="4429518"/>
                  </a:cubicBezTo>
                  <a:cubicBezTo>
                    <a:pt x="7612301" y="4405368"/>
                    <a:pt x="7621443" y="4379666"/>
                    <a:pt x="7629723" y="4356378"/>
                  </a:cubicBezTo>
                  <a:cubicBezTo>
                    <a:pt x="7636624" y="4337403"/>
                    <a:pt x="7642316" y="4321015"/>
                    <a:pt x="7642143" y="4307560"/>
                  </a:cubicBezTo>
                  <a:cubicBezTo>
                    <a:pt x="7641971" y="4295140"/>
                    <a:pt x="7642143" y="4282548"/>
                    <a:pt x="7642489" y="4269438"/>
                  </a:cubicBezTo>
                  <a:cubicBezTo>
                    <a:pt x="7642833" y="4253912"/>
                    <a:pt x="7643351" y="4237697"/>
                    <a:pt x="7642833" y="4219067"/>
                  </a:cubicBezTo>
                  <a:cubicBezTo>
                    <a:pt x="7641971" y="4184912"/>
                    <a:pt x="7644041" y="4170939"/>
                    <a:pt x="7668881" y="4156276"/>
                  </a:cubicBezTo>
                  <a:cubicBezTo>
                    <a:pt x="7702001" y="4136784"/>
                    <a:pt x="7702174" y="4133506"/>
                    <a:pt x="7711316" y="4051568"/>
                  </a:cubicBezTo>
                  <a:cubicBezTo>
                    <a:pt x="7714249" y="4025348"/>
                    <a:pt x="7720286" y="4019655"/>
                    <a:pt x="7721494" y="4019655"/>
                  </a:cubicBezTo>
                  <a:cubicBezTo>
                    <a:pt x="7725806" y="4019655"/>
                    <a:pt x="7735639" y="4029488"/>
                    <a:pt x="7740987" y="4037941"/>
                  </a:cubicBezTo>
                  <a:cubicBezTo>
                    <a:pt x="7741331" y="4039838"/>
                    <a:pt x="7753924" y="4081756"/>
                    <a:pt x="7791185" y="4077961"/>
                  </a:cubicBezTo>
                  <a:lnTo>
                    <a:pt x="7793082" y="4077098"/>
                  </a:lnTo>
                  <a:cubicBezTo>
                    <a:pt x="7819820" y="4060883"/>
                    <a:pt x="7932463" y="3954795"/>
                    <a:pt x="7948333" y="3920467"/>
                  </a:cubicBezTo>
                  <a:cubicBezTo>
                    <a:pt x="7949196" y="3919260"/>
                    <a:pt x="8017679" y="3775221"/>
                    <a:pt x="8020439" y="3757626"/>
                  </a:cubicBezTo>
                  <a:cubicBezTo>
                    <a:pt x="8021474" y="3752106"/>
                    <a:pt x="8036481" y="3733304"/>
                    <a:pt x="8045624" y="3721746"/>
                  </a:cubicBezTo>
                  <a:cubicBezTo>
                    <a:pt x="8055457" y="3709326"/>
                    <a:pt x="8060287" y="3703116"/>
                    <a:pt x="8061666" y="3698976"/>
                  </a:cubicBezTo>
                  <a:cubicBezTo>
                    <a:pt x="8063391" y="3696043"/>
                    <a:pt x="8073742" y="3686728"/>
                    <a:pt x="8080296" y="3681208"/>
                  </a:cubicBezTo>
                  <a:cubicBezTo>
                    <a:pt x="8090474" y="3672411"/>
                    <a:pt x="8098582" y="3665166"/>
                    <a:pt x="8102549" y="3659645"/>
                  </a:cubicBezTo>
                  <a:cubicBezTo>
                    <a:pt x="8111347" y="3648778"/>
                    <a:pt x="8232615" y="3572360"/>
                    <a:pt x="8252453" y="3567357"/>
                  </a:cubicBezTo>
                  <a:cubicBezTo>
                    <a:pt x="8269358" y="3563045"/>
                    <a:pt x="8310413" y="3518367"/>
                    <a:pt x="8395111" y="3422801"/>
                  </a:cubicBezTo>
                  <a:cubicBezTo>
                    <a:pt x="8424954" y="3388646"/>
                    <a:pt x="8451692" y="3358803"/>
                    <a:pt x="8472909" y="3336206"/>
                  </a:cubicBezTo>
                  <a:cubicBezTo>
                    <a:pt x="8543462" y="3261340"/>
                    <a:pt x="8591245" y="3082111"/>
                    <a:pt x="8591245" y="3081766"/>
                  </a:cubicBezTo>
                  <a:cubicBezTo>
                    <a:pt x="8601767" y="3059341"/>
                    <a:pt x="8603665" y="3043126"/>
                    <a:pt x="8606253" y="3019838"/>
                  </a:cubicBezTo>
                  <a:cubicBezTo>
                    <a:pt x="8608150" y="3002588"/>
                    <a:pt x="8610737" y="2980853"/>
                    <a:pt x="8617983" y="2948423"/>
                  </a:cubicBezTo>
                  <a:cubicBezTo>
                    <a:pt x="8630058" y="2901848"/>
                    <a:pt x="8614188" y="2849579"/>
                    <a:pt x="8598490" y="2798347"/>
                  </a:cubicBezTo>
                  <a:close/>
                  <a:moveTo>
                    <a:pt x="8112037" y="2324141"/>
                  </a:moveTo>
                  <a:cubicBezTo>
                    <a:pt x="8118592" y="2367611"/>
                    <a:pt x="8163270" y="2385206"/>
                    <a:pt x="8202427" y="2400731"/>
                  </a:cubicBezTo>
                  <a:cubicBezTo>
                    <a:pt x="8206913" y="2402456"/>
                    <a:pt x="8211397" y="2404181"/>
                    <a:pt x="8215710" y="2405906"/>
                  </a:cubicBezTo>
                  <a:cubicBezTo>
                    <a:pt x="8232270" y="2412806"/>
                    <a:pt x="8251073" y="2415911"/>
                    <a:pt x="8272808" y="2415911"/>
                  </a:cubicBezTo>
                  <a:cubicBezTo>
                    <a:pt x="8287988" y="2415911"/>
                    <a:pt x="8302306" y="2414359"/>
                    <a:pt x="8316278" y="2412979"/>
                  </a:cubicBezTo>
                  <a:cubicBezTo>
                    <a:pt x="8324041" y="2412116"/>
                    <a:pt x="8330768" y="2411426"/>
                    <a:pt x="8336461" y="2411254"/>
                  </a:cubicBezTo>
                  <a:cubicBezTo>
                    <a:pt x="8366994" y="2411254"/>
                    <a:pt x="8428059" y="2419189"/>
                    <a:pt x="8451002" y="2425916"/>
                  </a:cubicBezTo>
                  <a:cubicBezTo>
                    <a:pt x="8472736" y="2432472"/>
                    <a:pt x="8514827" y="2458174"/>
                    <a:pt x="8517932" y="2490087"/>
                  </a:cubicBezTo>
                  <a:cubicBezTo>
                    <a:pt x="8519485" y="2506647"/>
                    <a:pt x="8525867" y="2538560"/>
                    <a:pt x="8533112" y="2575475"/>
                  </a:cubicBezTo>
                  <a:cubicBezTo>
                    <a:pt x="8540357" y="2612045"/>
                    <a:pt x="8548982" y="2655343"/>
                    <a:pt x="8554330" y="2691568"/>
                  </a:cubicBezTo>
                  <a:cubicBezTo>
                    <a:pt x="8492919" y="2690361"/>
                    <a:pt x="8426161" y="2687601"/>
                    <a:pt x="8417709" y="2687601"/>
                  </a:cubicBezTo>
                  <a:cubicBezTo>
                    <a:pt x="8408911" y="2687601"/>
                    <a:pt x="8404254" y="2689671"/>
                    <a:pt x="8392351" y="2689671"/>
                  </a:cubicBezTo>
                  <a:cubicBezTo>
                    <a:pt x="8379069" y="2689671"/>
                    <a:pt x="8356644" y="2686911"/>
                    <a:pt x="8314381" y="2673973"/>
                  </a:cubicBezTo>
                  <a:cubicBezTo>
                    <a:pt x="8285228" y="2665176"/>
                    <a:pt x="8265218" y="2661726"/>
                    <a:pt x="8250728" y="2661726"/>
                  </a:cubicBezTo>
                  <a:cubicBezTo>
                    <a:pt x="8224508" y="2660863"/>
                    <a:pt x="8214157" y="2676043"/>
                    <a:pt x="8209155" y="2681391"/>
                  </a:cubicBezTo>
                  <a:cubicBezTo>
                    <a:pt x="8192940" y="2701918"/>
                    <a:pt x="8207430" y="2724861"/>
                    <a:pt x="8192940" y="2780407"/>
                  </a:cubicBezTo>
                  <a:cubicBezTo>
                    <a:pt x="8188800" y="2794552"/>
                    <a:pt x="8185522" y="2795242"/>
                    <a:pt x="8182072" y="2795414"/>
                  </a:cubicBezTo>
                  <a:cubicBezTo>
                    <a:pt x="8169135" y="2798002"/>
                    <a:pt x="8135842" y="2756084"/>
                    <a:pt x="8134289" y="2742629"/>
                  </a:cubicBezTo>
                  <a:cubicBezTo>
                    <a:pt x="8131874" y="2730899"/>
                    <a:pt x="8120489" y="2725724"/>
                    <a:pt x="8111692" y="2726414"/>
                  </a:cubicBezTo>
                  <a:cubicBezTo>
                    <a:pt x="8090302" y="2726759"/>
                    <a:pt x="8060114" y="2741766"/>
                    <a:pt x="8045624" y="2741421"/>
                  </a:cubicBezTo>
                  <a:cubicBezTo>
                    <a:pt x="8024751" y="2741076"/>
                    <a:pt x="8007156" y="2727104"/>
                    <a:pt x="8006811" y="2695881"/>
                  </a:cubicBezTo>
                  <a:cubicBezTo>
                    <a:pt x="8007673" y="2662243"/>
                    <a:pt x="8014746" y="2652756"/>
                    <a:pt x="8040276" y="2641716"/>
                  </a:cubicBezTo>
                  <a:cubicBezTo>
                    <a:pt x="8053559" y="2637230"/>
                    <a:pt x="8060976" y="2625846"/>
                    <a:pt x="8060631" y="2615150"/>
                  </a:cubicBezTo>
                  <a:cubicBezTo>
                    <a:pt x="8060287" y="2600315"/>
                    <a:pt x="8052179" y="2587550"/>
                    <a:pt x="8051316" y="2580478"/>
                  </a:cubicBezTo>
                  <a:cubicBezTo>
                    <a:pt x="8046659" y="2566332"/>
                    <a:pt x="8035274" y="2567368"/>
                    <a:pt x="8024923" y="2566850"/>
                  </a:cubicBezTo>
                  <a:cubicBezTo>
                    <a:pt x="7996288" y="2567885"/>
                    <a:pt x="7952645" y="2577372"/>
                    <a:pt x="7938673" y="2599798"/>
                  </a:cubicBezTo>
                  <a:cubicBezTo>
                    <a:pt x="7930220" y="2617565"/>
                    <a:pt x="7902793" y="2631883"/>
                    <a:pt x="7876400" y="2657068"/>
                  </a:cubicBezTo>
                  <a:cubicBezTo>
                    <a:pt x="7873985" y="2659483"/>
                    <a:pt x="7869845" y="2660863"/>
                    <a:pt x="7863463" y="2660863"/>
                  </a:cubicBezTo>
                  <a:cubicBezTo>
                    <a:pt x="7848455" y="2661036"/>
                    <a:pt x="7827237" y="2652238"/>
                    <a:pt x="7809470" y="2643613"/>
                  </a:cubicBezTo>
                  <a:cubicBezTo>
                    <a:pt x="7796877" y="2637230"/>
                    <a:pt x="7786182" y="2631020"/>
                    <a:pt x="7781352" y="2627915"/>
                  </a:cubicBezTo>
                  <a:cubicBezTo>
                    <a:pt x="7781524" y="2629468"/>
                    <a:pt x="7782042" y="2631193"/>
                    <a:pt x="7782214" y="2632400"/>
                  </a:cubicBezTo>
                  <a:cubicBezTo>
                    <a:pt x="7782214" y="2632573"/>
                    <a:pt x="7782214" y="2632745"/>
                    <a:pt x="7782214" y="2632918"/>
                  </a:cubicBezTo>
                  <a:cubicBezTo>
                    <a:pt x="7782042" y="2631711"/>
                    <a:pt x="7781697" y="2629985"/>
                    <a:pt x="7781352" y="2628605"/>
                  </a:cubicBezTo>
                  <a:cubicBezTo>
                    <a:pt x="7780490" y="2628088"/>
                    <a:pt x="7779799" y="2627743"/>
                    <a:pt x="7779282" y="2627398"/>
                  </a:cubicBezTo>
                  <a:lnTo>
                    <a:pt x="7779799" y="2626535"/>
                  </a:lnTo>
                  <a:cubicBezTo>
                    <a:pt x="7779799" y="2626535"/>
                    <a:pt x="7780834" y="2627225"/>
                    <a:pt x="7782732" y="2628261"/>
                  </a:cubicBezTo>
                  <a:cubicBezTo>
                    <a:pt x="7780834" y="2618255"/>
                    <a:pt x="7777557" y="2603248"/>
                    <a:pt x="7777557" y="2592208"/>
                  </a:cubicBezTo>
                  <a:cubicBezTo>
                    <a:pt x="7777557" y="2587550"/>
                    <a:pt x="7778247" y="2583928"/>
                    <a:pt x="7779109" y="2582375"/>
                  </a:cubicBezTo>
                  <a:cubicBezTo>
                    <a:pt x="7779972" y="2581685"/>
                    <a:pt x="7779109" y="2582030"/>
                    <a:pt x="7779972" y="2581685"/>
                  </a:cubicBezTo>
                  <a:cubicBezTo>
                    <a:pt x="7780662" y="2581685"/>
                    <a:pt x="7781697" y="2581858"/>
                    <a:pt x="7783594" y="2582548"/>
                  </a:cubicBezTo>
                  <a:cubicBezTo>
                    <a:pt x="7792047" y="2585825"/>
                    <a:pt x="7800672" y="2587723"/>
                    <a:pt x="7809125" y="2587723"/>
                  </a:cubicBezTo>
                  <a:cubicBezTo>
                    <a:pt x="7831377" y="2587895"/>
                    <a:pt x="7852077" y="2574268"/>
                    <a:pt x="7861047" y="2547875"/>
                  </a:cubicBezTo>
                  <a:cubicBezTo>
                    <a:pt x="7872088" y="2515099"/>
                    <a:pt x="7880195" y="2489397"/>
                    <a:pt x="7898308" y="2466627"/>
                  </a:cubicBezTo>
                  <a:cubicBezTo>
                    <a:pt x="7918318" y="2440234"/>
                    <a:pt x="7945401" y="2378824"/>
                    <a:pt x="7966963" y="2371924"/>
                  </a:cubicBezTo>
                  <a:cubicBezTo>
                    <a:pt x="7987836" y="2363471"/>
                    <a:pt x="8039931" y="2327246"/>
                    <a:pt x="8094441" y="2305511"/>
                  </a:cubicBezTo>
                  <a:cubicBezTo>
                    <a:pt x="8103929" y="2310513"/>
                    <a:pt x="8110829" y="2316378"/>
                    <a:pt x="8112037" y="2324141"/>
                  </a:cubicBezTo>
                  <a:close/>
                  <a:moveTo>
                    <a:pt x="7229865" y="1868220"/>
                  </a:moveTo>
                  <a:cubicBezTo>
                    <a:pt x="7244701" y="1867702"/>
                    <a:pt x="7262640" y="1866150"/>
                    <a:pt x="7271093" y="1854075"/>
                  </a:cubicBezTo>
                  <a:cubicBezTo>
                    <a:pt x="7280063" y="1845967"/>
                    <a:pt x="7310424" y="1836135"/>
                    <a:pt x="7404436" y="1836135"/>
                  </a:cubicBezTo>
                  <a:cubicBezTo>
                    <a:pt x="7498277" y="1836135"/>
                    <a:pt x="7528292" y="1844932"/>
                    <a:pt x="7537780" y="1849935"/>
                  </a:cubicBezTo>
                  <a:cubicBezTo>
                    <a:pt x="7556755" y="1860457"/>
                    <a:pt x="7590738" y="1884953"/>
                    <a:pt x="7626791" y="1911000"/>
                  </a:cubicBezTo>
                  <a:cubicBezTo>
                    <a:pt x="7676643" y="1947225"/>
                    <a:pt x="7728566" y="1984658"/>
                    <a:pt x="7753062" y="1993801"/>
                  </a:cubicBezTo>
                  <a:cubicBezTo>
                    <a:pt x="7789804" y="2007256"/>
                    <a:pt x="7870190" y="2092644"/>
                    <a:pt x="7902448" y="2133872"/>
                  </a:cubicBezTo>
                  <a:cubicBezTo>
                    <a:pt x="7941088" y="2183552"/>
                    <a:pt x="7957303" y="2203562"/>
                    <a:pt x="7971793" y="2203562"/>
                  </a:cubicBezTo>
                  <a:cubicBezTo>
                    <a:pt x="7980246" y="2203562"/>
                    <a:pt x="8002671" y="2211325"/>
                    <a:pt x="8003534" y="2246515"/>
                  </a:cubicBezTo>
                  <a:cubicBezTo>
                    <a:pt x="8004224" y="2274633"/>
                    <a:pt x="8035446" y="2284983"/>
                    <a:pt x="8063219" y="2293953"/>
                  </a:cubicBezTo>
                  <a:cubicBezTo>
                    <a:pt x="8065979" y="2294816"/>
                    <a:pt x="8068912" y="2295851"/>
                    <a:pt x="8071671" y="2296713"/>
                  </a:cubicBezTo>
                  <a:cubicBezTo>
                    <a:pt x="8021128" y="2319483"/>
                    <a:pt x="7976968" y="2350188"/>
                    <a:pt x="7961270" y="2356054"/>
                  </a:cubicBezTo>
                  <a:cubicBezTo>
                    <a:pt x="7927288" y="2370716"/>
                    <a:pt x="7904345" y="2433679"/>
                    <a:pt x="7885543" y="2455759"/>
                  </a:cubicBezTo>
                  <a:cubicBezTo>
                    <a:pt x="7864842" y="2481807"/>
                    <a:pt x="7856390" y="2509925"/>
                    <a:pt x="7845177" y="2542182"/>
                  </a:cubicBezTo>
                  <a:cubicBezTo>
                    <a:pt x="7837760" y="2562710"/>
                    <a:pt x="7825167" y="2570300"/>
                    <a:pt x="7809125" y="2570473"/>
                  </a:cubicBezTo>
                  <a:cubicBezTo>
                    <a:pt x="7802914" y="2570473"/>
                    <a:pt x="7796187" y="2569265"/>
                    <a:pt x="7789459" y="2566505"/>
                  </a:cubicBezTo>
                  <a:cubicBezTo>
                    <a:pt x="7786182" y="2565297"/>
                    <a:pt x="7783077" y="2564608"/>
                    <a:pt x="7780144" y="2564608"/>
                  </a:cubicBezTo>
                  <a:cubicBezTo>
                    <a:pt x="7773072" y="2564435"/>
                    <a:pt x="7766689" y="2569438"/>
                    <a:pt x="7764274" y="2575130"/>
                  </a:cubicBezTo>
                  <a:cubicBezTo>
                    <a:pt x="7761687" y="2580650"/>
                    <a:pt x="7761342" y="2586688"/>
                    <a:pt x="7761342" y="2592553"/>
                  </a:cubicBezTo>
                  <a:cubicBezTo>
                    <a:pt x="7761342" y="2608768"/>
                    <a:pt x="7765999" y="2627915"/>
                    <a:pt x="7767379" y="2635850"/>
                  </a:cubicBezTo>
                  <a:cubicBezTo>
                    <a:pt x="7765827" y="2637403"/>
                    <a:pt x="7757719" y="2642406"/>
                    <a:pt x="7750302" y="2652756"/>
                  </a:cubicBezTo>
                  <a:cubicBezTo>
                    <a:pt x="7741504" y="2665176"/>
                    <a:pt x="7733224" y="2685186"/>
                    <a:pt x="7728566" y="2722274"/>
                  </a:cubicBezTo>
                  <a:cubicBezTo>
                    <a:pt x="7726151" y="2740041"/>
                    <a:pt x="7725289" y="2755739"/>
                    <a:pt x="7725289" y="2770229"/>
                  </a:cubicBezTo>
                  <a:cubicBezTo>
                    <a:pt x="7725462" y="2827499"/>
                    <a:pt x="7739779" y="2861137"/>
                    <a:pt x="7739606" y="2888392"/>
                  </a:cubicBezTo>
                  <a:cubicBezTo>
                    <a:pt x="7738054" y="2903745"/>
                    <a:pt x="7738054" y="2899777"/>
                    <a:pt x="7725979" y="2903745"/>
                  </a:cubicBezTo>
                  <a:cubicBezTo>
                    <a:pt x="7714249" y="2905815"/>
                    <a:pt x="7694756" y="2908575"/>
                    <a:pt x="7678024" y="2928240"/>
                  </a:cubicBezTo>
                  <a:cubicBezTo>
                    <a:pt x="7670951" y="2936175"/>
                    <a:pt x="7663534" y="2938763"/>
                    <a:pt x="7654391" y="2938935"/>
                  </a:cubicBezTo>
                  <a:cubicBezTo>
                    <a:pt x="7631621" y="2939970"/>
                    <a:pt x="7600398" y="2914440"/>
                    <a:pt x="7600053" y="2911162"/>
                  </a:cubicBezTo>
                  <a:cubicBezTo>
                    <a:pt x="7593670" y="2900640"/>
                    <a:pt x="7575558" y="2890117"/>
                    <a:pt x="7554167" y="2874765"/>
                  </a:cubicBezTo>
                  <a:cubicBezTo>
                    <a:pt x="7533468" y="2860447"/>
                    <a:pt x="7511042" y="2844577"/>
                    <a:pt x="7504488" y="2836642"/>
                  </a:cubicBezTo>
                  <a:cubicBezTo>
                    <a:pt x="7494310" y="2826119"/>
                    <a:pt x="7478957" y="2825947"/>
                    <a:pt x="7460155" y="2825257"/>
                  </a:cubicBezTo>
                  <a:cubicBezTo>
                    <a:pt x="7422894" y="2825257"/>
                    <a:pt x="7371317" y="2833709"/>
                    <a:pt x="7348546" y="2833537"/>
                  </a:cubicBezTo>
                  <a:cubicBezTo>
                    <a:pt x="7336988" y="2833537"/>
                    <a:pt x="7327846" y="2831984"/>
                    <a:pt x="7323189" y="2829742"/>
                  </a:cubicBezTo>
                  <a:cubicBezTo>
                    <a:pt x="7318531" y="2826982"/>
                    <a:pt x="7317496" y="2825774"/>
                    <a:pt x="7317151" y="2819564"/>
                  </a:cubicBezTo>
                  <a:cubicBezTo>
                    <a:pt x="7316978" y="2813354"/>
                    <a:pt x="7320084" y="2802487"/>
                    <a:pt x="7328191" y="2786962"/>
                  </a:cubicBezTo>
                  <a:cubicBezTo>
                    <a:pt x="7344751" y="2753841"/>
                    <a:pt x="7358206" y="2732624"/>
                    <a:pt x="7358896" y="2714856"/>
                  </a:cubicBezTo>
                  <a:cubicBezTo>
                    <a:pt x="7359931" y="2705024"/>
                    <a:pt x="7350616" y="2695881"/>
                    <a:pt x="7341129" y="2695881"/>
                  </a:cubicBezTo>
                  <a:cubicBezTo>
                    <a:pt x="7336644" y="2696744"/>
                    <a:pt x="7317496" y="2678113"/>
                    <a:pt x="7303868" y="2655343"/>
                  </a:cubicBezTo>
                  <a:cubicBezTo>
                    <a:pt x="7289378" y="2632918"/>
                    <a:pt x="7277130" y="2605835"/>
                    <a:pt x="7276268" y="2592898"/>
                  </a:cubicBezTo>
                  <a:cubicBezTo>
                    <a:pt x="7273681" y="2561330"/>
                    <a:pt x="7273508" y="2477322"/>
                    <a:pt x="7273508" y="2439544"/>
                  </a:cubicBezTo>
                  <a:cubicBezTo>
                    <a:pt x="7273163" y="2397281"/>
                    <a:pt x="7239871" y="2333973"/>
                    <a:pt x="7226070" y="2259625"/>
                  </a:cubicBezTo>
                  <a:cubicBezTo>
                    <a:pt x="7221758" y="2237200"/>
                    <a:pt x="7220378" y="2222538"/>
                    <a:pt x="7220378" y="2212532"/>
                  </a:cubicBezTo>
                  <a:cubicBezTo>
                    <a:pt x="7220378" y="2189935"/>
                    <a:pt x="7227623" y="2189935"/>
                    <a:pt x="7236765" y="2164405"/>
                  </a:cubicBezTo>
                  <a:cubicBezTo>
                    <a:pt x="7237973" y="2160437"/>
                    <a:pt x="7238663" y="2156125"/>
                    <a:pt x="7238663" y="2151639"/>
                  </a:cubicBezTo>
                  <a:cubicBezTo>
                    <a:pt x="7237800" y="2106272"/>
                    <a:pt x="7187430" y="2020883"/>
                    <a:pt x="7168628" y="1996388"/>
                  </a:cubicBezTo>
                  <a:cubicBezTo>
                    <a:pt x="7164315" y="1991041"/>
                    <a:pt x="7162072" y="1982933"/>
                    <a:pt x="7162072" y="1973101"/>
                  </a:cubicBezTo>
                  <a:cubicBezTo>
                    <a:pt x="7161900" y="1950848"/>
                    <a:pt x="7174837" y="1922213"/>
                    <a:pt x="7189327" y="1911690"/>
                  </a:cubicBezTo>
                  <a:cubicBezTo>
                    <a:pt x="7198298" y="1904445"/>
                    <a:pt x="7213477" y="1887540"/>
                    <a:pt x="7229865" y="1868220"/>
                  </a:cubicBezTo>
                  <a:close/>
                  <a:moveTo>
                    <a:pt x="6168983" y="1372451"/>
                  </a:moveTo>
                  <a:cubicBezTo>
                    <a:pt x="6174330" y="1374349"/>
                    <a:pt x="6176228" y="1376419"/>
                    <a:pt x="6176573" y="1378144"/>
                  </a:cubicBezTo>
                  <a:cubicBezTo>
                    <a:pt x="6182265" y="1400914"/>
                    <a:pt x="6200895" y="1406434"/>
                    <a:pt x="6215558" y="1410746"/>
                  </a:cubicBezTo>
                  <a:cubicBezTo>
                    <a:pt x="6220043" y="1411954"/>
                    <a:pt x="6224355" y="1413334"/>
                    <a:pt x="6228150" y="1415232"/>
                  </a:cubicBezTo>
                  <a:cubicBezTo>
                    <a:pt x="6232463" y="1416957"/>
                    <a:pt x="6237810" y="1423684"/>
                    <a:pt x="6243503" y="1430757"/>
                  </a:cubicBezTo>
                  <a:cubicBezTo>
                    <a:pt x="6254026" y="1443694"/>
                    <a:pt x="6266963" y="1459737"/>
                    <a:pt x="6286111" y="1459737"/>
                  </a:cubicBezTo>
                  <a:cubicBezTo>
                    <a:pt x="6293184" y="1459564"/>
                    <a:pt x="6300774" y="1458702"/>
                    <a:pt x="6308709" y="1457839"/>
                  </a:cubicBezTo>
                  <a:cubicBezTo>
                    <a:pt x="6314746" y="1457149"/>
                    <a:pt x="6320439" y="1456632"/>
                    <a:pt x="6325614" y="1456287"/>
                  </a:cubicBezTo>
                  <a:cubicBezTo>
                    <a:pt x="6339241" y="1476297"/>
                    <a:pt x="6351489" y="1508727"/>
                    <a:pt x="6356491" y="1524770"/>
                  </a:cubicBezTo>
                  <a:lnTo>
                    <a:pt x="6358217" y="1529945"/>
                  </a:lnTo>
                  <a:lnTo>
                    <a:pt x="6362184" y="1531497"/>
                  </a:lnTo>
                  <a:cubicBezTo>
                    <a:pt x="6364772" y="1532532"/>
                    <a:pt x="6367532" y="1533050"/>
                    <a:pt x="6370292" y="1533050"/>
                  </a:cubicBezTo>
                  <a:cubicBezTo>
                    <a:pt x="6389267" y="1533050"/>
                    <a:pt x="6403929" y="1509590"/>
                    <a:pt x="6406517" y="1496997"/>
                  </a:cubicBezTo>
                  <a:cubicBezTo>
                    <a:pt x="6406862" y="1494237"/>
                    <a:pt x="6407207" y="1491650"/>
                    <a:pt x="6407379" y="1489580"/>
                  </a:cubicBezTo>
                  <a:cubicBezTo>
                    <a:pt x="6407552" y="1487855"/>
                    <a:pt x="6407724" y="1485440"/>
                    <a:pt x="6408070" y="1485095"/>
                  </a:cubicBezTo>
                  <a:cubicBezTo>
                    <a:pt x="6408242" y="1484922"/>
                    <a:pt x="6410657" y="1483197"/>
                    <a:pt x="6423595" y="1482680"/>
                  </a:cubicBezTo>
                  <a:cubicBezTo>
                    <a:pt x="6447745" y="1482680"/>
                    <a:pt x="6457060" y="1493375"/>
                    <a:pt x="6457577" y="1496135"/>
                  </a:cubicBezTo>
                  <a:lnTo>
                    <a:pt x="6458267" y="1501655"/>
                  </a:lnTo>
                  <a:lnTo>
                    <a:pt x="6464477" y="1505450"/>
                  </a:lnTo>
                  <a:cubicBezTo>
                    <a:pt x="6494320" y="1524080"/>
                    <a:pt x="6509500" y="1533222"/>
                    <a:pt x="6509673" y="1542538"/>
                  </a:cubicBezTo>
                  <a:lnTo>
                    <a:pt x="6510363" y="1547713"/>
                  </a:lnTo>
                  <a:lnTo>
                    <a:pt x="6513640" y="1550128"/>
                  </a:lnTo>
                  <a:cubicBezTo>
                    <a:pt x="6531408" y="1563755"/>
                    <a:pt x="6548141" y="1591700"/>
                    <a:pt x="6545208" y="1611710"/>
                  </a:cubicBezTo>
                  <a:cubicBezTo>
                    <a:pt x="6543655" y="1622578"/>
                    <a:pt x="6536410" y="1629996"/>
                    <a:pt x="6523472" y="1634998"/>
                  </a:cubicBezTo>
                  <a:cubicBezTo>
                    <a:pt x="6512605" y="1639138"/>
                    <a:pt x="6500013" y="1645176"/>
                    <a:pt x="6497943" y="1656388"/>
                  </a:cubicBezTo>
                  <a:cubicBezTo>
                    <a:pt x="6495873" y="1667256"/>
                    <a:pt x="6504498" y="1675018"/>
                    <a:pt x="6512260" y="1681918"/>
                  </a:cubicBezTo>
                  <a:cubicBezTo>
                    <a:pt x="6518470" y="1687611"/>
                    <a:pt x="6521575" y="1691061"/>
                    <a:pt x="6520713" y="1693821"/>
                  </a:cubicBezTo>
                  <a:cubicBezTo>
                    <a:pt x="6509155" y="1707621"/>
                    <a:pt x="6486213" y="1746089"/>
                    <a:pt x="6491905" y="1758509"/>
                  </a:cubicBezTo>
                  <a:cubicBezTo>
                    <a:pt x="6493803" y="1762304"/>
                    <a:pt x="6496735" y="1763339"/>
                    <a:pt x="6499150" y="1763857"/>
                  </a:cubicBezTo>
                  <a:cubicBezTo>
                    <a:pt x="6501910" y="1766617"/>
                    <a:pt x="6508120" y="1777139"/>
                    <a:pt x="6513295" y="1793354"/>
                  </a:cubicBezTo>
                  <a:cubicBezTo>
                    <a:pt x="6516573" y="1803359"/>
                    <a:pt x="6517263" y="1809397"/>
                    <a:pt x="6517263" y="1811984"/>
                  </a:cubicBezTo>
                  <a:cubicBezTo>
                    <a:pt x="6507430" y="1821817"/>
                    <a:pt x="6474655" y="1858905"/>
                    <a:pt x="6478450" y="1871325"/>
                  </a:cubicBezTo>
                  <a:cubicBezTo>
                    <a:pt x="6478795" y="1872360"/>
                    <a:pt x="6479312" y="1873740"/>
                    <a:pt x="6480175" y="1874602"/>
                  </a:cubicBezTo>
                  <a:lnTo>
                    <a:pt x="6480002" y="1877362"/>
                  </a:lnTo>
                  <a:lnTo>
                    <a:pt x="6482762" y="1877017"/>
                  </a:lnTo>
                  <a:cubicBezTo>
                    <a:pt x="6484488" y="1878052"/>
                    <a:pt x="6486557" y="1878742"/>
                    <a:pt x="6488800" y="1878742"/>
                  </a:cubicBezTo>
                  <a:cubicBezTo>
                    <a:pt x="6495873" y="1878570"/>
                    <a:pt x="6501220" y="1873050"/>
                    <a:pt x="6508638" y="1865115"/>
                  </a:cubicBezTo>
                  <a:cubicBezTo>
                    <a:pt x="6517607" y="1855972"/>
                    <a:pt x="6530890" y="1841827"/>
                    <a:pt x="6550383" y="1833720"/>
                  </a:cubicBezTo>
                  <a:cubicBezTo>
                    <a:pt x="6562285" y="1828545"/>
                    <a:pt x="6576430" y="1828372"/>
                    <a:pt x="6588851" y="1828200"/>
                  </a:cubicBezTo>
                  <a:cubicBezTo>
                    <a:pt x="6603858" y="1828027"/>
                    <a:pt x="6618003" y="1827855"/>
                    <a:pt x="6626628" y="1818885"/>
                  </a:cubicBezTo>
                  <a:cubicBezTo>
                    <a:pt x="6631286" y="1814054"/>
                    <a:pt x="6633701" y="1807327"/>
                    <a:pt x="6633528" y="1798874"/>
                  </a:cubicBezTo>
                  <a:cubicBezTo>
                    <a:pt x="6633184" y="1784729"/>
                    <a:pt x="6628181" y="1772827"/>
                    <a:pt x="6624558" y="1763857"/>
                  </a:cubicBezTo>
                  <a:cubicBezTo>
                    <a:pt x="6622833" y="1759717"/>
                    <a:pt x="6620073" y="1753334"/>
                    <a:pt x="6620591" y="1751954"/>
                  </a:cubicBezTo>
                  <a:cubicBezTo>
                    <a:pt x="6620591" y="1751782"/>
                    <a:pt x="6621454" y="1750747"/>
                    <a:pt x="6625938" y="1749194"/>
                  </a:cubicBezTo>
                  <a:cubicBezTo>
                    <a:pt x="6651296" y="1740914"/>
                    <a:pt x="6679759" y="1740224"/>
                    <a:pt x="6700804" y="1739534"/>
                  </a:cubicBezTo>
                  <a:cubicBezTo>
                    <a:pt x="6712534" y="1739361"/>
                    <a:pt x="6722539" y="1734359"/>
                    <a:pt x="6732544" y="1729529"/>
                  </a:cubicBezTo>
                  <a:cubicBezTo>
                    <a:pt x="6743412" y="1724181"/>
                    <a:pt x="6753417" y="1719351"/>
                    <a:pt x="6767389" y="1718834"/>
                  </a:cubicBezTo>
                  <a:cubicBezTo>
                    <a:pt x="6780154" y="1718489"/>
                    <a:pt x="6792402" y="1714004"/>
                    <a:pt x="6804305" y="1709691"/>
                  </a:cubicBezTo>
                  <a:cubicBezTo>
                    <a:pt x="6813102" y="1706414"/>
                    <a:pt x="6822073" y="1703309"/>
                    <a:pt x="6829662" y="1702619"/>
                  </a:cubicBezTo>
                  <a:lnTo>
                    <a:pt x="6831560" y="1703826"/>
                  </a:lnTo>
                  <a:cubicBezTo>
                    <a:pt x="6872960" y="1729011"/>
                    <a:pt x="6942133" y="1771274"/>
                    <a:pt x="6988536" y="1771274"/>
                  </a:cubicBezTo>
                  <a:cubicBezTo>
                    <a:pt x="7010788" y="1771274"/>
                    <a:pt x="7025279" y="1780934"/>
                    <a:pt x="7040804" y="1791284"/>
                  </a:cubicBezTo>
                  <a:cubicBezTo>
                    <a:pt x="7056847" y="1801807"/>
                    <a:pt x="7074787" y="1813709"/>
                    <a:pt x="7098592" y="1813709"/>
                  </a:cubicBezTo>
                  <a:cubicBezTo>
                    <a:pt x="7100489" y="1813537"/>
                    <a:pt x="7102214" y="1813364"/>
                    <a:pt x="7103940" y="1813364"/>
                  </a:cubicBezTo>
                  <a:cubicBezTo>
                    <a:pt x="7079962" y="1857525"/>
                    <a:pt x="7041322" y="1903928"/>
                    <a:pt x="7019241" y="1926698"/>
                  </a:cubicBezTo>
                  <a:cubicBezTo>
                    <a:pt x="7007339" y="1939635"/>
                    <a:pt x="6985259" y="1941188"/>
                    <a:pt x="6963523" y="1941015"/>
                  </a:cubicBezTo>
                  <a:cubicBezTo>
                    <a:pt x="6961798" y="1941015"/>
                    <a:pt x="6960074" y="1941015"/>
                    <a:pt x="6958693" y="1941015"/>
                  </a:cubicBezTo>
                  <a:cubicBezTo>
                    <a:pt x="6947136" y="1941015"/>
                    <a:pt x="6936096" y="1941015"/>
                    <a:pt x="6926608" y="1944293"/>
                  </a:cubicBezTo>
                  <a:cubicBezTo>
                    <a:pt x="6916776" y="1947225"/>
                    <a:pt x="6908323" y="1957576"/>
                    <a:pt x="6908668" y="1970686"/>
                  </a:cubicBezTo>
                  <a:cubicBezTo>
                    <a:pt x="6909876" y="2003978"/>
                    <a:pt x="6879170" y="2012258"/>
                    <a:pt x="6840703" y="2068321"/>
                  </a:cubicBezTo>
                  <a:cubicBezTo>
                    <a:pt x="6826385" y="2089884"/>
                    <a:pt x="6820865" y="2099717"/>
                    <a:pt x="6820692" y="2111274"/>
                  </a:cubicBezTo>
                  <a:cubicBezTo>
                    <a:pt x="6821555" y="2129042"/>
                    <a:pt x="6830698" y="2131457"/>
                    <a:pt x="6830870" y="2173375"/>
                  </a:cubicBezTo>
                  <a:cubicBezTo>
                    <a:pt x="6831215" y="2237718"/>
                    <a:pt x="6852432" y="2243928"/>
                    <a:pt x="6851743" y="2296023"/>
                  </a:cubicBezTo>
                  <a:cubicBezTo>
                    <a:pt x="6851743" y="2303958"/>
                    <a:pt x="6851398" y="2313101"/>
                    <a:pt x="6850190" y="2323796"/>
                  </a:cubicBezTo>
                  <a:cubicBezTo>
                    <a:pt x="6845533" y="2385034"/>
                    <a:pt x="6782742" y="2406941"/>
                    <a:pt x="6780154" y="2466109"/>
                  </a:cubicBezTo>
                  <a:cubicBezTo>
                    <a:pt x="6780154" y="2481117"/>
                    <a:pt x="6784984" y="2497332"/>
                    <a:pt x="6795680" y="2515790"/>
                  </a:cubicBezTo>
                  <a:cubicBezTo>
                    <a:pt x="6817243" y="2553395"/>
                    <a:pt x="6824660" y="2582720"/>
                    <a:pt x="6824660" y="2605318"/>
                  </a:cubicBezTo>
                  <a:cubicBezTo>
                    <a:pt x="6824660" y="2633263"/>
                    <a:pt x="6813620" y="2651031"/>
                    <a:pt x="6802752" y="2661553"/>
                  </a:cubicBezTo>
                  <a:cubicBezTo>
                    <a:pt x="6797060" y="2667073"/>
                    <a:pt x="6788090" y="2669661"/>
                    <a:pt x="6775842" y="2669661"/>
                  </a:cubicBezTo>
                  <a:cubicBezTo>
                    <a:pt x="6754625" y="2669661"/>
                    <a:pt x="6727369" y="2661898"/>
                    <a:pt x="6702874" y="2661898"/>
                  </a:cubicBezTo>
                  <a:cubicBezTo>
                    <a:pt x="6678724" y="2661898"/>
                    <a:pt x="6643534" y="2653791"/>
                    <a:pt x="6619556" y="2653791"/>
                  </a:cubicBezTo>
                  <a:cubicBezTo>
                    <a:pt x="6609723" y="2653963"/>
                    <a:pt x="6600581" y="2654481"/>
                    <a:pt x="6593508" y="2662243"/>
                  </a:cubicBezTo>
                  <a:cubicBezTo>
                    <a:pt x="6590748" y="2666211"/>
                    <a:pt x="6551590" y="2693638"/>
                    <a:pt x="6514158" y="2718479"/>
                  </a:cubicBezTo>
                  <a:cubicBezTo>
                    <a:pt x="6475862" y="2744354"/>
                    <a:pt x="6437222" y="2769712"/>
                    <a:pt x="6428079" y="2777129"/>
                  </a:cubicBezTo>
                  <a:cubicBezTo>
                    <a:pt x="6413762" y="2789032"/>
                    <a:pt x="6374949" y="2805764"/>
                    <a:pt x="6294908" y="2829569"/>
                  </a:cubicBezTo>
                  <a:cubicBezTo>
                    <a:pt x="6209348" y="2853892"/>
                    <a:pt x="6226253" y="2920823"/>
                    <a:pt x="6217455" y="2936865"/>
                  </a:cubicBezTo>
                  <a:cubicBezTo>
                    <a:pt x="6206588" y="2960843"/>
                    <a:pt x="6173122" y="3025876"/>
                    <a:pt x="6158978" y="3067449"/>
                  </a:cubicBezTo>
                  <a:cubicBezTo>
                    <a:pt x="6148800" y="3097291"/>
                    <a:pt x="6146040" y="3136104"/>
                    <a:pt x="6146040" y="3173882"/>
                  </a:cubicBezTo>
                  <a:cubicBezTo>
                    <a:pt x="6146040" y="3190787"/>
                    <a:pt x="6146730" y="3207175"/>
                    <a:pt x="6147593" y="3222355"/>
                  </a:cubicBezTo>
                  <a:cubicBezTo>
                    <a:pt x="6148455" y="3238397"/>
                    <a:pt x="6148800" y="3257545"/>
                    <a:pt x="6148800" y="3277038"/>
                  </a:cubicBezTo>
                  <a:cubicBezTo>
                    <a:pt x="6148800" y="3315851"/>
                    <a:pt x="6147593" y="3353973"/>
                    <a:pt x="6147593" y="3365186"/>
                  </a:cubicBezTo>
                  <a:cubicBezTo>
                    <a:pt x="6147593" y="3376053"/>
                    <a:pt x="6144660" y="3399513"/>
                    <a:pt x="6142935" y="3411071"/>
                  </a:cubicBezTo>
                  <a:cubicBezTo>
                    <a:pt x="6140175" y="3411244"/>
                    <a:pt x="6136725" y="3411416"/>
                    <a:pt x="6132930" y="3411416"/>
                  </a:cubicBezTo>
                  <a:cubicBezTo>
                    <a:pt x="6119130" y="3412106"/>
                    <a:pt x="6100327" y="3407793"/>
                    <a:pt x="6098774" y="3403309"/>
                  </a:cubicBezTo>
                  <a:cubicBezTo>
                    <a:pt x="6086872" y="3386231"/>
                    <a:pt x="6047197" y="3354318"/>
                    <a:pt x="6039779" y="3348281"/>
                  </a:cubicBezTo>
                  <a:lnTo>
                    <a:pt x="6002002" y="3284628"/>
                  </a:lnTo>
                  <a:cubicBezTo>
                    <a:pt x="6008039" y="3276693"/>
                    <a:pt x="6019079" y="3261167"/>
                    <a:pt x="6019769" y="3245987"/>
                  </a:cubicBezTo>
                  <a:cubicBezTo>
                    <a:pt x="6019769" y="3244780"/>
                    <a:pt x="6019769" y="3243227"/>
                    <a:pt x="6019424" y="3241675"/>
                  </a:cubicBezTo>
                  <a:cubicBezTo>
                    <a:pt x="6014249" y="3226495"/>
                    <a:pt x="5998551" y="3220285"/>
                    <a:pt x="5983199" y="3208037"/>
                  </a:cubicBezTo>
                  <a:cubicBezTo>
                    <a:pt x="5967329" y="3197342"/>
                    <a:pt x="5954564" y="3183024"/>
                    <a:pt x="5955943" y="3178539"/>
                  </a:cubicBezTo>
                  <a:cubicBezTo>
                    <a:pt x="5955771" y="3164394"/>
                    <a:pt x="5947836" y="3153182"/>
                    <a:pt x="5940936" y="3143694"/>
                  </a:cubicBezTo>
                  <a:cubicBezTo>
                    <a:pt x="5938349" y="3140244"/>
                    <a:pt x="5935761" y="3137312"/>
                    <a:pt x="5933691" y="3134552"/>
                  </a:cubicBezTo>
                  <a:cubicBezTo>
                    <a:pt x="5935761" y="3133862"/>
                    <a:pt x="5937831" y="3132654"/>
                    <a:pt x="5939728" y="3130929"/>
                  </a:cubicBezTo>
                  <a:cubicBezTo>
                    <a:pt x="5950251" y="3116784"/>
                    <a:pt x="5944214" y="3103156"/>
                    <a:pt x="5947491" y="3062619"/>
                  </a:cubicBezTo>
                  <a:cubicBezTo>
                    <a:pt x="5949561" y="3040021"/>
                    <a:pt x="5956116" y="3042091"/>
                    <a:pt x="5974229" y="3035881"/>
                  </a:cubicBezTo>
                  <a:cubicBezTo>
                    <a:pt x="5991651" y="3031568"/>
                    <a:pt x="6016319" y="3021563"/>
                    <a:pt x="6027531" y="2983613"/>
                  </a:cubicBezTo>
                  <a:cubicBezTo>
                    <a:pt x="6032362" y="2968088"/>
                    <a:pt x="6034604" y="2954978"/>
                    <a:pt x="6034604" y="2943765"/>
                  </a:cubicBezTo>
                  <a:cubicBezTo>
                    <a:pt x="6034777" y="2922892"/>
                    <a:pt x="6026324" y="2908402"/>
                    <a:pt x="6015457" y="2900640"/>
                  </a:cubicBezTo>
                  <a:cubicBezTo>
                    <a:pt x="6004589" y="2892705"/>
                    <a:pt x="5992341" y="2890980"/>
                    <a:pt x="5983716" y="2890980"/>
                  </a:cubicBezTo>
                  <a:cubicBezTo>
                    <a:pt x="5960946" y="2891152"/>
                    <a:pt x="5935761" y="2905470"/>
                    <a:pt x="5922478" y="2910300"/>
                  </a:cubicBezTo>
                  <a:cubicBezTo>
                    <a:pt x="5922478" y="2910300"/>
                    <a:pt x="5922651" y="2910300"/>
                    <a:pt x="5922651" y="2910300"/>
                  </a:cubicBezTo>
                  <a:cubicBezTo>
                    <a:pt x="5922651" y="2910300"/>
                    <a:pt x="5922824" y="2910128"/>
                    <a:pt x="5922478" y="2910300"/>
                  </a:cubicBezTo>
                  <a:cubicBezTo>
                    <a:pt x="5922478" y="2910300"/>
                    <a:pt x="5922478" y="2910300"/>
                    <a:pt x="5922651" y="2910300"/>
                  </a:cubicBezTo>
                  <a:cubicBezTo>
                    <a:pt x="5920926" y="2910990"/>
                    <a:pt x="5910058" y="2903572"/>
                    <a:pt x="5902296" y="2893912"/>
                  </a:cubicBezTo>
                  <a:cubicBezTo>
                    <a:pt x="5894016" y="2884597"/>
                    <a:pt x="5886425" y="2872177"/>
                    <a:pt x="5886425" y="2870452"/>
                  </a:cubicBezTo>
                  <a:cubicBezTo>
                    <a:pt x="5882976" y="2860275"/>
                    <a:pt x="5869693" y="2844405"/>
                    <a:pt x="5855893" y="2826464"/>
                  </a:cubicBezTo>
                  <a:cubicBezTo>
                    <a:pt x="5845025" y="2812837"/>
                    <a:pt x="5834330" y="2800244"/>
                    <a:pt x="5830535" y="2795587"/>
                  </a:cubicBezTo>
                  <a:cubicBezTo>
                    <a:pt x="5828637" y="2785754"/>
                    <a:pt x="5821220" y="2752116"/>
                    <a:pt x="5793448" y="2735211"/>
                  </a:cubicBezTo>
                  <a:cubicBezTo>
                    <a:pt x="5789997" y="2732796"/>
                    <a:pt x="5790687" y="2732624"/>
                    <a:pt x="5790687" y="2731934"/>
                  </a:cubicBezTo>
                  <a:cubicBezTo>
                    <a:pt x="5789825" y="2729519"/>
                    <a:pt x="5797932" y="2718134"/>
                    <a:pt x="5807765" y="2710371"/>
                  </a:cubicBezTo>
                  <a:cubicBezTo>
                    <a:pt x="5817425" y="2702263"/>
                    <a:pt x="5827258" y="2696226"/>
                    <a:pt x="5827258" y="2696226"/>
                  </a:cubicBezTo>
                  <a:lnTo>
                    <a:pt x="5831398" y="2693638"/>
                  </a:lnTo>
                  <a:lnTo>
                    <a:pt x="5831398" y="2688808"/>
                  </a:lnTo>
                  <a:cubicBezTo>
                    <a:pt x="5831398" y="2688808"/>
                    <a:pt x="5831398" y="2678286"/>
                    <a:pt x="5832433" y="2666556"/>
                  </a:cubicBezTo>
                  <a:cubicBezTo>
                    <a:pt x="5833123" y="2654998"/>
                    <a:pt x="5836228" y="2641371"/>
                    <a:pt x="5837953" y="2640163"/>
                  </a:cubicBezTo>
                  <a:cubicBezTo>
                    <a:pt x="5842093" y="2635333"/>
                    <a:pt x="5848476" y="2627225"/>
                    <a:pt x="5851236" y="2606008"/>
                  </a:cubicBezTo>
                  <a:cubicBezTo>
                    <a:pt x="5854513" y="2584445"/>
                    <a:pt x="5856583" y="2547185"/>
                    <a:pt x="5856583" y="2475252"/>
                  </a:cubicBezTo>
                  <a:cubicBezTo>
                    <a:pt x="5856583" y="2403146"/>
                    <a:pt x="5843300" y="2376409"/>
                    <a:pt x="5824498" y="2364334"/>
                  </a:cubicBezTo>
                  <a:cubicBezTo>
                    <a:pt x="5804833" y="2353294"/>
                    <a:pt x="5793792" y="2356916"/>
                    <a:pt x="5789480" y="2342598"/>
                  </a:cubicBezTo>
                  <a:cubicBezTo>
                    <a:pt x="5773610" y="2296540"/>
                    <a:pt x="5733934" y="2290503"/>
                    <a:pt x="5676319" y="2288260"/>
                  </a:cubicBezTo>
                  <a:cubicBezTo>
                    <a:pt x="5648201" y="2287053"/>
                    <a:pt x="5630778" y="2280498"/>
                    <a:pt x="5620601" y="2274805"/>
                  </a:cubicBezTo>
                  <a:cubicBezTo>
                    <a:pt x="5618531" y="2273598"/>
                    <a:pt x="5616461" y="2272390"/>
                    <a:pt x="5614909" y="2271183"/>
                  </a:cubicBezTo>
                  <a:cubicBezTo>
                    <a:pt x="5629226" y="2262040"/>
                    <a:pt x="5657344" y="2244100"/>
                    <a:pt x="5686841" y="2226160"/>
                  </a:cubicBezTo>
                  <a:cubicBezTo>
                    <a:pt x="5727552" y="2200802"/>
                    <a:pt x="5775680" y="2174755"/>
                    <a:pt x="5778785" y="2175962"/>
                  </a:cubicBezTo>
                  <a:cubicBezTo>
                    <a:pt x="5792067" y="2176135"/>
                    <a:pt x="5800348" y="2167855"/>
                    <a:pt x="5806730" y="2160437"/>
                  </a:cubicBezTo>
                  <a:cubicBezTo>
                    <a:pt x="5813630" y="2152674"/>
                    <a:pt x="5820185" y="2144394"/>
                    <a:pt x="5832778" y="2137149"/>
                  </a:cubicBezTo>
                  <a:cubicBezTo>
                    <a:pt x="5864345" y="2118347"/>
                    <a:pt x="5864863" y="2089711"/>
                    <a:pt x="5875213" y="2062456"/>
                  </a:cubicBezTo>
                  <a:cubicBezTo>
                    <a:pt x="5878663" y="2052279"/>
                    <a:pt x="5891255" y="2046241"/>
                    <a:pt x="5906091" y="2038996"/>
                  </a:cubicBezTo>
                  <a:cubicBezTo>
                    <a:pt x="5920236" y="2032096"/>
                    <a:pt x="5937831" y="2021573"/>
                    <a:pt x="5939556" y="1997596"/>
                  </a:cubicBezTo>
                  <a:cubicBezTo>
                    <a:pt x="5941971" y="1963096"/>
                    <a:pt x="5969571" y="1897545"/>
                    <a:pt x="5993204" y="1870290"/>
                  </a:cubicBezTo>
                  <a:cubicBezTo>
                    <a:pt x="6019252" y="1839412"/>
                    <a:pt x="6028567" y="1809052"/>
                    <a:pt x="6028567" y="1769894"/>
                  </a:cubicBezTo>
                  <a:cubicBezTo>
                    <a:pt x="6029602" y="1755749"/>
                    <a:pt x="6032362" y="1757819"/>
                    <a:pt x="6042884" y="1755577"/>
                  </a:cubicBezTo>
                  <a:cubicBezTo>
                    <a:pt x="6047714" y="1755404"/>
                    <a:pt x="6053407" y="1755749"/>
                    <a:pt x="6058927" y="1754887"/>
                  </a:cubicBezTo>
                  <a:cubicBezTo>
                    <a:pt x="6063585" y="1754887"/>
                    <a:pt x="6073417" y="1749711"/>
                    <a:pt x="6073072" y="1740224"/>
                  </a:cubicBezTo>
                  <a:cubicBezTo>
                    <a:pt x="6071175" y="1730564"/>
                    <a:pt x="6107400" y="1652593"/>
                    <a:pt x="6118957" y="1647591"/>
                  </a:cubicBezTo>
                  <a:cubicBezTo>
                    <a:pt x="6132585" y="1637413"/>
                    <a:pt x="6132757" y="1618955"/>
                    <a:pt x="6133275" y="1600153"/>
                  </a:cubicBezTo>
                  <a:cubicBezTo>
                    <a:pt x="6133275" y="1581350"/>
                    <a:pt x="6131377" y="1560823"/>
                    <a:pt x="6131377" y="1548058"/>
                  </a:cubicBezTo>
                  <a:cubicBezTo>
                    <a:pt x="6131377" y="1523562"/>
                    <a:pt x="6141555" y="1500275"/>
                    <a:pt x="6150353" y="1475262"/>
                  </a:cubicBezTo>
                  <a:cubicBezTo>
                    <a:pt x="6158460" y="1452492"/>
                    <a:pt x="6159495" y="1452664"/>
                    <a:pt x="6159150" y="1423684"/>
                  </a:cubicBezTo>
                  <a:cubicBezTo>
                    <a:pt x="6158115" y="1414887"/>
                    <a:pt x="6162773" y="1394704"/>
                    <a:pt x="6168983" y="1372451"/>
                  </a:cubicBezTo>
                  <a:close/>
                  <a:moveTo>
                    <a:pt x="4259394" y="592918"/>
                  </a:moveTo>
                  <a:cubicBezTo>
                    <a:pt x="4264396" y="595506"/>
                    <a:pt x="4269226" y="597921"/>
                    <a:pt x="4274057" y="600163"/>
                  </a:cubicBezTo>
                  <a:cubicBezTo>
                    <a:pt x="4288719" y="607236"/>
                    <a:pt x="4302864" y="613963"/>
                    <a:pt x="4312007" y="621898"/>
                  </a:cubicBezTo>
                  <a:cubicBezTo>
                    <a:pt x="4315629" y="624831"/>
                    <a:pt x="4319079" y="628281"/>
                    <a:pt x="4322874" y="632076"/>
                  </a:cubicBezTo>
                  <a:cubicBezTo>
                    <a:pt x="4337192" y="646221"/>
                    <a:pt x="4354787" y="663644"/>
                    <a:pt x="4386010" y="663644"/>
                  </a:cubicBezTo>
                  <a:cubicBezTo>
                    <a:pt x="4403432" y="663644"/>
                    <a:pt x="4423270" y="658124"/>
                    <a:pt x="4446385" y="646566"/>
                  </a:cubicBezTo>
                  <a:cubicBezTo>
                    <a:pt x="4477091" y="631386"/>
                    <a:pt x="4498653" y="623968"/>
                    <a:pt x="4511936" y="623968"/>
                  </a:cubicBezTo>
                  <a:cubicBezTo>
                    <a:pt x="4522113" y="623968"/>
                    <a:pt x="4525391" y="627936"/>
                    <a:pt x="4531946" y="636388"/>
                  </a:cubicBezTo>
                  <a:cubicBezTo>
                    <a:pt x="4534361" y="639148"/>
                    <a:pt x="4536603" y="642081"/>
                    <a:pt x="4539708" y="644841"/>
                  </a:cubicBezTo>
                  <a:lnTo>
                    <a:pt x="4542123" y="646738"/>
                  </a:lnTo>
                  <a:lnTo>
                    <a:pt x="4544193" y="647083"/>
                  </a:lnTo>
                  <a:cubicBezTo>
                    <a:pt x="4567999" y="651568"/>
                    <a:pt x="4586628" y="637768"/>
                    <a:pt x="4593701" y="626211"/>
                  </a:cubicBezTo>
                  <a:cubicBezTo>
                    <a:pt x="4606121" y="626383"/>
                    <a:pt x="4624406" y="635871"/>
                    <a:pt x="4641656" y="645358"/>
                  </a:cubicBezTo>
                  <a:lnTo>
                    <a:pt x="4644072" y="647083"/>
                  </a:lnTo>
                  <a:lnTo>
                    <a:pt x="4646486" y="647256"/>
                  </a:lnTo>
                  <a:cubicBezTo>
                    <a:pt x="4650799" y="647601"/>
                    <a:pt x="4654939" y="647946"/>
                    <a:pt x="4659079" y="647946"/>
                  </a:cubicBezTo>
                  <a:cubicBezTo>
                    <a:pt x="4701687" y="647946"/>
                    <a:pt x="4727045" y="623451"/>
                    <a:pt x="4741362" y="606373"/>
                  </a:cubicBezTo>
                  <a:cubicBezTo>
                    <a:pt x="4786558" y="572218"/>
                    <a:pt x="4794838" y="543238"/>
                    <a:pt x="4801048" y="521848"/>
                  </a:cubicBezTo>
                  <a:cubicBezTo>
                    <a:pt x="4803463" y="514085"/>
                    <a:pt x="4805360" y="507530"/>
                    <a:pt x="4808465" y="502010"/>
                  </a:cubicBezTo>
                  <a:cubicBezTo>
                    <a:pt x="4818298" y="485622"/>
                    <a:pt x="4827095" y="468717"/>
                    <a:pt x="4835375" y="452502"/>
                  </a:cubicBezTo>
                  <a:cubicBezTo>
                    <a:pt x="4850038" y="423694"/>
                    <a:pt x="4866943" y="391092"/>
                    <a:pt x="4894543" y="351589"/>
                  </a:cubicBezTo>
                  <a:cubicBezTo>
                    <a:pt x="4917141" y="318986"/>
                    <a:pt x="4947501" y="263958"/>
                    <a:pt x="4965786" y="229630"/>
                  </a:cubicBezTo>
                  <a:lnTo>
                    <a:pt x="4998217" y="250503"/>
                  </a:lnTo>
                  <a:cubicBezTo>
                    <a:pt x="5000287" y="252056"/>
                    <a:pt x="5002874" y="252228"/>
                    <a:pt x="5005289" y="251711"/>
                  </a:cubicBezTo>
                  <a:lnTo>
                    <a:pt x="5014259" y="257403"/>
                  </a:lnTo>
                  <a:lnTo>
                    <a:pt x="5011499" y="247571"/>
                  </a:lnTo>
                  <a:lnTo>
                    <a:pt x="5014087" y="245501"/>
                  </a:lnTo>
                  <a:lnTo>
                    <a:pt x="5012362" y="239808"/>
                  </a:lnTo>
                  <a:cubicBezTo>
                    <a:pt x="5006842" y="221868"/>
                    <a:pt x="5003219" y="197718"/>
                    <a:pt x="5006842" y="190818"/>
                  </a:cubicBezTo>
                  <a:cubicBezTo>
                    <a:pt x="5017019" y="190818"/>
                    <a:pt x="5050140" y="193233"/>
                    <a:pt x="5052899" y="220833"/>
                  </a:cubicBezTo>
                  <a:cubicBezTo>
                    <a:pt x="5054797" y="240498"/>
                    <a:pt x="5063940" y="255161"/>
                    <a:pt x="5071185" y="267063"/>
                  </a:cubicBezTo>
                  <a:cubicBezTo>
                    <a:pt x="5076360" y="275343"/>
                    <a:pt x="5080845" y="282588"/>
                    <a:pt x="5080845" y="288453"/>
                  </a:cubicBezTo>
                  <a:cubicBezTo>
                    <a:pt x="5081190" y="308636"/>
                    <a:pt x="5096370" y="395749"/>
                    <a:pt x="5097060" y="398337"/>
                  </a:cubicBezTo>
                  <a:cubicBezTo>
                    <a:pt x="5101545" y="411102"/>
                    <a:pt x="5116208" y="454572"/>
                    <a:pt x="5116725" y="476652"/>
                  </a:cubicBezTo>
                  <a:cubicBezTo>
                    <a:pt x="5116898" y="490970"/>
                    <a:pt x="5125695" y="509082"/>
                    <a:pt x="5135010" y="528748"/>
                  </a:cubicBezTo>
                  <a:cubicBezTo>
                    <a:pt x="5144843" y="549275"/>
                    <a:pt x="5155883" y="572563"/>
                    <a:pt x="5156400" y="590331"/>
                  </a:cubicBezTo>
                  <a:cubicBezTo>
                    <a:pt x="5157263" y="627418"/>
                    <a:pt x="5176928" y="660366"/>
                    <a:pt x="5180723" y="666231"/>
                  </a:cubicBezTo>
                  <a:cubicBezTo>
                    <a:pt x="5214016" y="728159"/>
                    <a:pt x="5227471" y="728332"/>
                    <a:pt x="5232473" y="728332"/>
                  </a:cubicBezTo>
                  <a:cubicBezTo>
                    <a:pt x="5308892" y="729367"/>
                    <a:pt x="5342357" y="736094"/>
                    <a:pt x="5348567" y="751102"/>
                  </a:cubicBezTo>
                  <a:cubicBezTo>
                    <a:pt x="5356674" y="771112"/>
                    <a:pt x="5354604" y="837352"/>
                    <a:pt x="5345116" y="861675"/>
                  </a:cubicBezTo>
                  <a:cubicBezTo>
                    <a:pt x="5342529" y="868230"/>
                    <a:pt x="5340977" y="873923"/>
                    <a:pt x="5339597" y="879960"/>
                  </a:cubicBezTo>
                  <a:cubicBezTo>
                    <a:pt x="5336837" y="891863"/>
                    <a:pt x="5336147" y="894450"/>
                    <a:pt x="5317344" y="899625"/>
                  </a:cubicBezTo>
                  <a:cubicBezTo>
                    <a:pt x="5292849" y="906180"/>
                    <a:pt x="5279394" y="924983"/>
                    <a:pt x="5267836" y="941026"/>
                  </a:cubicBezTo>
                  <a:cubicBezTo>
                    <a:pt x="5262661" y="947926"/>
                    <a:pt x="5258004" y="954481"/>
                    <a:pt x="5252656" y="959138"/>
                  </a:cubicBezTo>
                  <a:cubicBezTo>
                    <a:pt x="5247481" y="963623"/>
                    <a:pt x="5239374" y="967073"/>
                    <a:pt x="5230231" y="970868"/>
                  </a:cubicBezTo>
                  <a:cubicBezTo>
                    <a:pt x="5211428" y="978803"/>
                    <a:pt x="5187968" y="988636"/>
                    <a:pt x="5188658" y="1015891"/>
                  </a:cubicBezTo>
                  <a:cubicBezTo>
                    <a:pt x="5189003" y="1041076"/>
                    <a:pt x="5157090" y="1074197"/>
                    <a:pt x="5137080" y="1074542"/>
                  </a:cubicBezTo>
                  <a:cubicBezTo>
                    <a:pt x="5111033" y="1075232"/>
                    <a:pt x="5101027" y="1105937"/>
                    <a:pt x="5097578" y="1120599"/>
                  </a:cubicBezTo>
                  <a:cubicBezTo>
                    <a:pt x="5085675" y="1125084"/>
                    <a:pt x="5053762" y="1137850"/>
                    <a:pt x="5045310" y="1146475"/>
                  </a:cubicBezTo>
                  <a:cubicBezTo>
                    <a:pt x="5041687" y="1150270"/>
                    <a:pt x="5037892" y="1158205"/>
                    <a:pt x="5031682" y="1171832"/>
                  </a:cubicBezTo>
                  <a:cubicBezTo>
                    <a:pt x="5023747" y="1188737"/>
                    <a:pt x="5012017" y="1213923"/>
                    <a:pt x="5002184" y="1221340"/>
                  </a:cubicBezTo>
                  <a:cubicBezTo>
                    <a:pt x="4982692" y="1235830"/>
                    <a:pt x="4948881" y="1262913"/>
                    <a:pt x="4948709" y="1263085"/>
                  </a:cubicBezTo>
                  <a:lnTo>
                    <a:pt x="4945776" y="1266018"/>
                  </a:lnTo>
                  <a:lnTo>
                    <a:pt x="4945431" y="1268951"/>
                  </a:lnTo>
                  <a:cubicBezTo>
                    <a:pt x="4938531" y="1315008"/>
                    <a:pt x="4931976" y="1342264"/>
                    <a:pt x="4929044" y="1348474"/>
                  </a:cubicBezTo>
                  <a:cubicBezTo>
                    <a:pt x="4924214" y="1351234"/>
                    <a:pt x="4918349" y="1357616"/>
                    <a:pt x="4907654" y="1369864"/>
                  </a:cubicBezTo>
                  <a:cubicBezTo>
                    <a:pt x="4902996" y="1375211"/>
                    <a:pt x="4890748" y="1389356"/>
                    <a:pt x="4887988" y="1390736"/>
                  </a:cubicBezTo>
                  <a:cubicBezTo>
                    <a:pt x="4887471" y="1390736"/>
                    <a:pt x="4871083" y="1393151"/>
                    <a:pt x="4849521" y="1397119"/>
                  </a:cubicBezTo>
                  <a:lnTo>
                    <a:pt x="4798115" y="1357789"/>
                  </a:lnTo>
                  <a:lnTo>
                    <a:pt x="4796390" y="1357444"/>
                  </a:lnTo>
                  <a:cubicBezTo>
                    <a:pt x="4796390" y="1357444"/>
                    <a:pt x="4787593" y="1355719"/>
                    <a:pt x="4779313" y="1352269"/>
                  </a:cubicBezTo>
                  <a:cubicBezTo>
                    <a:pt x="4775000" y="1350544"/>
                    <a:pt x="4771205" y="1348474"/>
                    <a:pt x="4768790" y="1346231"/>
                  </a:cubicBezTo>
                  <a:cubicBezTo>
                    <a:pt x="4766202" y="1344161"/>
                    <a:pt x="4766030" y="1342781"/>
                    <a:pt x="4766030" y="1342436"/>
                  </a:cubicBezTo>
                  <a:cubicBezTo>
                    <a:pt x="4766030" y="1321908"/>
                    <a:pt x="4751885" y="1313628"/>
                    <a:pt x="4750160" y="1312938"/>
                  </a:cubicBezTo>
                  <a:cubicBezTo>
                    <a:pt x="4749987" y="1312938"/>
                    <a:pt x="4749987" y="1312766"/>
                    <a:pt x="4749470" y="1312248"/>
                  </a:cubicBezTo>
                  <a:cubicBezTo>
                    <a:pt x="4746710" y="1309488"/>
                    <a:pt x="4738085" y="1299656"/>
                    <a:pt x="4738085" y="1270158"/>
                  </a:cubicBezTo>
                  <a:cubicBezTo>
                    <a:pt x="4737395" y="1243938"/>
                    <a:pt x="4717557" y="1221685"/>
                    <a:pt x="4698582" y="1201503"/>
                  </a:cubicBezTo>
                  <a:cubicBezTo>
                    <a:pt x="4679434" y="1181837"/>
                    <a:pt x="4659424" y="1162690"/>
                    <a:pt x="4658044" y="1155790"/>
                  </a:cubicBezTo>
                  <a:cubicBezTo>
                    <a:pt x="4649764" y="1129914"/>
                    <a:pt x="4621646" y="1090412"/>
                    <a:pt x="4613366" y="1068677"/>
                  </a:cubicBezTo>
                  <a:cubicBezTo>
                    <a:pt x="4605259" y="1048839"/>
                    <a:pt x="4604396" y="990361"/>
                    <a:pt x="4604741" y="969316"/>
                  </a:cubicBezTo>
                  <a:cubicBezTo>
                    <a:pt x="4602844" y="949306"/>
                    <a:pt x="4583179" y="939301"/>
                    <a:pt x="4565411" y="926363"/>
                  </a:cubicBezTo>
                  <a:cubicBezTo>
                    <a:pt x="4556269" y="920670"/>
                    <a:pt x="4547298" y="914978"/>
                    <a:pt x="4540571" y="910838"/>
                  </a:cubicBezTo>
                  <a:cubicBezTo>
                    <a:pt x="4537293" y="908768"/>
                    <a:pt x="4534533" y="906698"/>
                    <a:pt x="4532808" y="905318"/>
                  </a:cubicBezTo>
                  <a:cubicBezTo>
                    <a:pt x="4532463" y="905145"/>
                    <a:pt x="4532119" y="904628"/>
                    <a:pt x="4531946" y="904455"/>
                  </a:cubicBezTo>
                  <a:cubicBezTo>
                    <a:pt x="4530221" y="894623"/>
                    <a:pt x="4528496" y="864090"/>
                    <a:pt x="4518318" y="845805"/>
                  </a:cubicBezTo>
                  <a:cubicBezTo>
                    <a:pt x="4509003" y="832005"/>
                    <a:pt x="4491408" y="830280"/>
                    <a:pt x="4473813" y="827002"/>
                  </a:cubicBezTo>
                  <a:cubicBezTo>
                    <a:pt x="4456735" y="824587"/>
                    <a:pt x="4438278" y="823380"/>
                    <a:pt x="4435863" y="822172"/>
                  </a:cubicBezTo>
                  <a:cubicBezTo>
                    <a:pt x="4430170" y="821310"/>
                    <a:pt x="4379627" y="771974"/>
                    <a:pt x="4372555" y="758864"/>
                  </a:cubicBezTo>
                  <a:cubicBezTo>
                    <a:pt x="4365482" y="746272"/>
                    <a:pt x="4352889" y="743339"/>
                    <a:pt x="4337882" y="743684"/>
                  </a:cubicBezTo>
                  <a:cubicBezTo>
                    <a:pt x="4329257" y="743684"/>
                    <a:pt x="4318734" y="744374"/>
                    <a:pt x="4304072" y="744374"/>
                  </a:cubicBezTo>
                  <a:cubicBezTo>
                    <a:pt x="4299242" y="744374"/>
                    <a:pt x="4294066" y="744374"/>
                    <a:pt x="4288547" y="744202"/>
                  </a:cubicBezTo>
                  <a:cubicBezTo>
                    <a:pt x="4250769" y="742477"/>
                    <a:pt x="4250769" y="721432"/>
                    <a:pt x="4249389" y="709874"/>
                  </a:cubicBezTo>
                  <a:cubicBezTo>
                    <a:pt x="4249389" y="706596"/>
                    <a:pt x="4249734" y="705044"/>
                    <a:pt x="4249734" y="705044"/>
                  </a:cubicBezTo>
                  <a:lnTo>
                    <a:pt x="4249906" y="704009"/>
                  </a:lnTo>
                  <a:lnTo>
                    <a:pt x="4249906" y="703146"/>
                  </a:lnTo>
                  <a:cubicBezTo>
                    <a:pt x="4249906" y="703146"/>
                    <a:pt x="4248354" y="664334"/>
                    <a:pt x="4248354" y="640701"/>
                  </a:cubicBezTo>
                  <a:cubicBezTo>
                    <a:pt x="4248699" y="634491"/>
                    <a:pt x="4253356" y="614826"/>
                    <a:pt x="4259394" y="592918"/>
                  </a:cubicBezTo>
                  <a:close/>
                  <a:moveTo>
                    <a:pt x="2305472" y="622416"/>
                  </a:moveTo>
                  <a:lnTo>
                    <a:pt x="2237852" y="618966"/>
                  </a:lnTo>
                  <a:lnTo>
                    <a:pt x="2189379" y="618276"/>
                  </a:lnTo>
                  <a:cubicBezTo>
                    <a:pt x="2191966" y="609306"/>
                    <a:pt x="2194036" y="595678"/>
                    <a:pt x="2193864" y="575668"/>
                  </a:cubicBezTo>
                  <a:cubicBezTo>
                    <a:pt x="2193519" y="538925"/>
                    <a:pt x="2157638" y="507185"/>
                    <a:pt x="2141423" y="494592"/>
                  </a:cubicBezTo>
                  <a:cubicBezTo>
                    <a:pt x="2143493" y="482172"/>
                    <a:pt x="2147461" y="454745"/>
                    <a:pt x="2146943" y="414897"/>
                  </a:cubicBezTo>
                  <a:cubicBezTo>
                    <a:pt x="2146598" y="375221"/>
                    <a:pt x="2126933" y="367976"/>
                    <a:pt x="2112616" y="362801"/>
                  </a:cubicBezTo>
                  <a:cubicBezTo>
                    <a:pt x="2105716" y="360214"/>
                    <a:pt x="2102093" y="358834"/>
                    <a:pt x="2100196" y="355384"/>
                  </a:cubicBezTo>
                  <a:lnTo>
                    <a:pt x="2096918" y="349174"/>
                  </a:lnTo>
                  <a:cubicBezTo>
                    <a:pt x="2088465" y="331406"/>
                    <a:pt x="2081910" y="322091"/>
                    <a:pt x="2017912" y="287073"/>
                  </a:cubicBezTo>
                  <a:cubicBezTo>
                    <a:pt x="2000490" y="277413"/>
                    <a:pt x="1991002" y="267236"/>
                    <a:pt x="1992900" y="259473"/>
                  </a:cubicBezTo>
                  <a:cubicBezTo>
                    <a:pt x="1994452" y="254126"/>
                    <a:pt x="2000662" y="250158"/>
                    <a:pt x="2006700" y="248606"/>
                  </a:cubicBezTo>
                  <a:cubicBezTo>
                    <a:pt x="2027400" y="278621"/>
                    <a:pt x="2047410" y="282761"/>
                    <a:pt x="2063625" y="282761"/>
                  </a:cubicBezTo>
                  <a:lnTo>
                    <a:pt x="2063798" y="282761"/>
                  </a:lnTo>
                  <a:cubicBezTo>
                    <a:pt x="2066213" y="282588"/>
                    <a:pt x="2070008" y="282416"/>
                    <a:pt x="2074493" y="282416"/>
                  </a:cubicBezTo>
                  <a:cubicBezTo>
                    <a:pt x="2113823" y="282416"/>
                    <a:pt x="2143148" y="289833"/>
                    <a:pt x="2146081" y="294318"/>
                  </a:cubicBezTo>
                  <a:cubicBezTo>
                    <a:pt x="2146253" y="324334"/>
                    <a:pt x="2164194" y="328646"/>
                    <a:pt x="2176096" y="328646"/>
                  </a:cubicBezTo>
                  <a:cubicBezTo>
                    <a:pt x="2196624" y="324851"/>
                    <a:pt x="2208354" y="324334"/>
                    <a:pt x="2218186" y="324334"/>
                  </a:cubicBezTo>
                  <a:cubicBezTo>
                    <a:pt x="2230261" y="324334"/>
                    <a:pt x="2240784" y="325024"/>
                    <a:pt x="2245269" y="325369"/>
                  </a:cubicBezTo>
                  <a:cubicBezTo>
                    <a:pt x="2251652" y="328646"/>
                    <a:pt x="2265452" y="334339"/>
                    <a:pt x="2279424" y="334339"/>
                  </a:cubicBezTo>
                  <a:lnTo>
                    <a:pt x="2282874" y="334166"/>
                  </a:lnTo>
                  <a:lnTo>
                    <a:pt x="2284944" y="332614"/>
                  </a:lnTo>
                  <a:cubicBezTo>
                    <a:pt x="2304437" y="317951"/>
                    <a:pt x="2315477" y="310361"/>
                    <a:pt x="2321170" y="306566"/>
                  </a:cubicBezTo>
                  <a:cubicBezTo>
                    <a:pt x="2346182" y="328819"/>
                    <a:pt x="2364123" y="345896"/>
                    <a:pt x="2370850" y="353659"/>
                  </a:cubicBezTo>
                  <a:cubicBezTo>
                    <a:pt x="2377233" y="360904"/>
                    <a:pt x="2383788" y="366079"/>
                    <a:pt x="2388963" y="370046"/>
                  </a:cubicBezTo>
                  <a:cubicBezTo>
                    <a:pt x="2394138" y="373841"/>
                    <a:pt x="2398105" y="377119"/>
                    <a:pt x="2400003" y="380742"/>
                  </a:cubicBezTo>
                  <a:lnTo>
                    <a:pt x="2402763" y="384364"/>
                  </a:lnTo>
                  <a:lnTo>
                    <a:pt x="2406385" y="385227"/>
                  </a:lnTo>
                  <a:cubicBezTo>
                    <a:pt x="2421738" y="388677"/>
                    <a:pt x="2437953" y="385054"/>
                    <a:pt x="2453306" y="380742"/>
                  </a:cubicBezTo>
                  <a:lnTo>
                    <a:pt x="2460378" y="379017"/>
                  </a:lnTo>
                  <a:cubicBezTo>
                    <a:pt x="2467451" y="377292"/>
                    <a:pt x="2472108" y="374186"/>
                    <a:pt x="2474696" y="369356"/>
                  </a:cubicBezTo>
                  <a:cubicBezTo>
                    <a:pt x="2478663" y="361766"/>
                    <a:pt x="2476248" y="353314"/>
                    <a:pt x="2472971" y="343826"/>
                  </a:cubicBezTo>
                  <a:cubicBezTo>
                    <a:pt x="2470038" y="334684"/>
                    <a:pt x="2465726" y="322264"/>
                    <a:pt x="2466588" y="306739"/>
                  </a:cubicBezTo>
                  <a:cubicBezTo>
                    <a:pt x="2467451" y="289316"/>
                    <a:pt x="2477973" y="285176"/>
                    <a:pt x="2494879" y="280001"/>
                  </a:cubicBezTo>
                  <a:cubicBezTo>
                    <a:pt x="2503159" y="277413"/>
                    <a:pt x="2511093" y="275171"/>
                    <a:pt x="2516269" y="269823"/>
                  </a:cubicBezTo>
                  <a:cubicBezTo>
                    <a:pt x="2590444" y="266373"/>
                    <a:pt x="2604934" y="267408"/>
                    <a:pt x="2608039" y="267753"/>
                  </a:cubicBezTo>
                  <a:lnTo>
                    <a:pt x="2646162" y="266718"/>
                  </a:lnTo>
                  <a:cubicBezTo>
                    <a:pt x="2657202" y="266546"/>
                    <a:pt x="2673762" y="252918"/>
                    <a:pt x="2678592" y="242223"/>
                  </a:cubicBezTo>
                  <a:cubicBezTo>
                    <a:pt x="2682215" y="240498"/>
                    <a:pt x="2694635" y="237393"/>
                    <a:pt x="2707745" y="237393"/>
                  </a:cubicBezTo>
                  <a:cubicBezTo>
                    <a:pt x="2709470" y="237565"/>
                    <a:pt x="2711367" y="237565"/>
                    <a:pt x="2713093" y="237565"/>
                  </a:cubicBezTo>
                  <a:cubicBezTo>
                    <a:pt x="2738623" y="237565"/>
                    <a:pt x="2753458" y="216175"/>
                    <a:pt x="2765360" y="198753"/>
                  </a:cubicBezTo>
                  <a:cubicBezTo>
                    <a:pt x="2769673" y="192543"/>
                    <a:pt x="2773813" y="186333"/>
                    <a:pt x="2777435" y="183228"/>
                  </a:cubicBezTo>
                  <a:cubicBezTo>
                    <a:pt x="2781403" y="179605"/>
                    <a:pt x="2789338" y="177708"/>
                    <a:pt x="2799861" y="177708"/>
                  </a:cubicBezTo>
                  <a:cubicBezTo>
                    <a:pt x="2814351" y="177708"/>
                    <a:pt x="2827116" y="180985"/>
                    <a:pt x="2827633" y="181675"/>
                  </a:cubicBezTo>
                  <a:lnTo>
                    <a:pt x="2829703" y="182365"/>
                  </a:lnTo>
                  <a:lnTo>
                    <a:pt x="2831428" y="182193"/>
                  </a:lnTo>
                  <a:cubicBezTo>
                    <a:pt x="2844366" y="181158"/>
                    <a:pt x="2875416" y="176500"/>
                    <a:pt x="2881626" y="157697"/>
                  </a:cubicBezTo>
                  <a:cubicBezTo>
                    <a:pt x="2884904" y="147175"/>
                    <a:pt x="2890769" y="136135"/>
                    <a:pt x="2928547" y="115262"/>
                  </a:cubicBezTo>
                  <a:cubicBezTo>
                    <a:pt x="2960287" y="97839"/>
                    <a:pt x="2958389" y="69894"/>
                    <a:pt x="2956837" y="49367"/>
                  </a:cubicBezTo>
                  <a:cubicBezTo>
                    <a:pt x="2956492" y="42812"/>
                    <a:pt x="2955974" y="35567"/>
                    <a:pt x="2957009" y="30219"/>
                  </a:cubicBezTo>
                  <a:cubicBezTo>
                    <a:pt x="2957354" y="28494"/>
                    <a:pt x="2958044" y="25389"/>
                    <a:pt x="2975812" y="25389"/>
                  </a:cubicBezTo>
                  <a:cubicBezTo>
                    <a:pt x="3001342" y="25561"/>
                    <a:pt x="3012727" y="25044"/>
                    <a:pt x="3022387" y="21076"/>
                  </a:cubicBezTo>
                  <a:cubicBezTo>
                    <a:pt x="3044812" y="18144"/>
                    <a:pt x="3051367" y="23491"/>
                    <a:pt x="3066548" y="37982"/>
                  </a:cubicBezTo>
                  <a:lnTo>
                    <a:pt x="3068273" y="39707"/>
                  </a:lnTo>
                  <a:cubicBezTo>
                    <a:pt x="3086385" y="56957"/>
                    <a:pt x="3083280" y="80589"/>
                    <a:pt x="3058958" y="110260"/>
                  </a:cubicBezTo>
                  <a:cubicBezTo>
                    <a:pt x="3028252" y="147347"/>
                    <a:pt x="3047055" y="175293"/>
                    <a:pt x="3049298" y="178225"/>
                  </a:cubicBezTo>
                  <a:lnTo>
                    <a:pt x="3052920" y="182020"/>
                  </a:lnTo>
                  <a:lnTo>
                    <a:pt x="3060338" y="181848"/>
                  </a:lnTo>
                  <a:cubicBezTo>
                    <a:pt x="3070860" y="181675"/>
                    <a:pt x="3101048" y="180985"/>
                    <a:pt x="3108983" y="180640"/>
                  </a:cubicBezTo>
                  <a:cubicBezTo>
                    <a:pt x="3117435" y="180640"/>
                    <a:pt x="3128476" y="184435"/>
                    <a:pt x="3133478" y="192715"/>
                  </a:cubicBezTo>
                  <a:cubicBezTo>
                    <a:pt x="3136066" y="196855"/>
                    <a:pt x="3137963" y="200995"/>
                    <a:pt x="3140723" y="207033"/>
                  </a:cubicBezTo>
                  <a:cubicBezTo>
                    <a:pt x="3145898" y="218418"/>
                    <a:pt x="3152798" y="233770"/>
                    <a:pt x="3169358" y="260163"/>
                  </a:cubicBezTo>
                  <a:cubicBezTo>
                    <a:pt x="3175396" y="269823"/>
                    <a:pt x="3177293" y="279138"/>
                    <a:pt x="3175051" y="287763"/>
                  </a:cubicBezTo>
                  <a:cubicBezTo>
                    <a:pt x="3171256" y="303116"/>
                    <a:pt x="3155213" y="312776"/>
                    <a:pt x="3152453" y="314501"/>
                  </a:cubicBezTo>
                  <a:cubicBezTo>
                    <a:pt x="3152281" y="314674"/>
                    <a:pt x="3124335" y="337616"/>
                    <a:pt x="3116055" y="352106"/>
                  </a:cubicBezTo>
                  <a:cubicBezTo>
                    <a:pt x="3109845" y="362629"/>
                    <a:pt x="3111570" y="369356"/>
                    <a:pt x="3113640" y="379362"/>
                  </a:cubicBezTo>
                  <a:cubicBezTo>
                    <a:pt x="3114848" y="385399"/>
                    <a:pt x="3116918" y="393507"/>
                    <a:pt x="3117953" y="406444"/>
                  </a:cubicBezTo>
                  <a:cubicBezTo>
                    <a:pt x="3119160" y="421624"/>
                    <a:pt x="3116918" y="425592"/>
                    <a:pt x="3111570" y="434562"/>
                  </a:cubicBezTo>
                  <a:cubicBezTo>
                    <a:pt x="3106223" y="443532"/>
                    <a:pt x="3098978" y="455607"/>
                    <a:pt x="3091905" y="482345"/>
                  </a:cubicBezTo>
                  <a:cubicBezTo>
                    <a:pt x="3079313" y="529955"/>
                    <a:pt x="3090353" y="570665"/>
                    <a:pt x="3097598" y="597748"/>
                  </a:cubicBezTo>
                  <a:lnTo>
                    <a:pt x="3098633" y="601543"/>
                  </a:lnTo>
                  <a:cubicBezTo>
                    <a:pt x="3099495" y="605166"/>
                    <a:pt x="3100358" y="608443"/>
                    <a:pt x="3101048" y="611203"/>
                  </a:cubicBezTo>
                  <a:cubicBezTo>
                    <a:pt x="3103980" y="625866"/>
                    <a:pt x="3114675" y="637251"/>
                    <a:pt x="3125026" y="648291"/>
                  </a:cubicBezTo>
                  <a:cubicBezTo>
                    <a:pt x="3133306" y="657434"/>
                    <a:pt x="3142103" y="666921"/>
                    <a:pt x="3144173" y="676409"/>
                  </a:cubicBezTo>
                  <a:cubicBezTo>
                    <a:pt x="3148486" y="696074"/>
                    <a:pt x="3149521" y="722294"/>
                    <a:pt x="3149693" y="733334"/>
                  </a:cubicBezTo>
                  <a:cubicBezTo>
                    <a:pt x="3149693" y="735922"/>
                    <a:pt x="3150901" y="738509"/>
                    <a:pt x="3154178" y="741097"/>
                  </a:cubicBezTo>
                  <a:cubicBezTo>
                    <a:pt x="3172118" y="754897"/>
                    <a:pt x="3185746" y="766282"/>
                    <a:pt x="3192991" y="773009"/>
                  </a:cubicBezTo>
                  <a:cubicBezTo>
                    <a:pt x="3200409" y="780082"/>
                    <a:pt x="3211621" y="788190"/>
                    <a:pt x="3221626" y="795607"/>
                  </a:cubicBezTo>
                  <a:cubicBezTo>
                    <a:pt x="3228526" y="800437"/>
                    <a:pt x="3235254" y="805612"/>
                    <a:pt x="3238186" y="808372"/>
                  </a:cubicBezTo>
                  <a:cubicBezTo>
                    <a:pt x="3239049" y="809407"/>
                    <a:pt x="3240601" y="810960"/>
                    <a:pt x="3242154" y="812685"/>
                  </a:cubicBezTo>
                  <a:cubicBezTo>
                    <a:pt x="3252676" y="823897"/>
                    <a:pt x="3274411" y="846495"/>
                    <a:pt x="3299597" y="848565"/>
                  </a:cubicBezTo>
                  <a:lnTo>
                    <a:pt x="3299597" y="1087307"/>
                  </a:lnTo>
                  <a:lnTo>
                    <a:pt x="3105015" y="1087307"/>
                  </a:lnTo>
                  <a:cubicBezTo>
                    <a:pt x="3081383" y="1087479"/>
                    <a:pt x="3072758" y="1087479"/>
                    <a:pt x="3065340" y="1090757"/>
                  </a:cubicBezTo>
                  <a:cubicBezTo>
                    <a:pt x="3057232" y="1095069"/>
                    <a:pt x="3057923" y="1097829"/>
                    <a:pt x="3050850" y="1102142"/>
                  </a:cubicBezTo>
                  <a:cubicBezTo>
                    <a:pt x="3037740" y="1111802"/>
                    <a:pt x="3032047" y="1132675"/>
                    <a:pt x="3023077" y="1155962"/>
                  </a:cubicBezTo>
                  <a:cubicBezTo>
                    <a:pt x="3014797" y="1178732"/>
                    <a:pt x="3005482" y="1203573"/>
                    <a:pt x="2996167" y="1214958"/>
                  </a:cubicBezTo>
                  <a:cubicBezTo>
                    <a:pt x="2989095" y="1223583"/>
                    <a:pt x="2985645" y="1232898"/>
                    <a:pt x="2985645" y="1241868"/>
                  </a:cubicBezTo>
                  <a:cubicBezTo>
                    <a:pt x="2985989" y="1264983"/>
                    <a:pt x="3004102" y="1280163"/>
                    <a:pt x="3012210" y="1288271"/>
                  </a:cubicBezTo>
                  <a:cubicBezTo>
                    <a:pt x="3007380" y="1292756"/>
                    <a:pt x="2987197" y="1302761"/>
                    <a:pt x="2965462" y="1313111"/>
                  </a:cubicBezTo>
                  <a:cubicBezTo>
                    <a:pt x="2958044" y="1316733"/>
                    <a:pt x="2949592" y="1318458"/>
                    <a:pt x="2941312" y="1318458"/>
                  </a:cubicBezTo>
                  <a:cubicBezTo>
                    <a:pt x="2917851" y="1318458"/>
                    <a:pt x="2895771" y="1304141"/>
                    <a:pt x="2890941" y="1281026"/>
                  </a:cubicBezTo>
                  <a:cubicBezTo>
                    <a:pt x="2886456" y="1256013"/>
                    <a:pt x="2869379" y="1246353"/>
                    <a:pt x="2854371" y="1247560"/>
                  </a:cubicBezTo>
                  <a:cubicBezTo>
                    <a:pt x="2843848" y="1247560"/>
                    <a:pt x="2833671" y="1249975"/>
                    <a:pt x="2824183" y="1249975"/>
                  </a:cubicBezTo>
                  <a:cubicBezTo>
                    <a:pt x="2792616" y="1251010"/>
                    <a:pt x="2744488" y="1295516"/>
                    <a:pt x="2733103" y="1302933"/>
                  </a:cubicBezTo>
                  <a:cubicBezTo>
                    <a:pt x="2721718" y="1313801"/>
                    <a:pt x="2722235" y="1331568"/>
                    <a:pt x="2719820" y="1352096"/>
                  </a:cubicBezTo>
                  <a:cubicBezTo>
                    <a:pt x="2718268" y="1372106"/>
                    <a:pt x="2718268" y="1392634"/>
                    <a:pt x="2718268" y="1399534"/>
                  </a:cubicBezTo>
                  <a:cubicBezTo>
                    <a:pt x="2718612" y="1412817"/>
                    <a:pt x="2717233" y="1446799"/>
                    <a:pt x="2704122" y="1458012"/>
                  </a:cubicBezTo>
                  <a:cubicBezTo>
                    <a:pt x="2701707" y="1460082"/>
                    <a:pt x="2699292" y="1461289"/>
                    <a:pt x="2695497" y="1461289"/>
                  </a:cubicBezTo>
                  <a:cubicBezTo>
                    <a:pt x="2684112" y="1461289"/>
                    <a:pt x="2667897" y="1446799"/>
                    <a:pt x="2667897" y="1431964"/>
                  </a:cubicBezTo>
                  <a:cubicBezTo>
                    <a:pt x="2667207" y="1397809"/>
                    <a:pt x="2639434" y="1385561"/>
                    <a:pt x="2595964" y="1367104"/>
                  </a:cubicBezTo>
                  <a:cubicBezTo>
                    <a:pt x="2570779" y="1356409"/>
                    <a:pt x="2561119" y="1332949"/>
                    <a:pt x="2561119" y="1317078"/>
                  </a:cubicBezTo>
                  <a:cubicBezTo>
                    <a:pt x="2560946" y="1308108"/>
                    <a:pt x="2564741" y="1304831"/>
                    <a:pt x="2564741" y="1304831"/>
                  </a:cubicBezTo>
                  <a:cubicBezTo>
                    <a:pt x="2574057" y="1302416"/>
                    <a:pt x="2580094" y="1292583"/>
                    <a:pt x="2579404" y="1284821"/>
                  </a:cubicBezTo>
                  <a:cubicBezTo>
                    <a:pt x="2579232" y="1272573"/>
                    <a:pt x="2573194" y="1261533"/>
                    <a:pt x="2570261" y="1250665"/>
                  </a:cubicBezTo>
                  <a:cubicBezTo>
                    <a:pt x="2563706" y="1229103"/>
                    <a:pt x="2536451" y="1181837"/>
                    <a:pt x="2530069" y="1172350"/>
                  </a:cubicBezTo>
                  <a:cubicBezTo>
                    <a:pt x="2530069" y="1172350"/>
                    <a:pt x="2529896" y="1172005"/>
                    <a:pt x="2529724" y="1169935"/>
                  </a:cubicBezTo>
                  <a:cubicBezTo>
                    <a:pt x="2529379" y="1168037"/>
                    <a:pt x="2529379" y="1165105"/>
                    <a:pt x="2529379" y="1161655"/>
                  </a:cubicBezTo>
                  <a:cubicBezTo>
                    <a:pt x="2529379" y="1148027"/>
                    <a:pt x="2531794" y="1126809"/>
                    <a:pt x="2531966" y="1109732"/>
                  </a:cubicBezTo>
                  <a:cubicBezTo>
                    <a:pt x="2531794" y="1089894"/>
                    <a:pt x="2523341" y="1065572"/>
                    <a:pt x="2523686" y="1041421"/>
                  </a:cubicBezTo>
                  <a:cubicBezTo>
                    <a:pt x="2523686" y="1031589"/>
                    <a:pt x="2524894" y="1021929"/>
                    <a:pt x="2528516" y="1012786"/>
                  </a:cubicBezTo>
                  <a:cubicBezTo>
                    <a:pt x="2532139" y="1003644"/>
                    <a:pt x="2533691" y="994674"/>
                    <a:pt x="2533691" y="986048"/>
                  </a:cubicBezTo>
                  <a:cubicBezTo>
                    <a:pt x="2533346" y="958103"/>
                    <a:pt x="2519718" y="936541"/>
                    <a:pt x="2518166" y="903420"/>
                  </a:cubicBezTo>
                  <a:cubicBezTo>
                    <a:pt x="2514888" y="854257"/>
                    <a:pt x="2485046" y="828382"/>
                    <a:pt x="2484701" y="816135"/>
                  </a:cubicBezTo>
                  <a:cubicBezTo>
                    <a:pt x="2484356" y="813202"/>
                    <a:pt x="2484011" y="809925"/>
                    <a:pt x="2484011" y="806475"/>
                  </a:cubicBezTo>
                  <a:cubicBezTo>
                    <a:pt x="2484011" y="790950"/>
                    <a:pt x="2488496" y="769904"/>
                    <a:pt x="2492981" y="743339"/>
                  </a:cubicBezTo>
                  <a:cubicBezTo>
                    <a:pt x="2493153" y="741442"/>
                    <a:pt x="2493326" y="739544"/>
                    <a:pt x="2493326" y="737647"/>
                  </a:cubicBezTo>
                  <a:cubicBezTo>
                    <a:pt x="2493671" y="728332"/>
                    <a:pt x="2487116" y="720052"/>
                    <a:pt x="2480216" y="717809"/>
                  </a:cubicBezTo>
                  <a:cubicBezTo>
                    <a:pt x="2473316" y="715049"/>
                    <a:pt x="2466416" y="714876"/>
                    <a:pt x="2458998" y="714876"/>
                  </a:cubicBezTo>
                  <a:cubicBezTo>
                    <a:pt x="2453650" y="714876"/>
                    <a:pt x="2448476" y="715049"/>
                    <a:pt x="2443818" y="715049"/>
                  </a:cubicBezTo>
                  <a:cubicBezTo>
                    <a:pt x="2439333" y="715049"/>
                    <a:pt x="2435193" y="714876"/>
                    <a:pt x="2432950" y="714186"/>
                  </a:cubicBezTo>
                  <a:cubicBezTo>
                    <a:pt x="2430708" y="713496"/>
                    <a:pt x="2430880" y="713324"/>
                    <a:pt x="2430535" y="713324"/>
                  </a:cubicBezTo>
                  <a:cubicBezTo>
                    <a:pt x="2421565" y="699006"/>
                    <a:pt x="2397070" y="690726"/>
                    <a:pt x="2371368" y="680204"/>
                  </a:cubicBezTo>
                  <a:cubicBezTo>
                    <a:pt x="2357050" y="674684"/>
                    <a:pt x="2343422" y="670026"/>
                    <a:pt x="2334280" y="666921"/>
                  </a:cubicBezTo>
                  <a:cubicBezTo>
                    <a:pt x="2336522" y="657261"/>
                    <a:pt x="2335660" y="648464"/>
                    <a:pt x="2331692" y="641046"/>
                  </a:cubicBezTo>
                  <a:cubicBezTo>
                    <a:pt x="2325137" y="626728"/>
                    <a:pt x="2309612" y="623106"/>
                    <a:pt x="2305472" y="622416"/>
                  </a:cubicBezTo>
                  <a:close/>
                  <a:moveTo>
                    <a:pt x="148516" y="2751426"/>
                  </a:moveTo>
                  <a:cubicBezTo>
                    <a:pt x="197162" y="2742456"/>
                    <a:pt x="195609" y="2715546"/>
                    <a:pt x="194229" y="2691913"/>
                  </a:cubicBezTo>
                  <a:cubicBezTo>
                    <a:pt x="193884" y="2687601"/>
                    <a:pt x="193539" y="2683461"/>
                    <a:pt x="193539" y="2678976"/>
                  </a:cubicBezTo>
                  <a:cubicBezTo>
                    <a:pt x="193367" y="2661553"/>
                    <a:pt x="183534" y="2653446"/>
                    <a:pt x="176289" y="2647408"/>
                  </a:cubicBezTo>
                  <a:cubicBezTo>
                    <a:pt x="168181" y="2640853"/>
                    <a:pt x="163351" y="2636713"/>
                    <a:pt x="167319" y="2619808"/>
                  </a:cubicBezTo>
                  <a:cubicBezTo>
                    <a:pt x="176116" y="2583755"/>
                    <a:pt x="217517" y="2543045"/>
                    <a:pt x="222002" y="2538560"/>
                  </a:cubicBezTo>
                  <a:lnTo>
                    <a:pt x="224934" y="2535110"/>
                  </a:lnTo>
                  <a:lnTo>
                    <a:pt x="223899" y="2420051"/>
                  </a:lnTo>
                  <a:cubicBezTo>
                    <a:pt x="232697" y="2414359"/>
                    <a:pt x="255295" y="2400904"/>
                    <a:pt x="275132" y="2400214"/>
                  </a:cubicBezTo>
                  <a:cubicBezTo>
                    <a:pt x="306010" y="2399351"/>
                    <a:pt x="335853" y="2367611"/>
                    <a:pt x="385188" y="2314653"/>
                  </a:cubicBezTo>
                  <a:lnTo>
                    <a:pt x="389501" y="2309996"/>
                  </a:lnTo>
                  <a:cubicBezTo>
                    <a:pt x="424863" y="2272218"/>
                    <a:pt x="457811" y="2267388"/>
                    <a:pt x="482651" y="2267388"/>
                  </a:cubicBezTo>
                  <a:cubicBezTo>
                    <a:pt x="507319" y="2267043"/>
                    <a:pt x="531642" y="2255313"/>
                    <a:pt x="553549" y="2244790"/>
                  </a:cubicBezTo>
                  <a:cubicBezTo>
                    <a:pt x="569074" y="2237373"/>
                    <a:pt x="583564" y="2230300"/>
                    <a:pt x="594087" y="2230128"/>
                  </a:cubicBezTo>
                  <a:cubicBezTo>
                    <a:pt x="628587" y="2229093"/>
                    <a:pt x="654462" y="2217190"/>
                    <a:pt x="680683" y="2190280"/>
                  </a:cubicBezTo>
                  <a:cubicBezTo>
                    <a:pt x="688100" y="2182862"/>
                    <a:pt x="693448" y="2175962"/>
                    <a:pt x="698968" y="2168890"/>
                  </a:cubicBezTo>
                  <a:cubicBezTo>
                    <a:pt x="710698" y="2154227"/>
                    <a:pt x="716045" y="2148017"/>
                    <a:pt x="728638" y="2148017"/>
                  </a:cubicBezTo>
                  <a:cubicBezTo>
                    <a:pt x="751408" y="2151467"/>
                    <a:pt x="766761" y="2162507"/>
                    <a:pt x="780388" y="2172340"/>
                  </a:cubicBezTo>
                  <a:cubicBezTo>
                    <a:pt x="794878" y="2182862"/>
                    <a:pt x="810059" y="2193730"/>
                    <a:pt x="831449" y="2193730"/>
                  </a:cubicBezTo>
                  <a:cubicBezTo>
                    <a:pt x="878369" y="2192522"/>
                    <a:pt x="883717" y="2120417"/>
                    <a:pt x="884062" y="2112827"/>
                  </a:cubicBezTo>
                  <a:lnTo>
                    <a:pt x="885787" y="2102132"/>
                  </a:lnTo>
                  <a:cubicBezTo>
                    <a:pt x="938917" y="1774724"/>
                    <a:pt x="972555" y="1575485"/>
                    <a:pt x="978420" y="1554958"/>
                  </a:cubicBezTo>
                  <a:cubicBezTo>
                    <a:pt x="985665" y="1529427"/>
                    <a:pt x="981697" y="1508900"/>
                    <a:pt x="978420" y="1492512"/>
                  </a:cubicBezTo>
                  <a:cubicBezTo>
                    <a:pt x="976867" y="1484750"/>
                    <a:pt x="975487" y="1477505"/>
                    <a:pt x="975487" y="1470777"/>
                  </a:cubicBezTo>
                  <a:cubicBezTo>
                    <a:pt x="975142" y="1444384"/>
                    <a:pt x="934087" y="1405744"/>
                    <a:pt x="920459" y="1397981"/>
                  </a:cubicBezTo>
                  <a:cubicBezTo>
                    <a:pt x="919769" y="1393669"/>
                    <a:pt x="922357" y="1381766"/>
                    <a:pt x="924082" y="1374004"/>
                  </a:cubicBezTo>
                  <a:cubicBezTo>
                    <a:pt x="925807" y="1365206"/>
                    <a:pt x="927704" y="1356064"/>
                    <a:pt x="928567" y="1347266"/>
                  </a:cubicBezTo>
                  <a:cubicBezTo>
                    <a:pt x="931499" y="1316388"/>
                    <a:pt x="900967" y="1307246"/>
                    <a:pt x="871469" y="1298448"/>
                  </a:cubicBezTo>
                  <a:lnTo>
                    <a:pt x="866122" y="1296896"/>
                  </a:lnTo>
                  <a:cubicBezTo>
                    <a:pt x="843006" y="1289996"/>
                    <a:pt x="826791" y="1266018"/>
                    <a:pt x="822134" y="1258255"/>
                  </a:cubicBezTo>
                  <a:lnTo>
                    <a:pt x="828344" y="1153030"/>
                  </a:lnTo>
                  <a:cubicBezTo>
                    <a:pt x="831276" y="1133537"/>
                    <a:pt x="835244" y="1122497"/>
                    <a:pt x="837314" y="1118702"/>
                  </a:cubicBezTo>
                  <a:cubicBezTo>
                    <a:pt x="860084" y="1119392"/>
                    <a:pt x="894239" y="1109732"/>
                    <a:pt x="916319" y="1088687"/>
                  </a:cubicBezTo>
                  <a:cubicBezTo>
                    <a:pt x="930982" y="1084547"/>
                    <a:pt x="940987" y="1086962"/>
                    <a:pt x="954960" y="1091619"/>
                  </a:cubicBezTo>
                  <a:cubicBezTo>
                    <a:pt x="961860" y="1094034"/>
                    <a:pt x="969105" y="1096277"/>
                    <a:pt x="979282" y="1098002"/>
                  </a:cubicBezTo>
                  <a:cubicBezTo>
                    <a:pt x="995325" y="1098174"/>
                    <a:pt x="1007055" y="1094724"/>
                    <a:pt x="1014473" y="1086617"/>
                  </a:cubicBezTo>
                  <a:cubicBezTo>
                    <a:pt x="1025858" y="1074197"/>
                    <a:pt x="1025340" y="1055394"/>
                    <a:pt x="1023443" y="1030381"/>
                  </a:cubicBezTo>
                  <a:cubicBezTo>
                    <a:pt x="1020855" y="997779"/>
                    <a:pt x="993600" y="986048"/>
                    <a:pt x="968587" y="986048"/>
                  </a:cubicBezTo>
                  <a:cubicBezTo>
                    <a:pt x="967035" y="986048"/>
                    <a:pt x="965655" y="986393"/>
                    <a:pt x="962032" y="987256"/>
                  </a:cubicBezTo>
                  <a:cubicBezTo>
                    <a:pt x="952372" y="989326"/>
                    <a:pt x="930119" y="994501"/>
                    <a:pt x="895619" y="995363"/>
                  </a:cubicBezTo>
                  <a:cubicBezTo>
                    <a:pt x="887512" y="995363"/>
                    <a:pt x="876989" y="994156"/>
                    <a:pt x="872504" y="988118"/>
                  </a:cubicBezTo>
                  <a:cubicBezTo>
                    <a:pt x="868019" y="981908"/>
                    <a:pt x="870952" y="972593"/>
                    <a:pt x="871469" y="971041"/>
                  </a:cubicBezTo>
                  <a:lnTo>
                    <a:pt x="871814" y="969488"/>
                  </a:lnTo>
                  <a:lnTo>
                    <a:pt x="871814" y="963106"/>
                  </a:lnTo>
                  <a:cubicBezTo>
                    <a:pt x="871814" y="949478"/>
                    <a:pt x="871642" y="912908"/>
                    <a:pt x="871124" y="884618"/>
                  </a:cubicBezTo>
                  <a:cubicBezTo>
                    <a:pt x="870952" y="869265"/>
                    <a:pt x="876817" y="868575"/>
                    <a:pt x="888547" y="867195"/>
                  </a:cubicBezTo>
                  <a:cubicBezTo>
                    <a:pt x="893377" y="866505"/>
                    <a:pt x="898552" y="865988"/>
                    <a:pt x="902692" y="863573"/>
                  </a:cubicBezTo>
                  <a:cubicBezTo>
                    <a:pt x="916492" y="862365"/>
                    <a:pt x="929084" y="861675"/>
                    <a:pt x="940297" y="861675"/>
                  </a:cubicBezTo>
                  <a:cubicBezTo>
                    <a:pt x="949267" y="861675"/>
                    <a:pt x="954097" y="862020"/>
                    <a:pt x="957375" y="862365"/>
                  </a:cubicBezTo>
                  <a:lnTo>
                    <a:pt x="1117801" y="858225"/>
                  </a:lnTo>
                  <a:cubicBezTo>
                    <a:pt x="1120388" y="858225"/>
                    <a:pt x="1171276" y="857017"/>
                    <a:pt x="1203189" y="856155"/>
                  </a:cubicBezTo>
                  <a:cubicBezTo>
                    <a:pt x="1211986" y="855983"/>
                    <a:pt x="1221819" y="854947"/>
                    <a:pt x="1227512" y="848220"/>
                  </a:cubicBezTo>
                  <a:cubicBezTo>
                    <a:pt x="1233549" y="841147"/>
                    <a:pt x="1232342" y="832005"/>
                    <a:pt x="1231134" y="819930"/>
                  </a:cubicBezTo>
                  <a:cubicBezTo>
                    <a:pt x="1230789" y="815445"/>
                    <a:pt x="1230099" y="810097"/>
                    <a:pt x="1229582" y="804060"/>
                  </a:cubicBezTo>
                  <a:cubicBezTo>
                    <a:pt x="1250627" y="805957"/>
                    <a:pt x="1264599" y="821137"/>
                    <a:pt x="1274777" y="832350"/>
                  </a:cubicBezTo>
                  <a:cubicBezTo>
                    <a:pt x="1278572" y="836317"/>
                    <a:pt x="1281850" y="840112"/>
                    <a:pt x="1284437" y="841665"/>
                  </a:cubicBezTo>
                  <a:lnTo>
                    <a:pt x="1287025" y="843562"/>
                  </a:lnTo>
                  <a:lnTo>
                    <a:pt x="1289612" y="843735"/>
                  </a:lnTo>
                  <a:cubicBezTo>
                    <a:pt x="1311002" y="845632"/>
                    <a:pt x="1339120" y="824242"/>
                    <a:pt x="1341708" y="797160"/>
                  </a:cubicBezTo>
                  <a:cubicBezTo>
                    <a:pt x="1343777" y="773872"/>
                    <a:pt x="1393458" y="754724"/>
                    <a:pt x="1413813" y="746962"/>
                  </a:cubicBezTo>
                  <a:cubicBezTo>
                    <a:pt x="1430891" y="746617"/>
                    <a:pt x="1434686" y="756967"/>
                    <a:pt x="1436411" y="778874"/>
                  </a:cubicBezTo>
                  <a:cubicBezTo>
                    <a:pt x="1436756" y="785429"/>
                    <a:pt x="1437273" y="790260"/>
                    <a:pt x="1439861" y="793882"/>
                  </a:cubicBezTo>
                  <a:cubicBezTo>
                    <a:pt x="1441931" y="796815"/>
                    <a:pt x="1446243" y="801990"/>
                    <a:pt x="1451936" y="808890"/>
                  </a:cubicBezTo>
                  <a:cubicBezTo>
                    <a:pt x="1459698" y="817860"/>
                    <a:pt x="1467461" y="827175"/>
                    <a:pt x="1472808" y="834937"/>
                  </a:cubicBezTo>
                  <a:cubicBezTo>
                    <a:pt x="1476431" y="839767"/>
                    <a:pt x="1481778" y="845977"/>
                    <a:pt x="1487471" y="852705"/>
                  </a:cubicBezTo>
                  <a:cubicBezTo>
                    <a:pt x="1495234" y="861503"/>
                    <a:pt x="1509206" y="877373"/>
                    <a:pt x="1509379" y="882720"/>
                  </a:cubicBezTo>
                  <a:cubicBezTo>
                    <a:pt x="1509379" y="889965"/>
                    <a:pt x="1510586" y="914633"/>
                    <a:pt x="1522834" y="926018"/>
                  </a:cubicBezTo>
                  <a:cubicBezTo>
                    <a:pt x="1525766" y="928778"/>
                    <a:pt x="1533529" y="934988"/>
                    <a:pt x="1543362" y="942923"/>
                  </a:cubicBezTo>
                  <a:cubicBezTo>
                    <a:pt x="1561302" y="957413"/>
                    <a:pt x="1579587" y="972421"/>
                    <a:pt x="1591144" y="983288"/>
                  </a:cubicBezTo>
                  <a:cubicBezTo>
                    <a:pt x="1611844" y="1002954"/>
                    <a:pt x="1622712" y="1012959"/>
                    <a:pt x="1643412" y="1025034"/>
                  </a:cubicBezTo>
                  <a:cubicBezTo>
                    <a:pt x="1651175" y="1029691"/>
                    <a:pt x="1661697" y="1031934"/>
                    <a:pt x="1675842" y="1031934"/>
                  </a:cubicBezTo>
                  <a:cubicBezTo>
                    <a:pt x="1688435" y="1031934"/>
                    <a:pt x="1702235" y="1030036"/>
                    <a:pt x="1713793" y="1028484"/>
                  </a:cubicBezTo>
                  <a:cubicBezTo>
                    <a:pt x="1720693" y="1027449"/>
                    <a:pt x="1726558" y="1026759"/>
                    <a:pt x="1730870" y="1026586"/>
                  </a:cubicBezTo>
                  <a:cubicBezTo>
                    <a:pt x="1742945" y="1026414"/>
                    <a:pt x="1750708" y="1015029"/>
                    <a:pt x="1758816" y="1002954"/>
                  </a:cubicBezTo>
                  <a:cubicBezTo>
                    <a:pt x="1767613" y="989671"/>
                    <a:pt x="1777618" y="975008"/>
                    <a:pt x="1792971" y="973456"/>
                  </a:cubicBezTo>
                  <a:cubicBezTo>
                    <a:pt x="1797283" y="973283"/>
                    <a:pt x="1801078" y="973283"/>
                    <a:pt x="1804528" y="973283"/>
                  </a:cubicBezTo>
                  <a:cubicBezTo>
                    <a:pt x="1822813" y="973283"/>
                    <a:pt x="1825401" y="975698"/>
                    <a:pt x="1825573" y="975871"/>
                  </a:cubicBezTo>
                  <a:cubicBezTo>
                    <a:pt x="1825746" y="976216"/>
                    <a:pt x="1825919" y="977078"/>
                    <a:pt x="1825919" y="980356"/>
                  </a:cubicBezTo>
                  <a:cubicBezTo>
                    <a:pt x="1826091" y="984841"/>
                    <a:pt x="1823848" y="990533"/>
                    <a:pt x="1821433" y="996744"/>
                  </a:cubicBezTo>
                  <a:cubicBezTo>
                    <a:pt x="1816603" y="1009164"/>
                    <a:pt x="1809876" y="1026414"/>
                    <a:pt x="1820743" y="1044526"/>
                  </a:cubicBezTo>
                  <a:lnTo>
                    <a:pt x="1822813" y="1047286"/>
                  </a:lnTo>
                  <a:lnTo>
                    <a:pt x="1825228" y="1048149"/>
                  </a:lnTo>
                  <a:cubicBezTo>
                    <a:pt x="1842479" y="1054531"/>
                    <a:pt x="1857831" y="1052806"/>
                    <a:pt x="1867319" y="1043319"/>
                  </a:cubicBezTo>
                  <a:cubicBezTo>
                    <a:pt x="1872494" y="1038144"/>
                    <a:pt x="1875254" y="1031244"/>
                    <a:pt x="1875254" y="1023654"/>
                  </a:cubicBezTo>
                  <a:cubicBezTo>
                    <a:pt x="1875254" y="1017099"/>
                    <a:pt x="1882154" y="1009336"/>
                    <a:pt x="1891641" y="998641"/>
                  </a:cubicBezTo>
                  <a:cubicBezTo>
                    <a:pt x="1898714" y="990706"/>
                    <a:pt x="1908202" y="980011"/>
                    <a:pt x="1917689" y="966211"/>
                  </a:cubicBezTo>
                  <a:cubicBezTo>
                    <a:pt x="1936492" y="938611"/>
                    <a:pt x="1992210" y="909975"/>
                    <a:pt x="2003940" y="903938"/>
                  </a:cubicBezTo>
                  <a:lnTo>
                    <a:pt x="2004802" y="903938"/>
                  </a:lnTo>
                  <a:cubicBezTo>
                    <a:pt x="2035162" y="903938"/>
                    <a:pt x="2052930" y="896003"/>
                    <a:pt x="2060003" y="879788"/>
                  </a:cubicBezTo>
                  <a:cubicBezTo>
                    <a:pt x="2064833" y="868058"/>
                    <a:pt x="2077943" y="858915"/>
                    <a:pt x="2085533" y="857190"/>
                  </a:cubicBezTo>
                  <a:cubicBezTo>
                    <a:pt x="2091225" y="860813"/>
                    <a:pt x="2097263" y="862538"/>
                    <a:pt x="2103473" y="862538"/>
                  </a:cubicBezTo>
                  <a:cubicBezTo>
                    <a:pt x="2117273" y="862538"/>
                    <a:pt x="2127796" y="854085"/>
                    <a:pt x="2135731" y="847530"/>
                  </a:cubicBezTo>
                  <a:cubicBezTo>
                    <a:pt x="2137801" y="845805"/>
                    <a:pt x="2140561" y="843562"/>
                    <a:pt x="2141768" y="843045"/>
                  </a:cubicBezTo>
                  <a:cubicBezTo>
                    <a:pt x="2156776" y="837007"/>
                    <a:pt x="2182479" y="806130"/>
                    <a:pt x="2179374" y="769042"/>
                  </a:cubicBezTo>
                  <a:cubicBezTo>
                    <a:pt x="2177476" y="749032"/>
                    <a:pt x="2190069" y="744892"/>
                    <a:pt x="2194899" y="744374"/>
                  </a:cubicBezTo>
                  <a:cubicBezTo>
                    <a:pt x="2206801" y="744374"/>
                    <a:pt x="2236644" y="742304"/>
                    <a:pt x="2253549" y="722639"/>
                  </a:cubicBezTo>
                  <a:cubicBezTo>
                    <a:pt x="2258897" y="716429"/>
                    <a:pt x="2269592" y="713841"/>
                    <a:pt x="2280804" y="711081"/>
                  </a:cubicBezTo>
                  <a:cubicBezTo>
                    <a:pt x="2297537" y="706941"/>
                    <a:pt x="2317720" y="701594"/>
                    <a:pt x="2329105" y="682101"/>
                  </a:cubicBezTo>
                  <a:cubicBezTo>
                    <a:pt x="2338247" y="685206"/>
                    <a:pt x="2352565" y="690209"/>
                    <a:pt x="2367400" y="695901"/>
                  </a:cubicBezTo>
                  <a:cubicBezTo>
                    <a:pt x="2391378" y="704181"/>
                    <a:pt x="2418288" y="719016"/>
                    <a:pt x="2417425" y="720914"/>
                  </a:cubicBezTo>
                  <a:cubicBezTo>
                    <a:pt x="2424670" y="732472"/>
                    <a:pt x="2435883" y="731437"/>
                    <a:pt x="2445543" y="731782"/>
                  </a:cubicBezTo>
                  <a:cubicBezTo>
                    <a:pt x="2450718" y="731782"/>
                    <a:pt x="2455721" y="731609"/>
                    <a:pt x="2460723" y="731609"/>
                  </a:cubicBezTo>
                  <a:cubicBezTo>
                    <a:pt x="2467106" y="731609"/>
                    <a:pt x="2472971" y="732299"/>
                    <a:pt x="2475731" y="733334"/>
                  </a:cubicBezTo>
                  <a:cubicBezTo>
                    <a:pt x="2478318" y="735059"/>
                    <a:pt x="2477628" y="734024"/>
                    <a:pt x="2478318" y="736957"/>
                  </a:cubicBezTo>
                  <a:cubicBezTo>
                    <a:pt x="2478318" y="737647"/>
                    <a:pt x="2478318" y="738682"/>
                    <a:pt x="2478146" y="739717"/>
                  </a:cubicBezTo>
                  <a:cubicBezTo>
                    <a:pt x="2473661" y="765764"/>
                    <a:pt x="2469003" y="786982"/>
                    <a:pt x="2469003" y="805785"/>
                  </a:cubicBezTo>
                  <a:cubicBezTo>
                    <a:pt x="2469003" y="810097"/>
                    <a:pt x="2469176" y="814065"/>
                    <a:pt x="2469866" y="818205"/>
                  </a:cubicBezTo>
                  <a:cubicBezTo>
                    <a:pt x="2475041" y="843562"/>
                    <a:pt x="2500571" y="861158"/>
                    <a:pt x="2502986" y="904110"/>
                  </a:cubicBezTo>
                  <a:cubicBezTo>
                    <a:pt x="2505574" y="941543"/>
                    <a:pt x="2519029" y="964831"/>
                    <a:pt x="2518511" y="985703"/>
                  </a:cubicBezTo>
                  <a:cubicBezTo>
                    <a:pt x="2518511" y="992086"/>
                    <a:pt x="2517476" y="998469"/>
                    <a:pt x="2514716" y="1005714"/>
                  </a:cubicBezTo>
                  <a:cubicBezTo>
                    <a:pt x="2510058" y="1017271"/>
                    <a:pt x="2508506" y="1029346"/>
                    <a:pt x="2508506" y="1040904"/>
                  </a:cubicBezTo>
                  <a:cubicBezTo>
                    <a:pt x="2508506" y="1068504"/>
                    <a:pt x="2517131" y="1094552"/>
                    <a:pt x="2516786" y="1109214"/>
                  </a:cubicBezTo>
                  <a:cubicBezTo>
                    <a:pt x="2516786" y="1124567"/>
                    <a:pt x="2514371" y="1145440"/>
                    <a:pt x="2514199" y="1161137"/>
                  </a:cubicBezTo>
                  <a:cubicBezTo>
                    <a:pt x="2514371" y="1169245"/>
                    <a:pt x="2514199" y="1175282"/>
                    <a:pt x="2518338" y="1182010"/>
                  </a:cubicBezTo>
                  <a:cubicBezTo>
                    <a:pt x="2523169" y="1188910"/>
                    <a:pt x="2551459" y="1239108"/>
                    <a:pt x="2556116" y="1255323"/>
                  </a:cubicBezTo>
                  <a:cubicBezTo>
                    <a:pt x="2559739" y="1267571"/>
                    <a:pt x="2564914" y="1279473"/>
                    <a:pt x="2564741" y="1284303"/>
                  </a:cubicBezTo>
                  <a:cubicBezTo>
                    <a:pt x="2564051" y="1287063"/>
                    <a:pt x="2565604" y="1285856"/>
                    <a:pt x="2561809" y="1287753"/>
                  </a:cubicBezTo>
                  <a:cubicBezTo>
                    <a:pt x="2550079" y="1292238"/>
                    <a:pt x="2546629" y="1304658"/>
                    <a:pt x="2546456" y="1316561"/>
                  </a:cubicBezTo>
                  <a:cubicBezTo>
                    <a:pt x="2546456" y="1338986"/>
                    <a:pt x="2559566" y="1368829"/>
                    <a:pt x="2591824" y="1382629"/>
                  </a:cubicBezTo>
                  <a:cubicBezTo>
                    <a:pt x="2637364" y="1401776"/>
                    <a:pt x="2653924" y="1411437"/>
                    <a:pt x="2653407" y="1431274"/>
                  </a:cubicBezTo>
                  <a:cubicBezTo>
                    <a:pt x="2654097" y="1457839"/>
                    <a:pt x="2675832" y="1477332"/>
                    <a:pt x="2697567" y="1478022"/>
                  </a:cubicBezTo>
                  <a:lnTo>
                    <a:pt x="2697740" y="1478022"/>
                  </a:lnTo>
                  <a:cubicBezTo>
                    <a:pt x="2704640" y="1478022"/>
                    <a:pt x="2711885" y="1475434"/>
                    <a:pt x="2717233" y="1470087"/>
                  </a:cubicBezTo>
                  <a:cubicBezTo>
                    <a:pt x="2737760" y="1449214"/>
                    <a:pt x="2736208" y="1412472"/>
                    <a:pt x="2736725" y="1398671"/>
                  </a:cubicBezTo>
                  <a:cubicBezTo>
                    <a:pt x="2736725" y="1392116"/>
                    <a:pt x="2736725" y="1371761"/>
                    <a:pt x="2737933" y="1352786"/>
                  </a:cubicBezTo>
                  <a:cubicBezTo>
                    <a:pt x="2738623" y="1343126"/>
                    <a:pt x="2739658" y="1333811"/>
                    <a:pt x="2741210" y="1326738"/>
                  </a:cubicBezTo>
                  <a:cubicBezTo>
                    <a:pt x="2741900" y="1323288"/>
                    <a:pt x="2742763" y="1320356"/>
                    <a:pt x="2743625" y="1318458"/>
                  </a:cubicBezTo>
                  <a:cubicBezTo>
                    <a:pt x="2743970" y="1317596"/>
                    <a:pt x="2744315" y="1316733"/>
                    <a:pt x="2744488" y="1316561"/>
                  </a:cubicBezTo>
                  <a:cubicBezTo>
                    <a:pt x="2755873" y="1307591"/>
                    <a:pt x="2807451" y="1265673"/>
                    <a:pt x="2825736" y="1266881"/>
                  </a:cubicBezTo>
                  <a:cubicBezTo>
                    <a:pt x="2837293" y="1266881"/>
                    <a:pt x="2847988" y="1264466"/>
                    <a:pt x="2855924" y="1264466"/>
                  </a:cubicBezTo>
                  <a:cubicBezTo>
                    <a:pt x="2866791" y="1265500"/>
                    <a:pt x="2870586" y="1265156"/>
                    <a:pt x="2876279" y="1284303"/>
                  </a:cubicBezTo>
                  <a:cubicBezTo>
                    <a:pt x="2883696" y="1317251"/>
                    <a:pt x="2913539" y="1335364"/>
                    <a:pt x="2942864" y="1335191"/>
                  </a:cubicBezTo>
                  <a:cubicBezTo>
                    <a:pt x="2953387" y="1335191"/>
                    <a:pt x="2964082" y="1333121"/>
                    <a:pt x="2974087" y="1328119"/>
                  </a:cubicBezTo>
                  <a:cubicBezTo>
                    <a:pt x="2988232" y="1321218"/>
                    <a:pt x="3001170" y="1315353"/>
                    <a:pt x="3011347" y="1309833"/>
                  </a:cubicBezTo>
                  <a:cubicBezTo>
                    <a:pt x="3021007" y="1303623"/>
                    <a:pt x="3029977" y="1300173"/>
                    <a:pt x="3031357" y="1287408"/>
                  </a:cubicBezTo>
                  <a:cubicBezTo>
                    <a:pt x="3031357" y="1282751"/>
                    <a:pt x="3028942" y="1278611"/>
                    <a:pt x="3026182" y="1276023"/>
                  </a:cubicBezTo>
                  <a:cubicBezTo>
                    <a:pt x="3017557" y="1268088"/>
                    <a:pt x="3003067" y="1253598"/>
                    <a:pt x="3003757" y="1241350"/>
                  </a:cubicBezTo>
                  <a:cubicBezTo>
                    <a:pt x="3003757" y="1236865"/>
                    <a:pt x="3004965" y="1232035"/>
                    <a:pt x="3010140" y="1225998"/>
                  </a:cubicBezTo>
                  <a:cubicBezTo>
                    <a:pt x="3022905" y="1210128"/>
                    <a:pt x="3031702" y="1184770"/>
                    <a:pt x="3040327" y="1161655"/>
                  </a:cubicBezTo>
                  <a:cubicBezTo>
                    <a:pt x="3048090" y="1138885"/>
                    <a:pt x="3057578" y="1117667"/>
                    <a:pt x="3061200" y="1116632"/>
                  </a:cubicBezTo>
                  <a:cubicBezTo>
                    <a:pt x="3070860" y="1110077"/>
                    <a:pt x="3072758" y="1106109"/>
                    <a:pt x="3073620" y="1106454"/>
                  </a:cubicBezTo>
                  <a:cubicBezTo>
                    <a:pt x="3075173" y="1105592"/>
                    <a:pt x="3083453" y="1104384"/>
                    <a:pt x="3106740" y="1104557"/>
                  </a:cubicBezTo>
                  <a:lnTo>
                    <a:pt x="3303047" y="1104557"/>
                  </a:lnTo>
                  <a:cubicBezTo>
                    <a:pt x="3303219" y="1104902"/>
                    <a:pt x="3303392" y="1105074"/>
                    <a:pt x="3303564" y="1105419"/>
                  </a:cubicBezTo>
                  <a:lnTo>
                    <a:pt x="3304427" y="1105419"/>
                  </a:lnTo>
                  <a:cubicBezTo>
                    <a:pt x="3309602" y="1116114"/>
                    <a:pt x="3319952" y="1140265"/>
                    <a:pt x="3319779" y="1160102"/>
                  </a:cubicBezTo>
                  <a:cubicBezTo>
                    <a:pt x="3319779" y="1173212"/>
                    <a:pt x="3317364" y="1190290"/>
                    <a:pt x="3317192" y="1205988"/>
                  </a:cubicBezTo>
                  <a:cubicBezTo>
                    <a:pt x="3317019" y="1223065"/>
                    <a:pt x="3320469" y="1243075"/>
                    <a:pt x="3339445" y="1249458"/>
                  </a:cubicBezTo>
                  <a:cubicBezTo>
                    <a:pt x="3361007" y="1255668"/>
                    <a:pt x="3382915" y="1283268"/>
                    <a:pt x="3383777" y="1291721"/>
                  </a:cubicBezTo>
                  <a:cubicBezTo>
                    <a:pt x="3387572" y="1308798"/>
                    <a:pt x="3409653" y="1350889"/>
                    <a:pt x="3436218" y="1377281"/>
                  </a:cubicBezTo>
                  <a:cubicBezTo>
                    <a:pt x="3463128" y="1403157"/>
                    <a:pt x="3526436" y="1440417"/>
                    <a:pt x="3561109" y="1454734"/>
                  </a:cubicBezTo>
                  <a:cubicBezTo>
                    <a:pt x="3593194" y="1467844"/>
                    <a:pt x="3669957" y="1518560"/>
                    <a:pt x="3686172" y="1525115"/>
                  </a:cubicBezTo>
                  <a:cubicBezTo>
                    <a:pt x="3692555" y="1527702"/>
                    <a:pt x="3710667" y="1535810"/>
                    <a:pt x="3726710" y="1544263"/>
                  </a:cubicBezTo>
                  <a:cubicBezTo>
                    <a:pt x="3734645" y="1548575"/>
                    <a:pt x="3742062" y="1553060"/>
                    <a:pt x="3747410" y="1556683"/>
                  </a:cubicBezTo>
                  <a:cubicBezTo>
                    <a:pt x="3749998" y="1558580"/>
                    <a:pt x="3751895" y="1560305"/>
                    <a:pt x="3752930" y="1561340"/>
                  </a:cubicBezTo>
                  <a:cubicBezTo>
                    <a:pt x="3753275" y="1561685"/>
                    <a:pt x="3753620" y="1562030"/>
                    <a:pt x="3753620" y="1562203"/>
                  </a:cubicBezTo>
                  <a:cubicBezTo>
                    <a:pt x="3756897" y="1575830"/>
                    <a:pt x="3769663" y="1585318"/>
                    <a:pt x="3784325" y="1599290"/>
                  </a:cubicBezTo>
                  <a:cubicBezTo>
                    <a:pt x="3800540" y="1612573"/>
                    <a:pt x="3814858" y="1624476"/>
                    <a:pt x="3828141" y="1625511"/>
                  </a:cubicBezTo>
                  <a:cubicBezTo>
                    <a:pt x="3839526" y="1625338"/>
                    <a:pt x="3860571" y="1618955"/>
                    <a:pt x="3874026" y="1619128"/>
                  </a:cubicBezTo>
                  <a:cubicBezTo>
                    <a:pt x="3876958" y="1619128"/>
                    <a:pt x="3879546" y="1619473"/>
                    <a:pt x="3880581" y="1619991"/>
                  </a:cubicBezTo>
                  <a:cubicBezTo>
                    <a:pt x="3872301" y="1646901"/>
                    <a:pt x="3770698" y="1877707"/>
                    <a:pt x="3671509" y="2100752"/>
                  </a:cubicBezTo>
                  <a:cubicBezTo>
                    <a:pt x="3573529" y="2321036"/>
                    <a:pt x="3477100" y="2535800"/>
                    <a:pt x="3471063" y="2548910"/>
                  </a:cubicBezTo>
                  <a:cubicBezTo>
                    <a:pt x="3464508" y="2557363"/>
                    <a:pt x="3427075" y="2601005"/>
                    <a:pt x="3425350" y="2627225"/>
                  </a:cubicBezTo>
                  <a:cubicBezTo>
                    <a:pt x="3425350" y="2628088"/>
                    <a:pt x="3425350" y="2629123"/>
                    <a:pt x="3425523" y="2630676"/>
                  </a:cubicBezTo>
                  <a:cubicBezTo>
                    <a:pt x="3429145" y="2646028"/>
                    <a:pt x="3446913" y="2660173"/>
                    <a:pt x="3464163" y="2680356"/>
                  </a:cubicBezTo>
                  <a:cubicBezTo>
                    <a:pt x="3481586" y="2699331"/>
                    <a:pt x="3497283" y="2721584"/>
                    <a:pt x="3496593" y="2733659"/>
                  </a:cubicBezTo>
                  <a:cubicBezTo>
                    <a:pt x="3496593" y="2735729"/>
                    <a:pt x="3496248" y="2737454"/>
                    <a:pt x="3495558" y="2739179"/>
                  </a:cubicBezTo>
                  <a:cubicBezTo>
                    <a:pt x="3482621" y="2772989"/>
                    <a:pt x="3462955" y="2793862"/>
                    <a:pt x="3456228" y="2821634"/>
                  </a:cubicBezTo>
                  <a:cubicBezTo>
                    <a:pt x="3450535" y="2846992"/>
                    <a:pt x="3450535" y="2866830"/>
                    <a:pt x="3450535" y="2888737"/>
                  </a:cubicBezTo>
                  <a:lnTo>
                    <a:pt x="3450535" y="2954460"/>
                  </a:lnTo>
                  <a:cubicBezTo>
                    <a:pt x="3447948" y="2960498"/>
                    <a:pt x="3439840" y="2979473"/>
                    <a:pt x="3439495" y="2994136"/>
                  </a:cubicBezTo>
                  <a:cubicBezTo>
                    <a:pt x="3439668" y="3001553"/>
                    <a:pt x="3441910" y="3009316"/>
                    <a:pt x="3441910" y="3017596"/>
                  </a:cubicBezTo>
                  <a:cubicBezTo>
                    <a:pt x="3440875" y="3030878"/>
                    <a:pt x="3440013" y="3041918"/>
                    <a:pt x="3407928" y="3047783"/>
                  </a:cubicBezTo>
                  <a:cubicBezTo>
                    <a:pt x="3395335" y="3049509"/>
                    <a:pt x="3387055" y="3050371"/>
                    <a:pt x="3381535" y="3050371"/>
                  </a:cubicBezTo>
                  <a:cubicBezTo>
                    <a:pt x="3364802" y="3051061"/>
                    <a:pt x="3367045" y="3042436"/>
                    <a:pt x="3323057" y="3042264"/>
                  </a:cubicBezTo>
                  <a:lnTo>
                    <a:pt x="2978572" y="3045023"/>
                  </a:lnTo>
                  <a:lnTo>
                    <a:pt x="2743798" y="3050544"/>
                  </a:lnTo>
                  <a:lnTo>
                    <a:pt x="2741383" y="3054166"/>
                  </a:lnTo>
                  <a:cubicBezTo>
                    <a:pt x="2741383" y="3054166"/>
                    <a:pt x="2737933" y="3059341"/>
                    <a:pt x="2730688" y="3065206"/>
                  </a:cubicBezTo>
                  <a:cubicBezTo>
                    <a:pt x="2723443" y="3071416"/>
                    <a:pt x="2712920" y="3077799"/>
                    <a:pt x="2699465" y="3080386"/>
                  </a:cubicBezTo>
                  <a:cubicBezTo>
                    <a:pt x="2696187" y="3081076"/>
                    <a:pt x="2693255" y="3081249"/>
                    <a:pt x="2690495" y="3081249"/>
                  </a:cubicBezTo>
                  <a:cubicBezTo>
                    <a:pt x="2669967" y="3081249"/>
                    <a:pt x="2656339" y="3067449"/>
                    <a:pt x="2647197" y="3049681"/>
                  </a:cubicBezTo>
                  <a:cubicBezTo>
                    <a:pt x="2635295" y="3026566"/>
                    <a:pt x="2620804" y="3012766"/>
                    <a:pt x="2607522" y="2994308"/>
                  </a:cubicBezTo>
                  <a:cubicBezTo>
                    <a:pt x="2595964" y="2980163"/>
                    <a:pt x="2577852" y="2980680"/>
                    <a:pt x="2562499" y="2978265"/>
                  </a:cubicBezTo>
                  <a:cubicBezTo>
                    <a:pt x="2546284" y="2977230"/>
                    <a:pt x="2536451" y="2972918"/>
                    <a:pt x="2536624" y="2970158"/>
                  </a:cubicBezTo>
                  <a:cubicBezTo>
                    <a:pt x="2527654" y="2942558"/>
                    <a:pt x="2488323" y="2909093"/>
                    <a:pt x="2461931" y="2907022"/>
                  </a:cubicBezTo>
                  <a:cubicBezTo>
                    <a:pt x="2452616" y="2907367"/>
                    <a:pt x="2407075" y="2891497"/>
                    <a:pt x="2375680" y="2891497"/>
                  </a:cubicBezTo>
                  <a:cubicBezTo>
                    <a:pt x="2360500" y="2891325"/>
                    <a:pt x="2343077" y="2895982"/>
                    <a:pt x="2339800" y="2914612"/>
                  </a:cubicBezTo>
                  <a:cubicBezTo>
                    <a:pt x="2339110" y="2925480"/>
                    <a:pt x="2318237" y="2941868"/>
                    <a:pt x="2296502" y="2952390"/>
                  </a:cubicBezTo>
                  <a:cubicBezTo>
                    <a:pt x="2274939" y="2963258"/>
                    <a:pt x="2254067" y="2969640"/>
                    <a:pt x="2253894" y="2969813"/>
                  </a:cubicBezTo>
                  <a:lnTo>
                    <a:pt x="2250617" y="2970675"/>
                  </a:lnTo>
                  <a:lnTo>
                    <a:pt x="2248892" y="2973608"/>
                  </a:lnTo>
                  <a:cubicBezTo>
                    <a:pt x="2248719" y="2974298"/>
                    <a:pt x="2232159" y="3003796"/>
                    <a:pt x="2231987" y="3036743"/>
                  </a:cubicBezTo>
                  <a:cubicBezTo>
                    <a:pt x="2231987" y="3042953"/>
                    <a:pt x="2232676" y="3049336"/>
                    <a:pt x="2234056" y="3055719"/>
                  </a:cubicBezTo>
                  <a:cubicBezTo>
                    <a:pt x="2234919" y="3059169"/>
                    <a:pt x="2235264" y="3063136"/>
                    <a:pt x="2235264" y="3067449"/>
                  </a:cubicBezTo>
                  <a:cubicBezTo>
                    <a:pt x="2235264" y="3081249"/>
                    <a:pt x="2230779" y="3098154"/>
                    <a:pt x="2223707" y="3110747"/>
                  </a:cubicBezTo>
                  <a:cubicBezTo>
                    <a:pt x="2216634" y="3123511"/>
                    <a:pt x="2207491" y="3130756"/>
                    <a:pt x="2200936" y="3130584"/>
                  </a:cubicBezTo>
                  <a:cubicBezTo>
                    <a:pt x="2199211" y="3130584"/>
                    <a:pt x="2197314" y="3130239"/>
                    <a:pt x="2195589" y="3129376"/>
                  </a:cubicBezTo>
                  <a:cubicBezTo>
                    <a:pt x="2186791" y="3125581"/>
                    <a:pt x="2177476" y="3124202"/>
                    <a:pt x="2167989" y="3124202"/>
                  </a:cubicBezTo>
                  <a:cubicBezTo>
                    <a:pt x="2144701" y="3124374"/>
                    <a:pt x="2121758" y="3132309"/>
                    <a:pt x="2112443" y="3135932"/>
                  </a:cubicBezTo>
                  <a:cubicBezTo>
                    <a:pt x="2106233" y="3132137"/>
                    <a:pt x="2093640" y="3125237"/>
                    <a:pt x="2080358" y="3124892"/>
                  </a:cubicBezTo>
                  <a:cubicBezTo>
                    <a:pt x="2071215" y="3124202"/>
                    <a:pt x="2059830" y="3130412"/>
                    <a:pt x="2056380" y="3143004"/>
                  </a:cubicBezTo>
                  <a:cubicBezTo>
                    <a:pt x="2052585" y="3155252"/>
                    <a:pt x="2044650" y="3175952"/>
                    <a:pt x="2035680" y="3193375"/>
                  </a:cubicBezTo>
                  <a:cubicBezTo>
                    <a:pt x="2031195" y="3202172"/>
                    <a:pt x="2026710" y="3209762"/>
                    <a:pt x="2022742" y="3215110"/>
                  </a:cubicBezTo>
                  <a:cubicBezTo>
                    <a:pt x="2020845" y="3217697"/>
                    <a:pt x="2018947" y="3219595"/>
                    <a:pt x="2017567" y="3220630"/>
                  </a:cubicBezTo>
                  <a:cubicBezTo>
                    <a:pt x="2017395" y="3220802"/>
                    <a:pt x="2017222" y="3220975"/>
                    <a:pt x="2016877" y="3220975"/>
                  </a:cubicBezTo>
                  <a:cubicBezTo>
                    <a:pt x="2007735" y="3215455"/>
                    <a:pt x="1992900" y="3203725"/>
                    <a:pt x="1974442" y="3203552"/>
                  </a:cubicBezTo>
                  <a:cubicBezTo>
                    <a:pt x="1966679" y="3203552"/>
                    <a:pt x="1958572" y="3205967"/>
                    <a:pt x="1950982" y="3211487"/>
                  </a:cubicBezTo>
                  <a:cubicBezTo>
                    <a:pt x="1932352" y="3225115"/>
                    <a:pt x="1886811" y="3248057"/>
                    <a:pt x="1876461" y="3252887"/>
                  </a:cubicBezTo>
                  <a:lnTo>
                    <a:pt x="1744843" y="3236500"/>
                  </a:lnTo>
                  <a:lnTo>
                    <a:pt x="1683778" y="3290320"/>
                  </a:lnTo>
                  <a:cubicBezTo>
                    <a:pt x="1683605" y="3290320"/>
                    <a:pt x="1666872" y="3299980"/>
                    <a:pt x="1648415" y="3309813"/>
                  </a:cubicBezTo>
                  <a:cubicBezTo>
                    <a:pt x="1629440" y="3319990"/>
                    <a:pt x="1605979" y="3329823"/>
                    <a:pt x="1600459" y="3329478"/>
                  </a:cubicBezTo>
                  <a:cubicBezTo>
                    <a:pt x="1593387" y="3326718"/>
                    <a:pt x="1476258" y="3281523"/>
                    <a:pt x="1357405" y="3233222"/>
                  </a:cubicBezTo>
                  <a:cubicBezTo>
                    <a:pt x="1297892" y="3209072"/>
                    <a:pt x="1238034" y="3184060"/>
                    <a:pt x="1191459" y="3163359"/>
                  </a:cubicBezTo>
                  <a:cubicBezTo>
                    <a:pt x="1145229" y="3143004"/>
                    <a:pt x="1110211" y="3125064"/>
                    <a:pt x="1106761" y="3120407"/>
                  </a:cubicBezTo>
                  <a:cubicBezTo>
                    <a:pt x="1074676" y="3087286"/>
                    <a:pt x="915802" y="3024323"/>
                    <a:pt x="859049" y="3004486"/>
                  </a:cubicBezTo>
                  <a:cubicBezTo>
                    <a:pt x="801606" y="2984993"/>
                    <a:pt x="369663" y="2901502"/>
                    <a:pt x="369318" y="2901330"/>
                  </a:cubicBezTo>
                  <a:lnTo>
                    <a:pt x="69166" y="2803694"/>
                  </a:lnTo>
                  <a:cubicBezTo>
                    <a:pt x="87106" y="2781787"/>
                    <a:pt x="119019" y="2756946"/>
                    <a:pt x="148516" y="2751426"/>
                  </a:cubicBezTo>
                  <a:close/>
                  <a:moveTo>
                    <a:pt x="5133630" y="7664434"/>
                  </a:moveTo>
                  <a:cubicBezTo>
                    <a:pt x="5132940" y="7665642"/>
                    <a:pt x="5069632" y="7814683"/>
                    <a:pt x="5023747" y="7897311"/>
                  </a:cubicBezTo>
                  <a:cubicBezTo>
                    <a:pt x="4982519" y="7971487"/>
                    <a:pt x="4918176" y="8028585"/>
                    <a:pt x="4906273" y="8038762"/>
                  </a:cubicBezTo>
                  <a:cubicBezTo>
                    <a:pt x="4905066" y="8039797"/>
                    <a:pt x="4762235" y="8140711"/>
                    <a:pt x="4742225" y="8171243"/>
                  </a:cubicBezTo>
                  <a:cubicBezTo>
                    <a:pt x="4735842" y="8181076"/>
                    <a:pt x="4722215" y="8187458"/>
                    <a:pt x="4708760" y="8193669"/>
                  </a:cubicBezTo>
                  <a:cubicBezTo>
                    <a:pt x="4688749" y="8202811"/>
                    <a:pt x="4666152" y="8213333"/>
                    <a:pt x="4662702" y="8238691"/>
                  </a:cubicBezTo>
                  <a:cubicBezTo>
                    <a:pt x="4659941" y="8257666"/>
                    <a:pt x="4643209" y="8295789"/>
                    <a:pt x="4628374" y="8329772"/>
                  </a:cubicBezTo>
                  <a:cubicBezTo>
                    <a:pt x="4615609" y="8358925"/>
                    <a:pt x="4603706" y="8386525"/>
                    <a:pt x="4600084" y="8402050"/>
                  </a:cubicBezTo>
                  <a:cubicBezTo>
                    <a:pt x="4596289" y="8418265"/>
                    <a:pt x="4563341" y="8444485"/>
                    <a:pt x="4539363" y="8463633"/>
                  </a:cubicBezTo>
                  <a:cubicBezTo>
                    <a:pt x="4514006" y="8484160"/>
                    <a:pt x="4497963" y="8497098"/>
                    <a:pt x="4495203" y="8507966"/>
                  </a:cubicBezTo>
                  <a:cubicBezTo>
                    <a:pt x="4491925" y="8519696"/>
                    <a:pt x="4478988" y="8525733"/>
                    <a:pt x="4449490" y="8538498"/>
                  </a:cubicBezTo>
                  <a:lnTo>
                    <a:pt x="4438795" y="8543155"/>
                  </a:lnTo>
                  <a:cubicBezTo>
                    <a:pt x="4425858" y="8527803"/>
                    <a:pt x="4426030" y="8509690"/>
                    <a:pt x="4426030" y="8508138"/>
                  </a:cubicBezTo>
                  <a:cubicBezTo>
                    <a:pt x="4424477" y="8482608"/>
                    <a:pt x="4426893" y="8428960"/>
                    <a:pt x="4445523" y="8405327"/>
                  </a:cubicBezTo>
                  <a:cubicBezTo>
                    <a:pt x="4485888" y="8383592"/>
                    <a:pt x="4505898" y="8364445"/>
                    <a:pt x="4507796" y="8345642"/>
                  </a:cubicBezTo>
                  <a:cubicBezTo>
                    <a:pt x="4507968" y="8338570"/>
                    <a:pt x="4505036" y="8331842"/>
                    <a:pt x="4499688" y="8326840"/>
                  </a:cubicBezTo>
                  <a:cubicBezTo>
                    <a:pt x="4496928" y="8313384"/>
                    <a:pt x="4488821" y="8288199"/>
                    <a:pt x="4469155" y="8288199"/>
                  </a:cubicBezTo>
                  <a:cubicBezTo>
                    <a:pt x="4453803" y="8288199"/>
                    <a:pt x="4441210" y="8279229"/>
                    <a:pt x="4437760" y="8274572"/>
                  </a:cubicBezTo>
                  <a:cubicBezTo>
                    <a:pt x="4433448" y="8268189"/>
                    <a:pt x="4413610" y="8206261"/>
                    <a:pt x="4407400" y="8177971"/>
                  </a:cubicBezTo>
                  <a:cubicBezTo>
                    <a:pt x="4403432" y="8159686"/>
                    <a:pt x="4387390" y="8137950"/>
                    <a:pt x="4333742" y="8137950"/>
                  </a:cubicBezTo>
                  <a:cubicBezTo>
                    <a:pt x="4297862" y="8137950"/>
                    <a:pt x="4272159" y="8103105"/>
                    <a:pt x="4271814" y="8084130"/>
                  </a:cubicBezTo>
                  <a:cubicBezTo>
                    <a:pt x="4271469" y="8063258"/>
                    <a:pt x="4255599" y="8056875"/>
                    <a:pt x="4243869" y="8051873"/>
                  </a:cubicBezTo>
                  <a:cubicBezTo>
                    <a:pt x="4237659" y="8049285"/>
                    <a:pt x="4231276" y="8046697"/>
                    <a:pt x="4228344" y="8042557"/>
                  </a:cubicBezTo>
                  <a:cubicBezTo>
                    <a:pt x="4215061" y="8023927"/>
                    <a:pt x="4197121" y="8002710"/>
                    <a:pt x="4173143" y="8002710"/>
                  </a:cubicBezTo>
                  <a:cubicBezTo>
                    <a:pt x="4172971" y="8002710"/>
                    <a:pt x="4172971" y="8002710"/>
                    <a:pt x="4172971" y="8002710"/>
                  </a:cubicBezTo>
                  <a:cubicBezTo>
                    <a:pt x="4169003" y="8003400"/>
                    <a:pt x="4164863" y="8003572"/>
                    <a:pt x="4161068" y="8003572"/>
                  </a:cubicBezTo>
                  <a:cubicBezTo>
                    <a:pt x="4140885" y="8003572"/>
                    <a:pt x="4130535" y="7995464"/>
                    <a:pt x="4123118" y="7989772"/>
                  </a:cubicBezTo>
                  <a:cubicBezTo>
                    <a:pt x="4120185" y="7987357"/>
                    <a:pt x="4117425" y="7985287"/>
                    <a:pt x="4114320" y="7983734"/>
                  </a:cubicBezTo>
                  <a:cubicBezTo>
                    <a:pt x="4106558" y="7980284"/>
                    <a:pt x="4093792" y="7964242"/>
                    <a:pt x="4085512" y="7943714"/>
                  </a:cubicBezTo>
                  <a:cubicBezTo>
                    <a:pt x="4076542" y="7921289"/>
                    <a:pt x="4058602" y="7910249"/>
                    <a:pt x="4052737" y="7906971"/>
                  </a:cubicBezTo>
                  <a:lnTo>
                    <a:pt x="4047217" y="7905419"/>
                  </a:lnTo>
                  <a:lnTo>
                    <a:pt x="4043595" y="7907834"/>
                  </a:lnTo>
                  <a:cubicBezTo>
                    <a:pt x="4033590" y="7914389"/>
                    <a:pt x="4009267" y="7931811"/>
                    <a:pt x="3994259" y="7953547"/>
                  </a:cubicBezTo>
                  <a:cubicBezTo>
                    <a:pt x="3987704" y="7955617"/>
                    <a:pt x="3982702" y="7955099"/>
                    <a:pt x="3979769" y="7951649"/>
                  </a:cubicBezTo>
                  <a:cubicBezTo>
                    <a:pt x="3977182" y="7948717"/>
                    <a:pt x="3975802" y="7943714"/>
                    <a:pt x="3976319" y="7939229"/>
                  </a:cubicBezTo>
                  <a:cubicBezTo>
                    <a:pt x="3978734" y="7921806"/>
                    <a:pt x="3971661" y="7892481"/>
                    <a:pt x="3967004" y="7875576"/>
                  </a:cubicBezTo>
                  <a:lnTo>
                    <a:pt x="3965452" y="7872126"/>
                  </a:lnTo>
                  <a:lnTo>
                    <a:pt x="3963381" y="7870574"/>
                  </a:lnTo>
                  <a:cubicBezTo>
                    <a:pt x="3923706" y="7840213"/>
                    <a:pt x="3908699" y="7820203"/>
                    <a:pt x="3908699" y="7814683"/>
                  </a:cubicBezTo>
                  <a:cubicBezTo>
                    <a:pt x="3908354" y="7800021"/>
                    <a:pt x="3891449" y="7790188"/>
                    <a:pt x="3869713" y="7777595"/>
                  </a:cubicBezTo>
                  <a:cubicBezTo>
                    <a:pt x="3854706" y="7768798"/>
                    <a:pt x="3836248" y="7758103"/>
                    <a:pt x="3832971" y="7749305"/>
                  </a:cubicBezTo>
                  <a:lnTo>
                    <a:pt x="3830556" y="7744130"/>
                  </a:lnTo>
                  <a:lnTo>
                    <a:pt x="3826243" y="7743095"/>
                  </a:lnTo>
                  <a:cubicBezTo>
                    <a:pt x="3788983" y="7734298"/>
                    <a:pt x="3744133" y="7752928"/>
                    <a:pt x="3740855" y="7776215"/>
                  </a:cubicBezTo>
                  <a:cubicBezTo>
                    <a:pt x="3739820" y="7783633"/>
                    <a:pt x="3728435" y="7785358"/>
                    <a:pt x="3719120" y="7785358"/>
                  </a:cubicBezTo>
                  <a:cubicBezTo>
                    <a:pt x="3710150" y="7785358"/>
                    <a:pt x="3699455" y="7783805"/>
                    <a:pt x="3687897" y="7780873"/>
                  </a:cubicBezTo>
                  <a:cubicBezTo>
                    <a:pt x="3678582" y="7778458"/>
                    <a:pt x="3674442" y="7776388"/>
                    <a:pt x="3672717" y="7775353"/>
                  </a:cubicBezTo>
                  <a:cubicBezTo>
                    <a:pt x="3673407" y="7774318"/>
                    <a:pt x="3674442" y="7772765"/>
                    <a:pt x="3675304" y="7771730"/>
                  </a:cubicBezTo>
                  <a:lnTo>
                    <a:pt x="3677719" y="7768798"/>
                  </a:lnTo>
                  <a:cubicBezTo>
                    <a:pt x="3678754" y="7767245"/>
                    <a:pt x="3684619" y="7763278"/>
                    <a:pt x="3687897" y="7760863"/>
                  </a:cubicBezTo>
                  <a:cubicBezTo>
                    <a:pt x="3704285" y="7749478"/>
                    <a:pt x="3731712" y="7730503"/>
                    <a:pt x="3731195" y="7698072"/>
                  </a:cubicBezTo>
                  <a:cubicBezTo>
                    <a:pt x="3731195" y="7693242"/>
                    <a:pt x="3732230" y="7689620"/>
                    <a:pt x="3734645" y="7687205"/>
                  </a:cubicBezTo>
                  <a:cubicBezTo>
                    <a:pt x="3737577" y="7683927"/>
                    <a:pt x="3743615" y="7682375"/>
                    <a:pt x="3751722" y="7682375"/>
                  </a:cubicBezTo>
                  <a:lnTo>
                    <a:pt x="3757760" y="7681684"/>
                  </a:lnTo>
                  <a:lnTo>
                    <a:pt x="3760175" y="7677717"/>
                  </a:lnTo>
                  <a:cubicBezTo>
                    <a:pt x="3775355" y="7650807"/>
                    <a:pt x="3802265" y="7626139"/>
                    <a:pt x="3819861" y="7609579"/>
                  </a:cubicBezTo>
                  <a:cubicBezTo>
                    <a:pt x="3837283" y="7593364"/>
                    <a:pt x="3845736" y="7585256"/>
                    <a:pt x="3847116" y="7577321"/>
                  </a:cubicBezTo>
                  <a:cubicBezTo>
                    <a:pt x="3847461" y="7574734"/>
                    <a:pt x="3854188" y="7569214"/>
                    <a:pt x="3859881" y="7564556"/>
                  </a:cubicBezTo>
                  <a:cubicBezTo>
                    <a:pt x="3869196" y="7556794"/>
                    <a:pt x="3879891" y="7548169"/>
                    <a:pt x="3885756" y="7535749"/>
                  </a:cubicBezTo>
                  <a:cubicBezTo>
                    <a:pt x="3890931" y="7525054"/>
                    <a:pt x="3907491" y="7506768"/>
                    <a:pt x="3921981" y="7490726"/>
                  </a:cubicBezTo>
                  <a:cubicBezTo>
                    <a:pt x="3936471" y="7474683"/>
                    <a:pt x="3941474" y="7469163"/>
                    <a:pt x="3942854" y="7464678"/>
                  </a:cubicBezTo>
                  <a:cubicBezTo>
                    <a:pt x="3944061" y="7461918"/>
                    <a:pt x="3952686" y="7451050"/>
                    <a:pt x="3959759" y="7442081"/>
                  </a:cubicBezTo>
                  <a:cubicBezTo>
                    <a:pt x="3976147" y="7421208"/>
                    <a:pt x="3988912" y="7404475"/>
                    <a:pt x="3992189" y="7394643"/>
                  </a:cubicBezTo>
                  <a:cubicBezTo>
                    <a:pt x="3993914" y="7389122"/>
                    <a:pt x="4000469" y="7386535"/>
                    <a:pt x="4012372" y="7382223"/>
                  </a:cubicBezTo>
                  <a:cubicBezTo>
                    <a:pt x="4017547" y="7380497"/>
                    <a:pt x="4022550" y="7378600"/>
                    <a:pt x="4027552" y="7376012"/>
                  </a:cubicBezTo>
                  <a:cubicBezTo>
                    <a:pt x="4043077" y="7367560"/>
                    <a:pt x="4052047" y="7347032"/>
                    <a:pt x="4051530" y="7321847"/>
                  </a:cubicBezTo>
                  <a:cubicBezTo>
                    <a:pt x="4051357" y="7315637"/>
                    <a:pt x="4075507" y="7300975"/>
                    <a:pt x="4087238" y="7293902"/>
                  </a:cubicBezTo>
                  <a:cubicBezTo>
                    <a:pt x="4096552" y="7288209"/>
                    <a:pt x="4108628" y="7280964"/>
                    <a:pt x="4117080" y="7273892"/>
                  </a:cubicBezTo>
                  <a:cubicBezTo>
                    <a:pt x="4124153" y="7268199"/>
                    <a:pt x="4136055" y="7263197"/>
                    <a:pt x="4149683" y="7257677"/>
                  </a:cubicBezTo>
                  <a:cubicBezTo>
                    <a:pt x="4175041" y="7247154"/>
                    <a:pt x="4201606" y="7236631"/>
                    <a:pt x="4207126" y="7212826"/>
                  </a:cubicBezTo>
                  <a:cubicBezTo>
                    <a:pt x="4213336" y="7186089"/>
                    <a:pt x="4235071" y="7181259"/>
                    <a:pt x="4247664" y="7180569"/>
                  </a:cubicBezTo>
                  <a:cubicBezTo>
                    <a:pt x="4260429" y="7180224"/>
                    <a:pt x="4304244" y="7176773"/>
                    <a:pt x="4325289" y="7160731"/>
                  </a:cubicBezTo>
                  <a:lnTo>
                    <a:pt x="4330637" y="7156763"/>
                  </a:lnTo>
                  <a:cubicBezTo>
                    <a:pt x="4348059" y="7143481"/>
                    <a:pt x="4372037" y="7125368"/>
                    <a:pt x="4393772" y="7111051"/>
                  </a:cubicBezTo>
                  <a:cubicBezTo>
                    <a:pt x="4399810" y="7107256"/>
                    <a:pt x="4405675" y="7104495"/>
                    <a:pt x="4411540" y="7101908"/>
                  </a:cubicBezTo>
                  <a:cubicBezTo>
                    <a:pt x="4419475" y="7098286"/>
                    <a:pt x="4427237" y="7094491"/>
                    <a:pt x="4434137" y="7088626"/>
                  </a:cubicBezTo>
                  <a:cubicBezTo>
                    <a:pt x="4465533" y="7089315"/>
                    <a:pt x="4489511" y="7090005"/>
                    <a:pt x="4496238" y="7090868"/>
                  </a:cubicBezTo>
                  <a:cubicBezTo>
                    <a:pt x="4522976" y="7093628"/>
                    <a:pt x="4558339" y="7097078"/>
                    <a:pt x="4576279" y="7107256"/>
                  </a:cubicBezTo>
                  <a:cubicBezTo>
                    <a:pt x="4600429" y="7120366"/>
                    <a:pt x="4633721" y="7119676"/>
                    <a:pt x="4672362" y="7119676"/>
                  </a:cubicBezTo>
                  <a:cubicBezTo>
                    <a:pt x="4698409" y="7119676"/>
                    <a:pt x="4719455" y="7111051"/>
                    <a:pt x="4730840" y="7111395"/>
                  </a:cubicBezTo>
                  <a:cubicBezTo>
                    <a:pt x="4737395" y="7111741"/>
                    <a:pt x="4738947" y="7112258"/>
                    <a:pt x="4742225" y="7117778"/>
                  </a:cubicBezTo>
                  <a:cubicBezTo>
                    <a:pt x="4760337" y="7147621"/>
                    <a:pt x="4830545" y="7169874"/>
                    <a:pt x="4847451" y="7171599"/>
                  </a:cubicBezTo>
                  <a:cubicBezTo>
                    <a:pt x="4855213" y="7170909"/>
                    <a:pt x="4909551" y="7188676"/>
                    <a:pt x="4933011" y="7220589"/>
                  </a:cubicBezTo>
                  <a:cubicBezTo>
                    <a:pt x="4945604" y="7236804"/>
                    <a:pt x="4961991" y="7268027"/>
                    <a:pt x="4978897" y="7295282"/>
                  </a:cubicBezTo>
                  <a:cubicBezTo>
                    <a:pt x="4996319" y="7322365"/>
                    <a:pt x="5011672" y="7347377"/>
                    <a:pt x="5033752" y="7351000"/>
                  </a:cubicBezTo>
                  <a:cubicBezTo>
                    <a:pt x="5057040" y="7351345"/>
                    <a:pt x="5091712" y="7399300"/>
                    <a:pt x="5141220" y="7400163"/>
                  </a:cubicBezTo>
                  <a:lnTo>
                    <a:pt x="5187968" y="7400163"/>
                  </a:lnTo>
                  <a:cubicBezTo>
                    <a:pt x="5183656" y="7409995"/>
                    <a:pt x="5172788" y="7431386"/>
                    <a:pt x="5168820" y="7450361"/>
                  </a:cubicBezTo>
                  <a:cubicBezTo>
                    <a:pt x="5167785" y="7455880"/>
                    <a:pt x="5167268" y="7461228"/>
                    <a:pt x="5167268" y="7466403"/>
                  </a:cubicBezTo>
                  <a:cubicBezTo>
                    <a:pt x="5167268" y="7476408"/>
                    <a:pt x="5168475" y="7485206"/>
                    <a:pt x="5168475" y="7491588"/>
                  </a:cubicBezTo>
                  <a:cubicBezTo>
                    <a:pt x="5167613" y="7501593"/>
                    <a:pt x="5168648" y="7502973"/>
                    <a:pt x="5156745" y="7507631"/>
                  </a:cubicBezTo>
                  <a:cubicBezTo>
                    <a:pt x="5145015" y="7510564"/>
                    <a:pt x="5136908" y="7522121"/>
                    <a:pt x="5137080" y="7534541"/>
                  </a:cubicBezTo>
                  <a:cubicBezTo>
                    <a:pt x="5137943" y="7554379"/>
                    <a:pt x="5153641" y="7575079"/>
                    <a:pt x="5188141" y="7587672"/>
                  </a:cubicBezTo>
                  <a:cubicBezTo>
                    <a:pt x="5170545" y="7609924"/>
                    <a:pt x="5152606" y="7635454"/>
                    <a:pt x="5133630" y="7664434"/>
                  </a:cubicBezTo>
                  <a:close/>
                  <a:moveTo>
                    <a:pt x="5451032" y="6889559"/>
                  </a:moveTo>
                  <a:cubicBezTo>
                    <a:pt x="5451377" y="6909569"/>
                    <a:pt x="5437405" y="6953557"/>
                    <a:pt x="5429125" y="6976327"/>
                  </a:cubicBezTo>
                  <a:lnTo>
                    <a:pt x="5428090" y="6979605"/>
                  </a:lnTo>
                  <a:lnTo>
                    <a:pt x="5429643" y="6987712"/>
                  </a:lnTo>
                  <a:cubicBezTo>
                    <a:pt x="5432057" y="7002375"/>
                    <a:pt x="5438440" y="7041015"/>
                    <a:pt x="5441027" y="7065338"/>
                  </a:cubicBezTo>
                  <a:cubicBezTo>
                    <a:pt x="5444650" y="7098630"/>
                    <a:pt x="5440855" y="7129508"/>
                    <a:pt x="5436715" y="7134166"/>
                  </a:cubicBezTo>
                  <a:cubicBezTo>
                    <a:pt x="5430505" y="7140721"/>
                    <a:pt x="5431540" y="7153314"/>
                    <a:pt x="5434817" y="7183846"/>
                  </a:cubicBezTo>
                  <a:cubicBezTo>
                    <a:pt x="5437405" y="7208169"/>
                    <a:pt x="5441027" y="7241634"/>
                    <a:pt x="5434817" y="7253364"/>
                  </a:cubicBezTo>
                  <a:cubicBezTo>
                    <a:pt x="5425675" y="7270787"/>
                    <a:pt x="5420155" y="7294764"/>
                    <a:pt x="5415842" y="7313912"/>
                  </a:cubicBezTo>
                  <a:cubicBezTo>
                    <a:pt x="5413255" y="7324435"/>
                    <a:pt x="5411012" y="7334440"/>
                    <a:pt x="5408425" y="7342892"/>
                  </a:cubicBezTo>
                  <a:cubicBezTo>
                    <a:pt x="5404630" y="7354967"/>
                    <a:pt x="5391002" y="7374632"/>
                    <a:pt x="5380134" y="7390330"/>
                  </a:cubicBezTo>
                  <a:cubicBezTo>
                    <a:pt x="5367369" y="7408443"/>
                    <a:pt x="5359434" y="7420000"/>
                    <a:pt x="5358744" y="7426210"/>
                  </a:cubicBezTo>
                  <a:cubicBezTo>
                    <a:pt x="5357192" y="7428108"/>
                    <a:pt x="5349602" y="7433283"/>
                    <a:pt x="5344082" y="7437078"/>
                  </a:cubicBezTo>
                  <a:cubicBezTo>
                    <a:pt x="5318379" y="7454501"/>
                    <a:pt x="5266284" y="7490036"/>
                    <a:pt x="5199525" y="7573182"/>
                  </a:cubicBezTo>
                  <a:cubicBezTo>
                    <a:pt x="5190555" y="7570421"/>
                    <a:pt x="5183138" y="7566971"/>
                    <a:pt x="5177100" y="7563522"/>
                  </a:cubicBezTo>
                  <a:cubicBezTo>
                    <a:pt x="5159333" y="7553689"/>
                    <a:pt x="5153813" y="7541786"/>
                    <a:pt x="5153985" y="7535058"/>
                  </a:cubicBezTo>
                  <a:cubicBezTo>
                    <a:pt x="5154158" y="7529539"/>
                    <a:pt x="5156400" y="7526433"/>
                    <a:pt x="5161403" y="7524881"/>
                  </a:cubicBezTo>
                  <a:cubicBezTo>
                    <a:pt x="5179343" y="7520568"/>
                    <a:pt x="5186416" y="7504526"/>
                    <a:pt x="5185381" y="7491933"/>
                  </a:cubicBezTo>
                  <a:cubicBezTo>
                    <a:pt x="5185381" y="7483308"/>
                    <a:pt x="5184173" y="7475028"/>
                    <a:pt x="5184173" y="7466748"/>
                  </a:cubicBezTo>
                  <a:cubicBezTo>
                    <a:pt x="5184173" y="7462608"/>
                    <a:pt x="5184518" y="7458468"/>
                    <a:pt x="5185208" y="7454328"/>
                  </a:cubicBezTo>
                  <a:cubicBezTo>
                    <a:pt x="5189176" y="7432248"/>
                    <a:pt x="5205218" y="7410685"/>
                    <a:pt x="5206598" y="7395160"/>
                  </a:cubicBezTo>
                  <a:cubicBezTo>
                    <a:pt x="5206598" y="7392745"/>
                    <a:pt x="5205908" y="7389467"/>
                    <a:pt x="5203320" y="7386535"/>
                  </a:cubicBezTo>
                  <a:cubicBezTo>
                    <a:pt x="5200733" y="7383775"/>
                    <a:pt x="5197283" y="7382913"/>
                    <a:pt x="5194868" y="7383085"/>
                  </a:cubicBezTo>
                  <a:cubicBezTo>
                    <a:pt x="5183138" y="7383085"/>
                    <a:pt x="5186070" y="7383085"/>
                    <a:pt x="5141565" y="7383085"/>
                  </a:cubicBezTo>
                  <a:cubicBezTo>
                    <a:pt x="5102062" y="7383948"/>
                    <a:pt x="5071530" y="7339097"/>
                    <a:pt x="5035477" y="7333750"/>
                  </a:cubicBezTo>
                  <a:cubicBezTo>
                    <a:pt x="5027542" y="7334440"/>
                    <a:pt x="5009084" y="7313049"/>
                    <a:pt x="4993042" y="7286139"/>
                  </a:cubicBezTo>
                  <a:cubicBezTo>
                    <a:pt x="4976654" y="7259229"/>
                    <a:pt x="4960439" y="7228351"/>
                    <a:pt x="4946122" y="7209721"/>
                  </a:cubicBezTo>
                  <a:cubicBezTo>
                    <a:pt x="4916106" y="7171943"/>
                    <a:pt x="4863838" y="7155211"/>
                    <a:pt x="4847623" y="7154349"/>
                  </a:cubicBezTo>
                  <a:cubicBezTo>
                    <a:pt x="4840723" y="7156073"/>
                    <a:pt x="4762753" y="7126403"/>
                    <a:pt x="4756888" y="7109671"/>
                  </a:cubicBezTo>
                  <a:cubicBezTo>
                    <a:pt x="4751540" y="7098286"/>
                    <a:pt x="4740500" y="7093628"/>
                    <a:pt x="4730840" y="7093800"/>
                  </a:cubicBezTo>
                  <a:cubicBezTo>
                    <a:pt x="4713762" y="7093973"/>
                    <a:pt x="4695132" y="7102081"/>
                    <a:pt x="4672362" y="7102081"/>
                  </a:cubicBezTo>
                  <a:cubicBezTo>
                    <a:pt x="4633721" y="7102081"/>
                    <a:pt x="4601809" y="7101735"/>
                    <a:pt x="4584214" y="7091558"/>
                  </a:cubicBezTo>
                  <a:cubicBezTo>
                    <a:pt x="4560753" y="7078793"/>
                    <a:pt x="4524701" y="7076378"/>
                    <a:pt x="4498308" y="7073273"/>
                  </a:cubicBezTo>
                  <a:cubicBezTo>
                    <a:pt x="4491581" y="7072583"/>
                    <a:pt x="4472433" y="7071720"/>
                    <a:pt x="4447248" y="7071203"/>
                  </a:cubicBezTo>
                  <a:cubicBezTo>
                    <a:pt x="4449835" y="7065338"/>
                    <a:pt x="4451733" y="7058265"/>
                    <a:pt x="4452595" y="7049467"/>
                  </a:cubicBezTo>
                  <a:cubicBezTo>
                    <a:pt x="4455010" y="7028422"/>
                    <a:pt x="4451388" y="7000650"/>
                    <a:pt x="4447938" y="6975810"/>
                  </a:cubicBezTo>
                  <a:cubicBezTo>
                    <a:pt x="4445523" y="6958387"/>
                    <a:pt x="4442245" y="6934064"/>
                    <a:pt x="4444660" y="6927682"/>
                  </a:cubicBezTo>
                  <a:cubicBezTo>
                    <a:pt x="4446385" y="6923542"/>
                    <a:pt x="4447765" y="6920092"/>
                    <a:pt x="4449145" y="6916469"/>
                  </a:cubicBezTo>
                  <a:cubicBezTo>
                    <a:pt x="4476400" y="6911466"/>
                    <a:pt x="4498653" y="6906982"/>
                    <a:pt x="4507796" y="6901116"/>
                  </a:cubicBezTo>
                  <a:lnTo>
                    <a:pt x="4507968" y="6901116"/>
                  </a:lnTo>
                  <a:cubicBezTo>
                    <a:pt x="4511936" y="6899046"/>
                    <a:pt x="4535741" y="6922852"/>
                    <a:pt x="4574208" y="6923024"/>
                  </a:cubicBezTo>
                  <a:cubicBezTo>
                    <a:pt x="4602499" y="6923024"/>
                    <a:pt x="4631479" y="6919229"/>
                    <a:pt x="4656664" y="6919229"/>
                  </a:cubicBezTo>
                  <a:cubicBezTo>
                    <a:pt x="4669257" y="6919229"/>
                    <a:pt x="4680815" y="6920264"/>
                    <a:pt x="4690475" y="6922852"/>
                  </a:cubicBezTo>
                  <a:cubicBezTo>
                    <a:pt x="4721870" y="6930787"/>
                    <a:pt x="4790180" y="6974429"/>
                    <a:pt x="4814158" y="6975637"/>
                  </a:cubicBezTo>
                  <a:lnTo>
                    <a:pt x="4900063" y="6975637"/>
                  </a:lnTo>
                  <a:cubicBezTo>
                    <a:pt x="4914209" y="6975464"/>
                    <a:pt x="4921109" y="6964252"/>
                    <a:pt x="4926283" y="6956144"/>
                  </a:cubicBezTo>
                  <a:cubicBezTo>
                    <a:pt x="4931631" y="6947347"/>
                    <a:pt x="4936289" y="6939757"/>
                    <a:pt x="4941981" y="6937170"/>
                  </a:cubicBezTo>
                  <a:cubicBezTo>
                    <a:pt x="4960956" y="6927854"/>
                    <a:pt x="4956644" y="6926647"/>
                    <a:pt x="4995457" y="6923369"/>
                  </a:cubicBezTo>
                  <a:cubicBezTo>
                    <a:pt x="5017709" y="6922334"/>
                    <a:pt x="5029095" y="6907844"/>
                    <a:pt x="5034614" y="6894734"/>
                  </a:cubicBezTo>
                  <a:cubicBezTo>
                    <a:pt x="5040652" y="6881451"/>
                    <a:pt x="5043929" y="6870066"/>
                    <a:pt x="5052899" y="6863338"/>
                  </a:cubicBezTo>
                  <a:cubicBezTo>
                    <a:pt x="5071702" y="6849883"/>
                    <a:pt x="5070149" y="6850401"/>
                    <a:pt x="5078947" y="6850229"/>
                  </a:cubicBezTo>
                  <a:cubicBezTo>
                    <a:pt x="5081880" y="6850229"/>
                    <a:pt x="5086365" y="6850401"/>
                    <a:pt x="5092575" y="6850401"/>
                  </a:cubicBezTo>
                  <a:cubicBezTo>
                    <a:pt x="5114482" y="6850401"/>
                    <a:pt x="5153123" y="6859026"/>
                    <a:pt x="5194695" y="6867651"/>
                  </a:cubicBezTo>
                  <a:cubicBezTo>
                    <a:pt x="5214533" y="6871964"/>
                    <a:pt x="5220571" y="6876621"/>
                    <a:pt x="5227816" y="6881451"/>
                  </a:cubicBezTo>
                  <a:cubicBezTo>
                    <a:pt x="5234888" y="6886626"/>
                    <a:pt x="5244204" y="6891284"/>
                    <a:pt x="5261454" y="6891284"/>
                  </a:cubicBezTo>
                  <a:cubicBezTo>
                    <a:pt x="5295609" y="6891284"/>
                    <a:pt x="5309927" y="6881451"/>
                    <a:pt x="5332524" y="6873517"/>
                  </a:cubicBezTo>
                  <a:cubicBezTo>
                    <a:pt x="5353397" y="6865581"/>
                    <a:pt x="5398247" y="6865064"/>
                    <a:pt x="5445512" y="6865064"/>
                  </a:cubicBezTo>
                  <a:cubicBezTo>
                    <a:pt x="5448445" y="6865064"/>
                    <a:pt x="5450688" y="6864891"/>
                    <a:pt x="5453275" y="6864719"/>
                  </a:cubicBezTo>
                  <a:cubicBezTo>
                    <a:pt x="5451895" y="6873171"/>
                    <a:pt x="5451032" y="6881107"/>
                    <a:pt x="5451032" y="6889559"/>
                  </a:cubicBezTo>
                  <a:close/>
                  <a:moveTo>
                    <a:pt x="6240226" y="6287702"/>
                  </a:moveTo>
                  <a:cubicBezTo>
                    <a:pt x="6164497" y="6316683"/>
                    <a:pt x="6153975" y="6335485"/>
                    <a:pt x="6150180" y="6350837"/>
                  </a:cubicBezTo>
                  <a:lnTo>
                    <a:pt x="6150007" y="6351872"/>
                  </a:lnTo>
                  <a:cubicBezTo>
                    <a:pt x="6140175" y="6356358"/>
                    <a:pt x="6109469" y="6360153"/>
                    <a:pt x="6093082" y="6360843"/>
                  </a:cubicBezTo>
                  <a:cubicBezTo>
                    <a:pt x="6077557" y="6361532"/>
                    <a:pt x="6031672" y="6378783"/>
                    <a:pt x="6013731" y="6385855"/>
                  </a:cubicBezTo>
                  <a:cubicBezTo>
                    <a:pt x="5993204" y="6388615"/>
                    <a:pt x="5925066" y="6399656"/>
                    <a:pt x="5906091" y="6422771"/>
                  </a:cubicBezTo>
                  <a:cubicBezTo>
                    <a:pt x="5888668" y="6443643"/>
                    <a:pt x="5832778" y="6481076"/>
                    <a:pt x="5804833" y="6495049"/>
                  </a:cubicBezTo>
                  <a:cubicBezTo>
                    <a:pt x="5798450" y="6498326"/>
                    <a:pt x="5791378" y="6501259"/>
                    <a:pt x="5783270" y="6504363"/>
                  </a:cubicBezTo>
                  <a:cubicBezTo>
                    <a:pt x="5759119" y="6514196"/>
                    <a:pt x="5731865" y="6525236"/>
                    <a:pt x="5724792" y="6552836"/>
                  </a:cubicBezTo>
                  <a:cubicBezTo>
                    <a:pt x="5723067" y="6559047"/>
                    <a:pt x="5718237" y="6560599"/>
                    <a:pt x="5702194" y="6561634"/>
                  </a:cubicBezTo>
                  <a:cubicBezTo>
                    <a:pt x="5684427" y="6562842"/>
                    <a:pt x="5660449" y="6564912"/>
                    <a:pt x="5649926" y="6592512"/>
                  </a:cubicBezTo>
                  <a:cubicBezTo>
                    <a:pt x="5642854" y="6611659"/>
                    <a:pt x="5628536" y="6622355"/>
                    <a:pt x="5614564" y="6632877"/>
                  </a:cubicBezTo>
                  <a:cubicBezTo>
                    <a:pt x="5601281" y="6642537"/>
                    <a:pt x="5587826" y="6652715"/>
                    <a:pt x="5588171" y="6669102"/>
                  </a:cubicBezTo>
                  <a:cubicBezTo>
                    <a:pt x="5588343" y="6673932"/>
                    <a:pt x="5587308" y="6678762"/>
                    <a:pt x="5585238" y="6683420"/>
                  </a:cubicBezTo>
                  <a:cubicBezTo>
                    <a:pt x="5560916" y="6632360"/>
                    <a:pt x="5519171" y="6622355"/>
                    <a:pt x="5497090" y="6613040"/>
                  </a:cubicBezTo>
                  <a:cubicBezTo>
                    <a:pt x="5484670" y="6607519"/>
                    <a:pt x="5482600" y="6604069"/>
                    <a:pt x="5480185" y="6598377"/>
                  </a:cubicBezTo>
                  <a:cubicBezTo>
                    <a:pt x="5477770" y="6592339"/>
                    <a:pt x="5476735" y="6581644"/>
                    <a:pt x="5472078" y="6566292"/>
                  </a:cubicBezTo>
                  <a:cubicBezTo>
                    <a:pt x="5466385" y="6548352"/>
                    <a:pt x="5448790" y="6544557"/>
                    <a:pt x="5432402" y="6544729"/>
                  </a:cubicBezTo>
                  <a:cubicBezTo>
                    <a:pt x="5408252" y="6544901"/>
                    <a:pt x="5378064" y="6551801"/>
                    <a:pt x="5351672" y="6551801"/>
                  </a:cubicBezTo>
                  <a:cubicBezTo>
                    <a:pt x="5337009" y="6550249"/>
                    <a:pt x="5339251" y="6549731"/>
                    <a:pt x="5338044" y="6543694"/>
                  </a:cubicBezTo>
                  <a:cubicBezTo>
                    <a:pt x="5337354" y="6529376"/>
                    <a:pt x="5356329" y="6497636"/>
                    <a:pt x="5357019" y="6470898"/>
                  </a:cubicBezTo>
                  <a:cubicBezTo>
                    <a:pt x="5356157" y="6448128"/>
                    <a:pt x="5337354" y="6435708"/>
                    <a:pt x="5321829" y="6423288"/>
                  </a:cubicBezTo>
                  <a:cubicBezTo>
                    <a:pt x="5305441" y="6411558"/>
                    <a:pt x="5292331" y="6399310"/>
                    <a:pt x="5293539" y="6391548"/>
                  </a:cubicBezTo>
                  <a:cubicBezTo>
                    <a:pt x="5293539" y="6390340"/>
                    <a:pt x="5293711" y="6388788"/>
                    <a:pt x="5294401" y="6387063"/>
                  </a:cubicBezTo>
                  <a:cubicBezTo>
                    <a:pt x="5297334" y="6378438"/>
                    <a:pt x="5298369" y="6370675"/>
                    <a:pt x="5298369" y="6362913"/>
                  </a:cubicBezTo>
                  <a:cubicBezTo>
                    <a:pt x="5298024" y="6336003"/>
                    <a:pt x="5285776" y="6317890"/>
                    <a:pt x="5285776" y="6277180"/>
                  </a:cubicBezTo>
                  <a:cubicBezTo>
                    <a:pt x="5286121" y="6247337"/>
                    <a:pt x="5273701" y="6230087"/>
                    <a:pt x="5261971" y="6218184"/>
                  </a:cubicBezTo>
                  <a:cubicBezTo>
                    <a:pt x="5250069" y="6205764"/>
                    <a:pt x="5240581" y="6198346"/>
                    <a:pt x="5238338" y="6182994"/>
                  </a:cubicBezTo>
                  <a:cubicBezTo>
                    <a:pt x="5233681" y="6158499"/>
                    <a:pt x="5209531" y="6154186"/>
                    <a:pt x="5189003" y="6154359"/>
                  </a:cubicBezTo>
                  <a:cubicBezTo>
                    <a:pt x="5163128" y="6154359"/>
                    <a:pt x="5133113" y="6161604"/>
                    <a:pt x="5129318" y="6161431"/>
                  </a:cubicBezTo>
                  <a:cubicBezTo>
                    <a:pt x="5119140" y="6161604"/>
                    <a:pt x="5068597" y="6152634"/>
                    <a:pt x="5052210" y="6152634"/>
                  </a:cubicBezTo>
                  <a:cubicBezTo>
                    <a:pt x="5039272" y="6152806"/>
                    <a:pt x="4999596" y="6146423"/>
                    <a:pt x="4988039" y="6139351"/>
                  </a:cubicBezTo>
                  <a:cubicBezTo>
                    <a:pt x="4976481" y="6133314"/>
                    <a:pt x="4956126" y="6101228"/>
                    <a:pt x="4916451" y="6097778"/>
                  </a:cubicBezTo>
                  <a:cubicBezTo>
                    <a:pt x="4882296" y="6095190"/>
                    <a:pt x="4855731" y="6083460"/>
                    <a:pt x="4820885" y="6083288"/>
                  </a:cubicBezTo>
                  <a:cubicBezTo>
                    <a:pt x="4787765" y="6083460"/>
                    <a:pt x="4748607" y="6086048"/>
                    <a:pt x="4722387" y="6098641"/>
                  </a:cubicBezTo>
                  <a:cubicBezTo>
                    <a:pt x="4721352" y="6098985"/>
                    <a:pt x="4718592" y="6099848"/>
                    <a:pt x="4714452" y="6099848"/>
                  </a:cubicBezTo>
                  <a:cubicBezTo>
                    <a:pt x="4698927" y="6100020"/>
                    <a:pt x="4671154" y="6091568"/>
                    <a:pt x="4647521" y="6083116"/>
                  </a:cubicBezTo>
                  <a:cubicBezTo>
                    <a:pt x="4635102" y="6078803"/>
                    <a:pt x="4623889" y="6074318"/>
                    <a:pt x="4615954" y="6071386"/>
                  </a:cubicBezTo>
                  <a:cubicBezTo>
                    <a:pt x="4612504" y="6075870"/>
                    <a:pt x="4608881" y="6080700"/>
                    <a:pt x="4605086" y="6085703"/>
                  </a:cubicBezTo>
                  <a:cubicBezTo>
                    <a:pt x="4624924" y="6093811"/>
                    <a:pt x="4682712" y="6116926"/>
                    <a:pt x="4714452" y="6117271"/>
                  </a:cubicBezTo>
                  <a:cubicBezTo>
                    <a:pt x="4719799" y="6117271"/>
                    <a:pt x="4724629" y="6116581"/>
                    <a:pt x="4729115" y="6114511"/>
                  </a:cubicBezTo>
                  <a:cubicBezTo>
                    <a:pt x="4750505" y="6103988"/>
                    <a:pt x="4788455" y="6100711"/>
                    <a:pt x="4820541" y="6100883"/>
                  </a:cubicBezTo>
                  <a:cubicBezTo>
                    <a:pt x="4851073" y="6100711"/>
                    <a:pt x="4877639" y="6112268"/>
                    <a:pt x="4914726" y="6115373"/>
                  </a:cubicBezTo>
                  <a:cubicBezTo>
                    <a:pt x="4946294" y="6117789"/>
                    <a:pt x="4961474" y="6143318"/>
                    <a:pt x="4979586" y="6154876"/>
                  </a:cubicBezTo>
                  <a:cubicBezTo>
                    <a:pt x="4997699" y="6165054"/>
                    <a:pt x="5035304" y="6170056"/>
                    <a:pt x="5051864" y="6170401"/>
                  </a:cubicBezTo>
                  <a:cubicBezTo>
                    <a:pt x="5065319" y="6170229"/>
                    <a:pt x="5115345" y="6178854"/>
                    <a:pt x="5128972" y="6179199"/>
                  </a:cubicBezTo>
                  <a:cubicBezTo>
                    <a:pt x="5138115" y="6179026"/>
                    <a:pt x="5164508" y="6172126"/>
                    <a:pt x="5188658" y="6172126"/>
                  </a:cubicBezTo>
                  <a:cubicBezTo>
                    <a:pt x="5208668" y="6172126"/>
                    <a:pt x="5220916" y="6176956"/>
                    <a:pt x="5221778" y="6186271"/>
                  </a:cubicBezTo>
                  <a:cubicBezTo>
                    <a:pt x="5225401" y="6208697"/>
                    <a:pt x="5239718" y="6220082"/>
                    <a:pt x="5250069" y="6230949"/>
                  </a:cubicBezTo>
                  <a:cubicBezTo>
                    <a:pt x="5260591" y="6242334"/>
                    <a:pt x="5268871" y="6252512"/>
                    <a:pt x="5269216" y="6277524"/>
                  </a:cubicBezTo>
                  <a:cubicBezTo>
                    <a:pt x="5269389" y="6322202"/>
                    <a:pt x="5282154" y="6343937"/>
                    <a:pt x="5281809" y="6363258"/>
                  </a:cubicBezTo>
                  <a:cubicBezTo>
                    <a:pt x="5281809" y="6368778"/>
                    <a:pt x="5280946" y="6374643"/>
                    <a:pt x="5278531" y="6381370"/>
                  </a:cubicBezTo>
                  <a:cubicBezTo>
                    <a:pt x="5277324" y="6384820"/>
                    <a:pt x="5276806" y="6388270"/>
                    <a:pt x="5276806" y="6391548"/>
                  </a:cubicBezTo>
                  <a:cubicBezTo>
                    <a:pt x="5277841" y="6413455"/>
                    <a:pt x="5296644" y="6425013"/>
                    <a:pt x="5311997" y="6437433"/>
                  </a:cubicBezTo>
                  <a:cubicBezTo>
                    <a:pt x="5328384" y="6449335"/>
                    <a:pt x="5341149" y="6461583"/>
                    <a:pt x="5340286" y="6470898"/>
                  </a:cubicBezTo>
                  <a:cubicBezTo>
                    <a:pt x="5340977" y="6489529"/>
                    <a:pt x="5322174" y="6520061"/>
                    <a:pt x="5321312" y="6543694"/>
                  </a:cubicBezTo>
                  <a:cubicBezTo>
                    <a:pt x="5321139" y="6550077"/>
                    <a:pt x="5323209" y="6557494"/>
                    <a:pt x="5328901" y="6562497"/>
                  </a:cubicBezTo>
                  <a:cubicBezTo>
                    <a:pt x="5334594" y="6567327"/>
                    <a:pt x="5342184" y="6569051"/>
                    <a:pt x="5351327" y="6569051"/>
                  </a:cubicBezTo>
                  <a:cubicBezTo>
                    <a:pt x="5380134" y="6569051"/>
                    <a:pt x="5411012" y="6561979"/>
                    <a:pt x="5432057" y="6561979"/>
                  </a:cubicBezTo>
                  <a:cubicBezTo>
                    <a:pt x="5447755" y="6562151"/>
                    <a:pt x="5454310" y="6565429"/>
                    <a:pt x="5455863" y="6571639"/>
                  </a:cubicBezTo>
                  <a:cubicBezTo>
                    <a:pt x="5460175" y="6585094"/>
                    <a:pt x="5460520" y="6594754"/>
                    <a:pt x="5464143" y="6604759"/>
                  </a:cubicBezTo>
                  <a:cubicBezTo>
                    <a:pt x="5467765" y="6614937"/>
                    <a:pt x="5475873" y="6623044"/>
                    <a:pt x="5490190" y="6629082"/>
                  </a:cubicBezTo>
                  <a:cubicBezTo>
                    <a:pt x="5516755" y="6640812"/>
                    <a:pt x="5552118" y="6647194"/>
                    <a:pt x="5573163" y="6699117"/>
                  </a:cubicBezTo>
                  <a:cubicBezTo>
                    <a:pt x="5572128" y="6699980"/>
                    <a:pt x="5571093" y="6700498"/>
                    <a:pt x="5570576" y="6700843"/>
                  </a:cubicBezTo>
                  <a:cubicBezTo>
                    <a:pt x="5567298" y="6699117"/>
                    <a:pt x="5561433" y="6694805"/>
                    <a:pt x="5557983" y="6692390"/>
                  </a:cubicBezTo>
                  <a:cubicBezTo>
                    <a:pt x="5542975" y="6681867"/>
                    <a:pt x="5532626" y="6674967"/>
                    <a:pt x="5523655" y="6674967"/>
                  </a:cubicBezTo>
                  <a:lnTo>
                    <a:pt x="5515548" y="6676175"/>
                  </a:lnTo>
                  <a:lnTo>
                    <a:pt x="5514513" y="6683075"/>
                  </a:lnTo>
                  <a:cubicBezTo>
                    <a:pt x="5512616" y="6694632"/>
                    <a:pt x="5506751" y="6696875"/>
                    <a:pt x="5494675" y="6701015"/>
                  </a:cubicBezTo>
                  <a:cubicBezTo>
                    <a:pt x="5487258" y="6703603"/>
                    <a:pt x="5478633" y="6706363"/>
                    <a:pt x="5471905" y="6713435"/>
                  </a:cubicBezTo>
                  <a:cubicBezTo>
                    <a:pt x="5459485" y="6726890"/>
                    <a:pt x="5473803" y="6740690"/>
                    <a:pt x="5484325" y="6751041"/>
                  </a:cubicBezTo>
                  <a:cubicBezTo>
                    <a:pt x="5494848" y="6761045"/>
                    <a:pt x="5502093" y="6768463"/>
                    <a:pt x="5498815" y="6773811"/>
                  </a:cubicBezTo>
                  <a:cubicBezTo>
                    <a:pt x="5493640" y="6782781"/>
                    <a:pt x="5487430" y="6788128"/>
                    <a:pt x="5481048" y="6793648"/>
                  </a:cubicBezTo>
                  <a:cubicBezTo>
                    <a:pt x="5473113" y="6800203"/>
                    <a:pt x="5465005" y="6807103"/>
                    <a:pt x="5463280" y="6819524"/>
                  </a:cubicBezTo>
                  <a:cubicBezTo>
                    <a:pt x="5462590" y="6824354"/>
                    <a:pt x="5461210" y="6830219"/>
                    <a:pt x="5459485" y="6836601"/>
                  </a:cubicBezTo>
                  <a:lnTo>
                    <a:pt x="5458795" y="6839016"/>
                  </a:lnTo>
                  <a:cubicBezTo>
                    <a:pt x="5458105" y="6841776"/>
                    <a:pt x="5457242" y="6844881"/>
                    <a:pt x="5456553" y="6847986"/>
                  </a:cubicBezTo>
                  <a:cubicBezTo>
                    <a:pt x="5453102" y="6848159"/>
                    <a:pt x="5449307" y="6848331"/>
                    <a:pt x="5445168" y="6848331"/>
                  </a:cubicBezTo>
                  <a:cubicBezTo>
                    <a:pt x="5398247" y="6848331"/>
                    <a:pt x="5353914" y="6847986"/>
                    <a:pt x="5327522" y="6857301"/>
                  </a:cubicBezTo>
                  <a:cubicBezTo>
                    <a:pt x="5302509" y="6866616"/>
                    <a:pt x="5293194" y="6874206"/>
                    <a:pt x="5262143" y="6874206"/>
                  </a:cubicBezTo>
                  <a:cubicBezTo>
                    <a:pt x="5246791" y="6874034"/>
                    <a:pt x="5244204" y="6871619"/>
                    <a:pt x="5237131" y="6867306"/>
                  </a:cubicBezTo>
                  <a:cubicBezTo>
                    <a:pt x="5230231" y="6862649"/>
                    <a:pt x="5220053" y="6855576"/>
                    <a:pt x="5198318" y="6851264"/>
                  </a:cubicBezTo>
                  <a:cubicBezTo>
                    <a:pt x="5156745" y="6842639"/>
                    <a:pt x="5118450" y="6833669"/>
                    <a:pt x="5092748" y="6833669"/>
                  </a:cubicBezTo>
                  <a:cubicBezTo>
                    <a:pt x="5087055" y="6833669"/>
                    <a:pt x="5082915" y="6833496"/>
                    <a:pt x="5079120" y="6833496"/>
                  </a:cubicBezTo>
                  <a:cubicBezTo>
                    <a:pt x="5067217" y="6833323"/>
                    <a:pt x="5060317" y="6837118"/>
                    <a:pt x="5043585" y="6849883"/>
                  </a:cubicBezTo>
                  <a:cubicBezTo>
                    <a:pt x="5028922" y="6860924"/>
                    <a:pt x="5024954" y="6876966"/>
                    <a:pt x="5019779" y="6887661"/>
                  </a:cubicBezTo>
                  <a:cubicBezTo>
                    <a:pt x="5014259" y="6898702"/>
                    <a:pt x="5010809" y="6904567"/>
                    <a:pt x="4994422" y="6906292"/>
                  </a:cubicBezTo>
                  <a:cubicBezTo>
                    <a:pt x="4956126" y="6908879"/>
                    <a:pt x="4951814" y="6913192"/>
                    <a:pt x="4935081" y="6921472"/>
                  </a:cubicBezTo>
                  <a:cubicBezTo>
                    <a:pt x="4923006" y="6927682"/>
                    <a:pt x="4917314" y="6938894"/>
                    <a:pt x="4912311" y="6946830"/>
                  </a:cubicBezTo>
                  <a:cubicBezTo>
                    <a:pt x="4906963" y="6955455"/>
                    <a:pt x="4903859" y="6958560"/>
                    <a:pt x="4899891" y="6958387"/>
                  </a:cubicBezTo>
                  <a:lnTo>
                    <a:pt x="4813986" y="6958387"/>
                  </a:lnTo>
                  <a:cubicBezTo>
                    <a:pt x="4802255" y="6959422"/>
                    <a:pt x="4728252" y="6915779"/>
                    <a:pt x="4694442" y="6906464"/>
                  </a:cubicBezTo>
                  <a:cubicBezTo>
                    <a:pt x="4682540" y="6903187"/>
                    <a:pt x="4669774" y="6902151"/>
                    <a:pt x="4656319" y="6902151"/>
                  </a:cubicBezTo>
                  <a:cubicBezTo>
                    <a:pt x="4629754" y="6902324"/>
                    <a:pt x="4600602" y="6905946"/>
                    <a:pt x="4573864" y="6905946"/>
                  </a:cubicBezTo>
                  <a:cubicBezTo>
                    <a:pt x="4540226" y="6906119"/>
                    <a:pt x="4527461" y="6886109"/>
                    <a:pt x="4507623" y="6884039"/>
                  </a:cubicBezTo>
                  <a:cubicBezTo>
                    <a:pt x="4504346" y="6883866"/>
                    <a:pt x="4500723" y="6885074"/>
                    <a:pt x="4497790" y="6887316"/>
                  </a:cubicBezTo>
                  <a:cubicBezTo>
                    <a:pt x="4496928" y="6888696"/>
                    <a:pt x="4477953" y="6893526"/>
                    <a:pt x="4455355" y="6898011"/>
                  </a:cubicBezTo>
                  <a:cubicBezTo>
                    <a:pt x="4462083" y="6876276"/>
                    <a:pt x="4460703" y="6867479"/>
                    <a:pt x="4458115" y="6862476"/>
                  </a:cubicBezTo>
                  <a:cubicBezTo>
                    <a:pt x="4457080" y="6860061"/>
                    <a:pt x="4455183" y="6857129"/>
                    <a:pt x="4452595" y="6853506"/>
                  </a:cubicBezTo>
                  <a:cubicBezTo>
                    <a:pt x="4444315" y="6841431"/>
                    <a:pt x="4431723" y="6822801"/>
                    <a:pt x="4432930" y="6798306"/>
                  </a:cubicBezTo>
                  <a:cubicBezTo>
                    <a:pt x="4435000" y="6760528"/>
                    <a:pt x="4415508" y="6725165"/>
                    <a:pt x="4389805" y="6722405"/>
                  </a:cubicBezTo>
                  <a:cubicBezTo>
                    <a:pt x="4379282" y="6722405"/>
                    <a:pt x="4368760" y="6726718"/>
                    <a:pt x="4357892" y="6730686"/>
                  </a:cubicBezTo>
                  <a:cubicBezTo>
                    <a:pt x="4344092" y="6735860"/>
                    <a:pt x="4326669" y="6742415"/>
                    <a:pt x="4305279" y="6743278"/>
                  </a:cubicBezTo>
                  <a:cubicBezTo>
                    <a:pt x="4283026" y="6743278"/>
                    <a:pt x="4280611" y="6731720"/>
                    <a:pt x="4278024" y="6720853"/>
                  </a:cubicBezTo>
                  <a:cubicBezTo>
                    <a:pt x="4277161" y="6717403"/>
                    <a:pt x="4276299" y="6713608"/>
                    <a:pt x="4274401" y="6710330"/>
                  </a:cubicBezTo>
                  <a:cubicBezTo>
                    <a:pt x="4277851" y="6704120"/>
                    <a:pt x="4286132" y="6692218"/>
                    <a:pt x="4289409" y="6687560"/>
                  </a:cubicBezTo>
                  <a:cubicBezTo>
                    <a:pt x="4298724" y="6673760"/>
                    <a:pt x="4304417" y="6665652"/>
                    <a:pt x="4305624" y="6659960"/>
                  </a:cubicBezTo>
                  <a:cubicBezTo>
                    <a:pt x="4306487" y="6657200"/>
                    <a:pt x="4313559" y="6647022"/>
                    <a:pt x="4331154" y="6629600"/>
                  </a:cubicBezTo>
                  <a:lnTo>
                    <a:pt x="4332362" y="6627012"/>
                  </a:lnTo>
                  <a:cubicBezTo>
                    <a:pt x="4334259" y="6620457"/>
                    <a:pt x="4344437" y="6586129"/>
                    <a:pt x="4344092" y="6558702"/>
                  </a:cubicBezTo>
                  <a:cubicBezTo>
                    <a:pt x="4343919" y="6545419"/>
                    <a:pt x="4346852" y="6536449"/>
                    <a:pt x="4350129" y="6526789"/>
                  </a:cubicBezTo>
                  <a:cubicBezTo>
                    <a:pt x="4352889" y="6518336"/>
                    <a:pt x="4355822" y="6509366"/>
                    <a:pt x="4355650" y="6498671"/>
                  </a:cubicBezTo>
                  <a:cubicBezTo>
                    <a:pt x="4355650" y="6488666"/>
                    <a:pt x="4353062" y="6477281"/>
                    <a:pt x="4350820" y="6466758"/>
                  </a:cubicBezTo>
                  <a:cubicBezTo>
                    <a:pt x="4348232" y="6454856"/>
                    <a:pt x="4345127" y="6439848"/>
                    <a:pt x="4344609" y="6424496"/>
                  </a:cubicBezTo>
                  <a:cubicBezTo>
                    <a:pt x="4344609" y="6419838"/>
                    <a:pt x="4344092" y="6415525"/>
                    <a:pt x="4343575" y="6411386"/>
                  </a:cubicBezTo>
                  <a:cubicBezTo>
                    <a:pt x="4360134" y="6407935"/>
                    <a:pt x="4372210" y="6401553"/>
                    <a:pt x="4380317" y="6392928"/>
                  </a:cubicBezTo>
                  <a:cubicBezTo>
                    <a:pt x="4392910" y="6379473"/>
                    <a:pt x="4395152" y="6363085"/>
                    <a:pt x="4394980" y="6351355"/>
                  </a:cubicBezTo>
                  <a:cubicBezTo>
                    <a:pt x="4394980" y="6343593"/>
                    <a:pt x="4394117" y="6337210"/>
                    <a:pt x="4394117" y="6335140"/>
                  </a:cubicBezTo>
                  <a:cubicBezTo>
                    <a:pt x="4394290" y="6321857"/>
                    <a:pt x="4393427" y="6307367"/>
                    <a:pt x="4416888" y="6278732"/>
                  </a:cubicBezTo>
                  <a:cubicBezTo>
                    <a:pt x="4440520" y="6249234"/>
                    <a:pt x="4455700" y="6250959"/>
                    <a:pt x="4462945" y="6231984"/>
                  </a:cubicBezTo>
                  <a:cubicBezTo>
                    <a:pt x="4463980" y="6225429"/>
                    <a:pt x="4489511" y="6191446"/>
                    <a:pt x="4496238" y="6170056"/>
                  </a:cubicBezTo>
                  <a:cubicBezTo>
                    <a:pt x="4500895" y="6154876"/>
                    <a:pt x="4513661" y="6140558"/>
                    <a:pt x="4548161" y="6132796"/>
                  </a:cubicBezTo>
                  <a:cubicBezTo>
                    <a:pt x="4569724" y="6127103"/>
                    <a:pt x="4588181" y="6106403"/>
                    <a:pt x="4603706" y="6086048"/>
                  </a:cubicBezTo>
                  <a:cubicBezTo>
                    <a:pt x="4603706" y="6086048"/>
                    <a:pt x="4603706" y="6086048"/>
                    <a:pt x="4603706" y="6086048"/>
                  </a:cubicBezTo>
                  <a:cubicBezTo>
                    <a:pt x="4603879" y="6085703"/>
                    <a:pt x="4604051" y="6085530"/>
                    <a:pt x="4604396" y="6085186"/>
                  </a:cubicBezTo>
                  <a:cubicBezTo>
                    <a:pt x="4604396" y="6085186"/>
                    <a:pt x="4604569" y="6085013"/>
                    <a:pt x="4604569" y="6085013"/>
                  </a:cubicBezTo>
                  <a:cubicBezTo>
                    <a:pt x="4604569" y="6085013"/>
                    <a:pt x="4604569" y="6085013"/>
                    <a:pt x="4604569" y="6085013"/>
                  </a:cubicBezTo>
                  <a:cubicBezTo>
                    <a:pt x="4608191" y="6080183"/>
                    <a:pt x="4611814" y="6075353"/>
                    <a:pt x="4615092" y="6070696"/>
                  </a:cubicBezTo>
                  <a:cubicBezTo>
                    <a:pt x="4615092" y="6070696"/>
                    <a:pt x="4615264" y="6070696"/>
                    <a:pt x="4615264" y="6070868"/>
                  </a:cubicBezTo>
                  <a:cubicBezTo>
                    <a:pt x="4625269" y="6057413"/>
                    <a:pt x="4634066" y="6046373"/>
                    <a:pt x="4641484" y="6042923"/>
                  </a:cubicBezTo>
                  <a:cubicBezTo>
                    <a:pt x="4665807" y="6029468"/>
                    <a:pt x="4712209" y="6014460"/>
                    <a:pt x="4729977" y="5994967"/>
                  </a:cubicBezTo>
                  <a:cubicBezTo>
                    <a:pt x="4744640" y="5977717"/>
                    <a:pt x="4799495" y="5900264"/>
                    <a:pt x="4808465" y="5885774"/>
                  </a:cubicBezTo>
                  <a:cubicBezTo>
                    <a:pt x="4818125" y="5870249"/>
                    <a:pt x="4823300" y="5847824"/>
                    <a:pt x="4829166" y="5812116"/>
                  </a:cubicBezTo>
                  <a:cubicBezTo>
                    <a:pt x="4834685" y="5777961"/>
                    <a:pt x="4847278" y="5749843"/>
                    <a:pt x="4876086" y="5740701"/>
                  </a:cubicBezTo>
                  <a:cubicBezTo>
                    <a:pt x="4898511" y="5732766"/>
                    <a:pt x="4905756" y="5708270"/>
                    <a:pt x="4910758" y="5684638"/>
                  </a:cubicBezTo>
                  <a:cubicBezTo>
                    <a:pt x="4915588" y="5660660"/>
                    <a:pt x="4918004" y="5634785"/>
                    <a:pt x="4922661" y="5621848"/>
                  </a:cubicBezTo>
                  <a:cubicBezTo>
                    <a:pt x="4927836" y="5600457"/>
                    <a:pt x="4996836" y="5585622"/>
                    <a:pt x="5029439" y="5584070"/>
                  </a:cubicBezTo>
                  <a:cubicBezTo>
                    <a:pt x="5039444" y="5584070"/>
                    <a:pt x="5048759" y="5574754"/>
                    <a:pt x="5047897" y="5565094"/>
                  </a:cubicBezTo>
                  <a:cubicBezTo>
                    <a:pt x="5047552" y="5556469"/>
                    <a:pt x="5043412" y="5546292"/>
                    <a:pt x="5038409" y="5535769"/>
                  </a:cubicBezTo>
                  <a:cubicBezTo>
                    <a:pt x="5042722" y="5534217"/>
                    <a:pt x="5057212" y="5528696"/>
                    <a:pt x="5086882" y="5517484"/>
                  </a:cubicBezTo>
                  <a:cubicBezTo>
                    <a:pt x="5113620" y="5507479"/>
                    <a:pt x="5146223" y="5503339"/>
                    <a:pt x="5162438" y="5503684"/>
                  </a:cubicBezTo>
                  <a:cubicBezTo>
                    <a:pt x="5166923" y="5503511"/>
                    <a:pt x="5170373" y="5504029"/>
                    <a:pt x="5170373" y="5504029"/>
                  </a:cubicBezTo>
                  <a:cubicBezTo>
                    <a:pt x="5181240" y="5507306"/>
                    <a:pt x="5213671" y="5509549"/>
                    <a:pt x="5229713" y="5509722"/>
                  </a:cubicBezTo>
                  <a:cubicBezTo>
                    <a:pt x="5239374" y="5514034"/>
                    <a:pt x="5291469" y="5536632"/>
                    <a:pt x="5316654" y="5539391"/>
                  </a:cubicBezTo>
                  <a:cubicBezTo>
                    <a:pt x="5342702" y="5541462"/>
                    <a:pt x="5368577" y="5547499"/>
                    <a:pt x="5367714" y="5558884"/>
                  </a:cubicBezTo>
                  <a:cubicBezTo>
                    <a:pt x="5368750" y="5567855"/>
                    <a:pt x="5369439" y="5579757"/>
                    <a:pt x="5370992" y="5590107"/>
                  </a:cubicBezTo>
                  <a:cubicBezTo>
                    <a:pt x="5371682" y="5595282"/>
                    <a:pt x="5372545" y="5599767"/>
                    <a:pt x="5373924" y="5604252"/>
                  </a:cubicBezTo>
                  <a:cubicBezTo>
                    <a:pt x="5375132" y="5607874"/>
                    <a:pt x="5378064" y="5614085"/>
                    <a:pt x="5386172" y="5614775"/>
                  </a:cubicBezTo>
                  <a:cubicBezTo>
                    <a:pt x="5387035" y="5614775"/>
                    <a:pt x="5387897" y="5614602"/>
                    <a:pt x="5388587" y="5614602"/>
                  </a:cubicBezTo>
                  <a:cubicBezTo>
                    <a:pt x="5389277" y="5617880"/>
                    <a:pt x="5390140" y="5621848"/>
                    <a:pt x="5391002" y="5625642"/>
                  </a:cubicBezTo>
                  <a:cubicBezTo>
                    <a:pt x="5393072" y="5632887"/>
                    <a:pt x="5395832" y="5644790"/>
                    <a:pt x="5409287" y="5646170"/>
                  </a:cubicBezTo>
                  <a:cubicBezTo>
                    <a:pt x="5416705" y="5645998"/>
                    <a:pt x="5422570" y="5641685"/>
                    <a:pt x="5429125" y="5634785"/>
                  </a:cubicBezTo>
                  <a:cubicBezTo>
                    <a:pt x="5445168" y="5617535"/>
                    <a:pt x="5450860" y="5605115"/>
                    <a:pt x="5456380" y="5599595"/>
                  </a:cubicBezTo>
                  <a:cubicBezTo>
                    <a:pt x="5461555" y="5594419"/>
                    <a:pt x="5467765" y="5591487"/>
                    <a:pt x="5492433" y="5591314"/>
                  </a:cubicBezTo>
                  <a:cubicBezTo>
                    <a:pt x="5544873" y="5591142"/>
                    <a:pt x="5601971" y="5560954"/>
                    <a:pt x="5628709" y="5561644"/>
                  </a:cubicBezTo>
                  <a:cubicBezTo>
                    <a:pt x="5659242" y="5561644"/>
                    <a:pt x="5709440" y="5561644"/>
                    <a:pt x="5731692" y="5561644"/>
                  </a:cubicBezTo>
                  <a:cubicBezTo>
                    <a:pt x="5738764" y="5561817"/>
                    <a:pt x="5742215" y="5565612"/>
                    <a:pt x="5746355" y="5572685"/>
                  </a:cubicBezTo>
                  <a:cubicBezTo>
                    <a:pt x="5751012" y="5579067"/>
                    <a:pt x="5751185" y="5587692"/>
                    <a:pt x="5761535" y="5593212"/>
                  </a:cubicBezTo>
                  <a:cubicBezTo>
                    <a:pt x="5761535" y="5593212"/>
                    <a:pt x="5761707" y="5593384"/>
                    <a:pt x="5761880" y="5593384"/>
                  </a:cubicBezTo>
                  <a:cubicBezTo>
                    <a:pt x="5765157" y="5596662"/>
                    <a:pt x="5774128" y="5627712"/>
                    <a:pt x="5773265" y="5636682"/>
                  </a:cubicBezTo>
                  <a:cubicBezTo>
                    <a:pt x="5774128" y="5649275"/>
                    <a:pt x="5782407" y="5657383"/>
                    <a:pt x="5789307" y="5666353"/>
                  </a:cubicBezTo>
                  <a:cubicBezTo>
                    <a:pt x="5792930" y="5670665"/>
                    <a:pt x="5796208" y="5674633"/>
                    <a:pt x="5798450" y="5677910"/>
                  </a:cubicBezTo>
                  <a:cubicBezTo>
                    <a:pt x="5799485" y="5679463"/>
                    <a:pt x="5800348" y="5680843"/>
                    <a:pt x="5800865" y="5681878"/>
                  </a:cubicBezTo>
                  <a:cubicBezTo>
                    <a:pt x="5801210" y="5682568"/>
                    <a:pt x="5801038" y="5682568"/>
                    <a:pt x="5801210" y="5682568"/>
                  </a:cubicBezTo>
                  <a:cubicBezTo>
                    <a:pt x="5802073" y="5687398"/>
                    <a:pt x="5791032" y="5703440"/>
                    <a:pt x="5784823" y="5729143"/>
                  </a:cubicBezTo>
                  <a:cubicBezTo>
                    <a:pt x="5783960" y="5732766"/>
                    <a:pt x="5783788" y="5736561"/>
                    <a:pt x="5783788" y="5740528"/>
                  </a:cubicBezTo>
                  <a:cubicBezTo>
                    <a:pt x="5783788" y="5770888"/>
                    <a:pt x="5802073" y="5816429"/>
                    <a:pt x="5804487" y="5823501"/>
                  </a:cubicBezTo>
                  <a:cubicBezTo>
                    <a:pt x="5810008" y="5836784"/>
                    <a:pt x="5833295" y="5858001"/>
                    <a:pt x="5868313" y="5859382"/>
                  </a:cubicBezTo>
                  <a:cubicBezTo>
                    <a:pt x="5870210" y="5859382"/>
                    <a:pt x="5871935" y="5859209"/>
                    <a:pt x="5873833" y="5859209"/>
                  </a:cubicBezTo>
                  <a:cubicBezTo>
                    <a:pt x="5880733" y="5858519"/>
                    <a:pt x="5887288" y="5858174"/>
                    <a:pt x="5893498" y="5858174"/>
                  </a:cubicBezTo>
                  <a:cubicBezTo>
                    <a:pt x="5901261" y="5858174"/>
                    <a:pt x="5907988" y="5859037"/>
                    <a:pt x="5911438" y="5860934"/>
                  </a:cubicBezTo>
                  <a:cubicBezTo>
                    <a:pt x="5914888" y="5863004"/>
                    <a:pt x="5915751" y="5863694"/>
                    <a:pt x="5915924" y="5868869"/>
                  </a:cubicBezTo>
                  <a:cubicBezTo>
                    <a:pt x="5916096" y="5875251"/>
                    <a:pt x="5911783" y="5888189"/>
                    <a:pt x="5899881" y="5907682"/>
                  </a:cubicBezTo>
                  <a:cubicBezTo>
                    <a:pt x="5880905" y="5938387"/>
                    <a:pt x="5877456" y="5965125"/>
                    <a:pt x="5877456" y="5986515"/>
                  </a:cubicBezTo>
                  <a:cubicBezTo>
                    <a:pt x="5877456" y="5996520"/>
                    <a:pt x="5878146" y="6005490"/>
                    <a:pt x="5878146" y="6013425"/>
                  </a:cubicBezTo>
                  <a:cubicBezTo>
                    <a:pt x="5877973" y="6027053"/>
                    <a:pt x="5876593" y="6035332"/>
                    <a:pt x="5867968" y="6044130"/>
                  </a:cubicBezTo>
                  <a:lnTo>
                    <a:pt x="5863828" y="6047925"/>
                  </a:lnTo>
                  <a:lnTo>
                    <a:pt x="5865726" y="6053273"/>
                  </a:lnTo>
                  <a:cubicBezTo>
                    <a:pt x="5871763" y="6069315"/>
                    <a:pt x="5886081" y="6079493"/>
                    <a:pt x="5897983" y="6089325"/>
                  </a:cubicBezTo>
                  <a:cubicBezTo>
                    <a:pt x="5910576" y="6098641"/>
                    <a:pt x="5918856" y="6108473"/>
                    <a:pt x="5917994" y="6112613"/>
                  </a:cubicBezTo>
                  <a:cubicBezTo>
                    <a:pt x="5918166" y="6136246"/>
                    <a:pt x="5921443" y="6127276"/>
                    <a:pt x="5926619" y="6157464"/>
                  </a:cubicBezTo>
                  <a:cubicBezTo>
                    <a:pt x="5933001" y="6191964"/>
                    <a:pt x="5966121" y="6200589"/>
                    <a:pt x="5995446" y="6200416"/>
                  </a:cubicBezTo>
                  <a:cubicBezTo>
                    <a:pt x="6000621" y="6200416"/>
                    <a:pt x="6005451" y="6200244"/>
                    <a:pt x="6010454" y="6200072"/>
                  </a:cubicBezTo>
                  <a:cubicBezTo>
                    <a:pt x="6026842" y="6198519"/>
                    <a:pt x="6043574" y="6198864"/>
                    <a:pt x="6057202" y="6196276"/>
                  </a:cubicBezTo>
                  <a:cubicBezTo>
                    <a:pt x="6070312" y="6194379"/>
                    <a:pt x="6084975" y="6186961"/>
                    <a:pt x="6084802" y="6169884"/>
                  </a:cubicBezTo>
                  <a:cubicBezTo>
                    <a:pt x="6084630" y="6158326"/>
                    <a:pt x="6080317" y="6149011"/>
                    <a:pt x="6079972" y="6146079"/>
                  </a:cubicBezTo>
                  <a:cubicBezTo>
                    <a:pt x="6082042" y="6145044"/>
                    <a:pt x="6089977" y="6143491"/>
                    <a:pt x="6104467" y="6143491"/>
                  </a:cubicBezTo>
                  <a:cubicBezTo>
                    <a:pt x="6157253" y="6143491"/>
                    <a:pt x="6179850" y="6117443"/>
                    <a:pt x="6200551" y="6113648"/>
                  </a:cubicBezTo>
                  <a:cubicBezTo>
                    <a:pt x="6211935" y="6111233"/>
                    <a:pt x="6228323" y="6111061"/>
                    <a:pt x="6243331" y="6110888"/>
                  </a:cubicBezTo>
                  <a:cubicBezTo>
                    <a:pt x="6257476" y="6110198"/>
                    <a:pt x="6269378" y="6110716"/>
                    <a:pt x="6279211" y="6105713"/>
                  </a:cubicBezTo>
                  <a:cubicBezTo>
                    <a:pt x="6281971" y="6108646"/>
                    <a:pt x="6288181" y="6117443"/>
                    <a:pt x="6295081" y="6126241"/>
                  </a:cubicBezTo>
                  <a:cubicBezTo>
                    <a:pt x="6304051" y="6137109"/>
                    <a:pt x="6316816" y="6149356"/>
                    <a:pt x="6335274" y="6149356"/>
                  </a:cubicBezTo>
                  <a:cubicBezTo>
                    <a:pt x="6344244" y="6149183"/>
                    <a:pt x="6356491" y="6154531"/>
                    <a:pt x="6365807" y="6161431"/>
                  </a:cubicBezTo>
                  <a:cubicBezTo>
                    <a:pt x="6375467" y="6167986"/>
                    <a:pt x="6380987" y="6177646"/>
                    <a:pt x="6380297" y="6178682"/>
                  </a:cubicBezTo>
                  <a:lnTo>
                    <a:pt x="6379952" y="6178682"/>
                  </a:lnTo>
                  <a:cubicBezTo>
                    <a:pt x="6378917" y="6179544"/>
                    <a:pt x="6375122" y="6180579"/>
                    <a:pt x="6368911" y="6180579"/>
                  </a:cubicBezTo>
                  <a:cubicBezTo>
                    <a:pt x="6351489" y="6180579"/>
                    <a:pt x="6332341" y="6178682"/>
                    <a:pt x="6314746" y="6178682"/>
                  </a:cubicBezTo>
                  <a:cubicBezTo>
                    <a:pt x="6287146" y="6177991"/>
                    <a:pt x="6257993" y="6184374"/>
                    <a:pt x="6249886" y="6216804"/>
                  </a:cubicBezTo>
                  <a:cubicBezTo>
                    <a:pt x="6246436" y="6230087"/>
                    <a:pt x="6244193" y="6239919"/>
                    <a:pt x="6244193" y="6249234"/>
                  </a:cubicBezTo>
                  <a:cubicBezTo>
                    <a:pt x="6244366" y="6263034"/>
                    <a:pt x="6250231" y="6272350"/>
                    <a:pt x="6261098" y="6280802"/>
                  </a:cubicBezTo>
                  <a:cubicBezTo>
                    <a:pt x="6254371" y="6282182"/>
                    <a:pt x="6247816" y="6284770"/>
                    <a:pt x="6240226" y="6287702"/>
                  </a:cubicBezTo>
                  <a:close/>
                  <a:moveTo>
                    <a:pt x="5036857" y="5534044"/>
                  </a:moveTo>
                  <a:cubicBezTo>
                    <a:pt x="5037029" y="5534217"/>
                    <a:pt x="5037029" y="5534389"/>
                    <a:pt x="5037202" y="5534561"/>
                  </a:cubicBezTo>
                  <a:cubicBezTo>
                    <a:pt x="5037202" y="5534561"/>
                    <a:pt x="5037202" y="5534561"/>
                    <a:pt x="5037202" y="5534561"/>
                  </a:cubicBezTo>
                  <a:cubicBezTo>
                    <a:pt x="5037029" y="5534389"/>
                    <a:pt x="5037029" y="5534217"/>
                    <a:pt x="5036857" y="5534044"/>
                  </a:cubicBezTo>
                  <a:close/>
                  <a:moveTo>
                    <a:pt x="7207958" y="5765713"/>
                  </a:moveTo>
                  <a:cubicBezTo>
                    <a:pt x="7205715" y="5769163"/>
                    <a:pt x="7202093" y="5771923"/>
                    <a:pt x="7196917" y="5773821"/>
                  </a:cubicBezTo>
                  <a:cubicBezTo>
                    <a:pt x="7195710" y="5774339"/>
                    <a:pt x="7194157" y="5774511"/>
                    <a:pt x="7192778" y="5774856"/>
                  </a:cubicBezTo>
                  <a:cubicBezTo>
                    <a:pt x="7194848" y="5772958"/>
                    <a:pt x="7197090" y="5770888"/>
                    <a:pt x="7200195" y="5768128"/>
                  </a:cubicBezTo>
                  <a:cubicBezTo>
                    <a:pt x="7203645" y="5765023"/>
                    <a:pt x="7207268" y="5761573"/>
                    <a:pt x="7210890" y="5758123"/>
                  </a:cubicBezTo>
                  <a:cubicBezTo>
                    <a:pt x="7210545" y="5760883"/>
                    <a:pt x="7209683" y="5763471"/>
                    <a:pt x="7207958" y="5765713"/>
                  </a:cubicBezTo>
                  <a:close/>
                  <a:moveTo>
                    <a:pt x="7374939" y="5398286"/>
                  </a:moveTo>
                  <a:cubicBezTo>
                    <a:pt x="7375284" y="5406393"/>
                    <a:pt x="7375801" y="5414156"/>
                    <a:pt x="7375974" y="5421401"/>
                  </a:cubicBezTo>
                  <a:cubicBezTo>
                    <a:pt x="7376836" y="5471081"/>
                    <a:pt x="7348374" y="5520417"/>
                    <a:pt x="7319049" y="5544049"/>
                  </a:cubicBezTo>
                  <a:cubicBezTo>
                    <a:pt x="7318359" y="5544739"/>
                    <a:pt x="7257121" y="5614602"/>
                    <a:pt x="7244183" y="5669457"/>
                  </a:cubicBezTo>
                  <a:cubicBezTo>
                    <a:pt x="7238490" y="5693780"/>
                    <a:pt x="7227278" y="5712065"/>
                    <a:pt x="7214513" y="5727073"/>
                  </a:cubicBezTo>
                  <a:cubicBezTo>
                    <a:pt x="7211925" y="5725003"/>
                    <a:pt x="7208993" y="5723278"/>
                    <a:pt x="7205543" y="5721553"/>
                  </a:cubicBezTo>
                  <a:cubicBezTo>
                    <a:pt x="7200540" y="5719483"/>
                    <a:pt x="7190880" y="5716551"/>
                    <a:pt x="7177253" y="5713446"/>
                  </a:cubicBezTo>
                  <a:cubicBezTo>
                    <a:pt x="7163452" y="5709995"/>
                    <a:pt x="7155000" y="5707063"/>
                    <a:pt x="7151722" y="5703958"/>
                  </a:cubicBezTo>
                  <a:cubicBezTo>
                    <a:pt x="7148617" y="5701026"/>
                    <a:pt x="7146892" y="5697058"/>
                    <a:pt x="7146892" y="5692400"/>
                  </a:cubicBezTo>
                  <a:cubicBezTo>
                    <a:pt x="7146892" y="5687053"/>
                    <a:pt x="7149135" y="5682568"/>
                    <a:pt x="7153792" y="5678773"/>
                  </a:cubicBezTo>
                  <a:cubicBezTo>
                    <a:pt x="7158450" y="5674978"/>
                    <a:pt x="7165867" y="5673080"/>
                    <a:pt x="7176218" y="5673080"/>
                  </a:cubicBezTo>
                  <a:cubicBezTo>
                    <a:pt x="7186223" y="5673080"/>
                    <a:pt x="7193468" y="5674978"/>
                    <a:pt x="7198643" y="5679290"/>
                  </a:cubicBezTo>
                  <a:cubicBezTo>
                    <a:pt x="7203645" y="5683603"/>
                    <a:pt x="7206750" y="5689813"/>
                    <a:pt x="7207440" y="5697920"/>
                  </a:cubicBezTo>
                  <a:lnTo>
                    <a:pt x="7223656" y="5696713"/>
                  </a:lnTo>
                  <a:cubicBezTo>
                    <a:pt x="7223310" y="5688950"/>
                    <a:pt x="7221413" y="5682223"/>
                    <a:pt x="7217273" y="5676185"/>
                  </a:cubicBezTo>
                  <a:cubicBezTo>
                    <a:pt x="7213477" y="5670148"/>
                    <a:pt x="7207785" y="5665662"/>
                    <a:pt x="7200540" y="5662558"/>
                  </a:cubicBezTo>
                  <a:cubicBezTo>
                    <a:pt x="7193295" y="5659280"/>
                    <a:pt x="7184843" y="5657900"/>
                    <a:pt x="7175355" y="5657900"/>
                  </a:cubicBezTo>
                  <a:cubicBezTo>
                    <a:pt x="7166902" y="5657900"/>
                    <a:pt x="7159140" y="5659453"/>
                    <a:pt x="7151895" y="5662385"/>
                  </a:cubicBezTo>
                  <a:cubicBezTo>
                    <a:pt x="7144995" y="5665318"/>
                    <a:pt x="7139647" y="5669630"/>
                    <a:pt x="7135852" y="5675495"/>
                  </a:cubicBezTo>
                  <a:cubicBezTo>
                    <a:pt x="7132230" y="5681187"/>
                    <a:pt x="7130332" y="5687225"/>
                    <a:pt x="7130332" y="5693953"/>
                  </a:cubicBezTo>
                  <a:cubicBezTo>
                    <a:pt x="7130332" y="5699991"/>
                    <a:pt x="7131885" y="5705338"/>
                    <a:pt x="7134817" y="5710168"/>
                  </a:cubicBezTo>
                  <a:cubicBezTo>
                    <a:pt x="7137922" y="5714825"/>
                    <a:pt x="7142407" y="5718965"/>
                    <a:pt x="7148617" y="5722071"/>
                  </a:cubicBezTo>
                  <a:cubicBezTo>
                    <a:pt x="7153275" y="5724658"/>
                    <a:pt x="7161555" y="5727246"/>
                    <a:pt x="7173285" y="5730178"/>
                  </a:cubicBezTo>
                  <a:cubicBezTo>
                    <a:pt x="7185188" y="5733110"/>
                    <a:pt x="7192778" y="5735180"/>
                    <a:pt x="7196055" y="5736561"/>
                  </a:cubicBezTo>
                  <a:cubicBezTo>
                    <a:pt x="7198643" y="5737596"/>
                    <a:pt x="7200885" y="5738803"/>
                    <a:pt x="7202782" y="5740010"/>
                  </a:cubicBezTo>
                  <a:cubicBezTo>
                    <a:pt x="7196917" y="5745875"/>
                    <a:pt x="7191225" y="5751223"/>
                    <a:pt x="7185705" y="5756226"/>
                  </a:cubicBezTo>
                  <a:lnTo>
                    <a:pt x="7176045" y="5765023"/>
                  </a:lnTo>
                  <a:cubicBezTo>
                    <a:pt x="7172940" y="5767956"/>
                    <a:pt x="7168800" y="5771233"/>
                    <a:pt x="7164142" y="5774511"/>
                  </a:cubicBezTo>
                  <a:cubicBezTo>
                    <a:pt x="7162763" y="5773993"/>
                    <a:pt x="7161210" y="5773821"/>
                    <a:pt x="7160003" y="5773131"/>
                  </a:cubicBezTo>
                  <a:cubicBezTo>
                    <a:pt x="7154138" y="5770543"/>
                    <a:pt x="7149825" y="5767093"/>
                    <a:pt x="7147065" y="5763126"/>
                  </a:cubicBezTo>
                  <a:cubicBezTo>
                    <a:pt x="7144305" y="5758813"/>
                    <a:pt x="7142580" y="5753466"/>
                    <a:pt x="7141717" y="5747083"/>
                  </a:cubicBezTo>
                  <a:lnTo>
                    <a:pt x="7125674" y="5748635"/>
                  </a:lnTo>
                  <a:cubicBezTo>
                    <a:pt x="7125847" y="5757433"/>
                    <a:pt x="7128262" y="5765023"/>
                    <a:pt x="7132057" y="5771923"/>
                  </a:cubicBezTo>
                  <a:cubicBezTo>
                    <a:pt x="7135852" y="5777961"/>
                    <a:pt x="7141372" y="5782273"/>
                    <a:pt x="7147755" y="5785724"/>
                  </a:cubicBezTo>
                  <a:cubicBezTo>
                    <a:pt x="7147237" y="5786069"/>
                    <a:pt x="7146720" y="5786413"/>
                    <a:pt x="7146202" y="5786759"/>
                  </a:cubicBezTo>
                  <a:cubicBezTo>
                    <a:pt x="7118947" y="5805044"/>
                    <a:pt x="7084964" y="5827641"/>
                    <a:pt x="7073407" y="5858691"/>
                  </a:cubicBezTo>
                  <a:cubicBezTo>
                    <a:pt x="7064264" y="5883187"/>
                    <a:pt x="7061332" y="5898712"/>
                    <a:pt x="7060642" y="5914927"/>
                  </a:cubicBezTo>
                  <a:cubicBezTo>
                    <a:pt x="7044426" y="5898539"/>
                    <a:pt x="7024244" y="5888362"/>
                    <a:pt x="7004924" y="5878529"/>
                  </a:cubicBezTo>
                  <a:cubicBezTo>
                    <a:pt x="6989571" y="5870767"/>
                    <a:pt x="6973701" y="5862659"/>
                    <a:pt x="6960074" y="5851791"/>
                  </a:cubicBezTo>
                  <a:lnTo>
                    <a:pt x="6957658" y="5849894"/>
                  </a:lnTo>
                  <a:cubicBezTo>
                    <a:pt x="6953173" y="5846271"/>
                    <a:pt x="6942306" y="5837474"/>
                    <a:pt x="6940236" y="5834541"/>
                  </a:cubicBezTo>
                  <a:cubicBezTo>
                    <a:pt x="6938166" y="5831609"/>
                    <a:pt x="6936613" y="5827124"/>
                    <a:pt x="6935406" y="5822811"/>
                  </a:cubicBezTo>
                  <a:cubicBezTo>
                    <a:pt x="6933681" y="5817464"/>
                    <a:pt x="6931956" y="5812289"/>
                    <a:pt x="6928850" y="5808666"/>
                  </a:cubicBezTo>
                  <a:cubicBezTo>
                    <a:pt x="6922813" y="5801766"/>
                    <a:pt x="6915741" y="5795901"/>
                    <a:pt x="6907978" y="5789691"/>
                  </a:cubicBezTo>
                  <a:cubicBezTo>
                    <a:pt x="6904011" y="5786413"/>
                    <a:pt x="6899870" y="5782964"/>
                    <a:pt x="6895903" y="5779341"/>
                  </a:cubicBezTo>
                  <a:cubicBezTo>
                    <a:pt x="6896938" y="5778306"/>
                    <a:pt x="6898145" y="5777099"/>
                    <a:pt x="6899181" y="5775546"/>
                  </a:cubicBezTo>
                  <a:cubicBezTo>
                    <a:pt x="6903665" y="5765713"/>
                    <a:pt x="6904700" y="5747083"/>
                    <a:pt x="6907116" y="5725176"/>
                  </a:cubicBezTo>
                  <a:cubicBezTo>
                    <a:pt x="6909186" y="5704130"/>
                    <a:pt x="6911600" y="5681187"/>
                    <a:pt x="6913671" y="5673943"/>
                  </a:cubicBezTo>
                  <a:cubicBezTo>
                    <a:pt x="6918501" y="5658935"/>
                    <a:pt x="6922813" y="5656520"/>
                    <a:pt x="6953518" y="5653070"/>
                  </a:cubicBezTo>
                  <a:cubicBezTo>
                    <a:pt x="6988708" y="5649793"/>
                    <a:pt x="7010444" y="5621502"/>
                    <a:pt x="7024244" y="5582517"/>
                  </a:cubicBezTo>
                  <a:cubicBezTo>
                    <a:pt x="7038044" y="5545257"/>
                    <a:pt x="7038734" y="5553882"/>
                    <a:pt x="7053914" y="5530249"/>
                  </a:cubicBezTo>
                  <a:cubicBezTo>
                    <a:pt x="7066851" y="5508514"/>
                    <a:pt x="7095142" y="5482466"/>
                    <a:pt x="7097039" y="5460386"/>
                  </a:cubicBezTo>
                  <a:cubicBezTo>
                    <a:pt x="7096694" y="5456764"/>
                    <a:pt x="7103077" y="5440893"/>
                    <a:pt x="7103249" y="5421746"/>
                  </a:cubicBezTo>
                  <a:cubicBezTo>
                    <a:pt x="7103249" y="5406393"/>
                    <a:pt x="7098764" y="5387763"/>
                    <a:pt x="7084274" y="5368443"/>
                  </a:cubicBezTo>
                  <a:cubicBezTo>
                    <a:pt x="7079617" y="5362233"/>
                    <a:pt x="7078754" y="5358610"/>
                    <a:pt x="7078754" y="5358438"/>
                  </a:cubicBezTo>
                  <a:lnTo>
                    <a:pt x="7078582" y="5358438"/>
                  </a:lnTo>
                  <a:cubicBezTo>
                    <a:pt x="7077892" y="5354298"/>
                    <a:pt x="7112047" y="5352055"/>
                    <a:pt x="7113082" y="5319798"/>
                  </a:cubicBezTo>
                  <a:cubicBezTo>
                    <a:pt x="7113082" y="5312552"/>
                    <a:pt x="7111357" y="5304445"/>
                    <a:pt x="7107562" y="5295130"/>
                  </a:cubicBezTo>
                  <a:cubicBezTo>
                    <a:pt x="7088242" y="5248382"/>
                    <a:pt x="7072199" y="5236479"/>
                    <a:pt x="7074269" y="5231995"/>
                  </a:cubicBezTo>
                  <a:cubicBezTo>
                    <a:pt x="7074097" y="5230097"/>
                    <a:pt x="7075132" y="5226302"/>
                    <a:pt x="7079444" y="5219057"/>
                  </a:cubicBezTo>
                  <a:cubicBezTo>
                    <a:pt x="7092037" y="5194734"/>
                    <a:pt x="7127572" y="5196459"/>
                    <a:pt x="7154138" y="5181451"/>
                  </a:cubicBezTo>
                  <a:cubicBezTo>
                    <a:pt x="7164142" y="5175242"/>
                    <a:pt x="7179667" y="5170411"/>
                    <a:pt x="7199333" y="5170411"/>
                  </a:cubicBezTo>
                  <a:cubicBezTo>
                    <a:pt x="7217273" y="5170411"/>
                    <a:pt x="7238490" y="5174379"/>
                    <a:pt x="7262296" y="5185246"/>
                  </a:cubicBezTo>
                  <a:cubicBezTo>
                    <a:pt x="7262468" y="5185419"/>
                    <a:pt x="7262468" y="5185419"/>
                    <a:pt x="7262468" y="5185592"/>
                  </a:cubicBezTo>
                  <a:cubicBezTo>
                    <a:pt x="7263158" y="5185764"/>
                    <a:pt x="7263503" y="5186109"/>
                    <a:pt x="7264021" y="5186282"/>
                  </a:cubicBezTo>
                  <a:lnTo>
                    <a:pt x="7264366" y="5185419"/>
                  </a:lnTo>
                  <a:cubicBezTo>
                    <a:pt x="7264538" y="5185764"/>
                    <a:pt x="7264883" y="5185937"/>
                    <a:pt x="7265056" y="5186282"/>
                  </a:cubicBezTo>
                  <a:cubicBezTo>
                    <a:pt x="7281271" y="5204049"/>
                    <a:pt x="7326466" y="5240102"/>
                    <a:pt x="7387532" y="5270635"/>
                  </a:cubicBezTo>
                  <a:cubicBezTo>
                    <a:pt x="7370799" y="5316693"/>
                    <a:pt x="7373041" y="5360853"/>
                    <a:pt x="7374939" y="5398286"/>
                  </a:cubicBezTo>
                  <a:close/>
                  <a:moveTo>
                    <a:pt x="7930393" y="3916845"/>
                  </a:moveTo>
                  <a:cubicBezTo>
                    <a:pt x="7916593" y="3946515"/>
                    <a:pt x="7810677" y="4046393"/>
                    <a:pt x="7784285" y="4064333"/>
                  </a:cubicBezTo>
                  <a:cubicBezTo>
                    <a:pt x="7767379" y="4064161"/>
                    <a:pt x="7759272" y="4041563"/>
                    <a:pt x="7757892" y="4036733"/>
                  </a:cubicBezTo>
                  <a:lnTo>
                    <a:pt x="7757029" y="4034663"/>
                  </a:lnTo>
                  <a:cubicBezTo>
                    <a:pt x="7751682" y="4025865"/>
                    <a:pt x="7737536" y="4005165"/>
                    <a:pt x="7720804" y="4005165"/>
                  </a:cubicBezTo>
                  <a:cubicBezTo>
                    <a:pt x="7697344" y="4005165"/>
                    <a:pt x="7693204" y="4041908"/>
                    <a:pt x="7691996" y="4053811"/>
                  </a:cubicBezTo>
                  <a:cubicBezTo>
                    <a:pt x="7683716" y="4129711"/>
                    <a:pt x="7683716" y="4129711"/>
                    <a:pt x="7658704" y="4144546"/>
                  </a:cubicBezTo>
                  <a:cubicBezTo>
                    <a:pt x="7624721" y="4164384"/>
                    <a:pt x="7622650" y="4188707"/>
                    <a:pt x="7623513" y="4223725"/>
                  </a:cubicBezTo>
                  <a:cubicBezTo>
                    <a:pt x="7623858" y="4242010"/>
                    <a:pt x="7623513" y="4257880"/>
                    <a:pt x="7623168" y="4273233"/>
                  </a:cubicBezTo>
                  <a:cubicBezTo>
                    <a:pt x="7622823" y="4286860"/>
                    <a:pt x="7622478" y="4299453"/>
                    <a:pt x="7622823" y="4312218"/>
                  </a:cubicBezTo>
                  <a:cubicBezTo>
                    <a:pt x="7622996" y="4322395"/>
                    <a:pt x="7617476" y="4338093"/>
                    <a:pt x="7611266" y="4354826"/>
                  </a:cubicBezTo>
                  <a:cubicBezTo>
                    <a:pt x="7602468" y="4379148"/>
                    <a:pt x="7592635" y="4406748"/>
                    <a:pt x="7593326" y="4434176"/>
                  </a:cubicBezTo>
                  <a:cubicBezTo>
                    <a:pt x="7594188" y="4472126"/>
                    <a:pt x="7594361" y="4561310"/>
                    <a:pt x="7594361" y="4594775"/>
                  </a:cubicBezTo>
                  <a:lnTo>
                    <a:pt x="7594533" y="4607367"/>
                  </a:lnTo>
                  <a:cubicBezTo>
                    <a:pt x="7594878" y="4610300"/>
                    <a:pt x="7606608" y="4680680"/>
                    <a:pt x="7597811" y="4744161"/>
                  </a:cubicBezTo>
                  <a:cubicBezTo>
                    <a:pt x="7590910" y="4791081"/>
                    <a:pt x="7570900" y="4845937"/>
                    <a:pt x="7560033" y="4875952"/>
                  </a:cubicBezTo>
                  <a:cubicBezTo>
                    <a:pt x="7555548" y="4888027"/>
                    <a:pt x="7552098" y="4897860"/>
                    <a:pt x="7550718" y="4903207"/>
                  </a:cubicBezTo>
                  <a:cubicBezTo>
                    <a:pt x="7549683" y="4907002"/>
                    <a:pt x="7547440" y="4913212"/>
                    <a:pt x="7544335" y="4922010"/>
                  </a:cubicBezTo>
                  <a:cubicBezTo>
                    <a:pt x="7532950" y="4952542"/>
                    <a:pt x="7512422" y="5009123"/>
                    <a:pt x="7513457" y="5063461"/>
                  </a:cubicBezTo>
                  <a:cubicBezTo>
                    <a:pt x="7514320" y="5103136"/>
                    <a:pt x="7492757" y="5126769"/>
                    <a:pt x="7462742" y="5159717"/>
                  </a:cubicBezTo>
                  <a:cubicBezTo>
                    <a:pt x="7446527" y="5177484"/>
                    <a:pt x="7427897" y="5197666"/>
                    <a:pt x="7411164" y="5223542"/>
                  </a:cubicBezTo>
                  <a:cubicBezTo>
                    <a:pt x="7404609" y="5233720"/>
                    <a:pt x="7399089" y="5243897"/>
                    <a:pt x="7394604" y="5253902"/>
                  </a:cubicBezTo>
                  <a:cubicBezTo>
                    <a:pt x="7379596" y="5246312"/>
                    <a:pt x="7365279" y="5238550"/>
                    <a:pt x="7352341" y="5230614"/>
                  </a:cubicBezTo>
                  <a:cubicBezTo>
                    <a:pt x="7327156" y="5216297"/>
                    <a:pt x="7306801" y="5201117"/>
                    <a:pt x="7293001" y="5189387"/>
                  </a:cubicBezTo>
                  <a:cubicBezTo>
                    <a:pt x="7286101" y="5183349"/>
                    <a:pt x="7280753" y="5178346"/>
                    <a:pt x="7277476" y="5174724"/>
                  </a:cubicBezTo>
                  <a:cubicBezTo>
                    <a:pt x="7275923" y="5172999"/>
                    <a:pt x="7274888" y="5171791"/>
                    <a:pt x="7274026" y="5170929"/>
                  </a:cubicBezTo>
                  <a:cubicBezTo>
                    <a:pt x="7274026" y="5170584"/>
                    <a:pt x="7274026" y="5169894"/>
                    <a:pt x="7274026" y="5169204"/>
                  </a:cubicBezTo>
                  <a:cubicBezTo>
                    <a:pt x="7273853" y="5153852"/>
                    <a:pt x="7265746" y="5134186"/>
                    <a:pt x="7264021" y="5093994"/>
                  </a:cubicBezTo>
                  <a:cubicBezTo>
                    <a:pt x="7264710" y="5068808"/>
                    <a:pt x="7247806" y="5059838"/>
                    <a:pt x="7236076" y="5057251"/>
                  </a:cubicBezTo>
                  <a:cubicBezTo>
                    <a:pt x="7223828" y="5052938"/>
                    <a:pt x="7211925" y="5049316"/>
                    <a:pt x="7197780" y="5022060"/>
                  </a:cubicBezTo>
                  <a:cubicBezTo>
                    <a:pt x="7192260" y="5011193"/>
                    <a:pt x="7190362" y="5001878"/>
                    <a:pt x="7190362" y="4993943"/>
                  </a:cubicBezTo>
                  <a:cubicBezTo>
                    <a:pt x="7189327" y="4963410"/>
                    <a:pt x="7224345" y="4944435"/>
                    <a:pt x="7234350" y="4942710"/>
                  </a:cubicBezTo>
                  <a:cubicBezTo>
                    <a:pt x="7241595" y="4941157"/>
                    <a:pt x="7251773" y="4940812"/>
                    <a:pt x="7260743" y="4939087"/>
                  </a:cubicBezTo>
                  <a:cubicBezTo>
                    <a:pt x="7268678" y="4937535"/>
                    <a:pt x="7281098" y="4933912"/>
                    <a:pt x="7281960" y="4919767"/>
                  </a:cubicBezTo>
                  <a:cubicBezTo>
                    <a:pt x="7281271" y="4912004"/>
                    <a:pt x="7297486" y="4872157"/>
                    <a:pt x="7312838" y="4850249"/>
                  </a:cubicBezTo>
                  <a:cubicBezTo>
                    <a:pt x="7328191" y="4826444"/>
                    <a:pt x="7366141" y="4793669"/>
                    <a:pt x="7368211" y="4767448"/>
                  </a:cubicBezTo>
                  <a:cubicBezTo>
                    <a:pt x="7367349" y="4751923"/>
                    <a:pt x="7355964" y="4745541"/>
                    <a:pt x="7345613" y="4736571"/>
                  </a:cubicBezTo>
                  <a:cubicBezTo>
                    <a:pt x="7334574" y="4727601"/>
                    <a:pt x="7321291" y="4716906"/>
                    <a:pt x="7309733" y="4699311"/>
                  </a:cubicBezTo>
                  <a:cubicBezTo>
                    <a:pt x="7283858" y="4661015"/>
                    <a:pt x="7220550" y="4652390"/>
                    <a:pt x="7178805" y="4651700"/>
                  </a:cubicBezTo>
                  <a:cubicBezTo>
                    <a:pt x="7172595" y="4651700"/>
                    <a:pt x="7166902" y="4652045"/>
                    <a:pt x="7161727" y="4652563"/>
                  </a:cubicBezTo>
                  <a:cubicBezTo>
                    <a:pt x="7128607" y="4655322"/>
                    <a:pt x="7121535" y="4659118"/>
                    <a:pt x="7103249" y="4659118"/>
                  </a:cubicBezTo>
                  <a:cubicBezTo>
                    <a:pt x="7100317" y="4659118"/>
                    <a:pt x="7096867" y="4659118"/>
                    <a:pt x="7092727" y="4658945"/>
                  </a:cubicBezTo>
                  <a:cubicBezTo>
                    <a:pt x="7084964" y="4659635"/>
                    <a:pt x="7070992" y="4643593"/>
                    <a:pt x="7061849" y="4622893"/>
                  </a:cubicBezTo>
                  <a:cubicBezTo>
                    <a:pt x="7052189" y="4603055"/>
                    <a:pt x="7045807" y="4579767"/>
                    <a:pt x="7045461" y="4573212"/>
                  </a:cubicBezTo>
                  <a:cubicBezTo>
                    <a:pt x="7043564" y="4558550"/>
                    <a:pt x="7031834" y="4552167"/>
                    <a:pt x="7023036" y="4546992"/>
                  </a:cubicBezTo>
                  <a:cubicBezTo>
                    <a:pt x="7018551" y="4544577"/>
                    <a:pt x="7014066" y="4542507"/>
                    <a:pt x="7011134" y="4540955"/>
                  </a:cubicBezTo>
                  <a:cubicBezTo>
                    <a:pt x="7009926" y="4540092"/>
                    <a:pt x="7008719" y="4539747"/>
                    <a:pt x="7008374" y="4539229"/>
                  </a:cubicBezTo>
                  <a:cubicBezTo>
                    <a:pt x="7004924" y="4533192"/>
                    <a:pt x="7000611" y="4533537"/>
                    <a:pt x="6997679" y="4532330"/>
                  </a:cubicBezTo>
                  <a:cubicBezTo>
                    <a:pt x="6993884" y="4531639"/>
                    <a:pt x="6989399" y="4531295"/>
                    <a:pt x="6984224" y="4531295"/>
                  </a:cubicBezTo>
                  <a:cubicBezTo>
                    <a:pt x="6968353" y="4531295"/>
                    <a:pt x="6945928" y="4533709"/>
                    <a:pt x="6925228" y="4536642"/>
                  </a:cubicBezTo>
                  <a:cubicBezTo>
                    <a:pt x="6923158" y="4536814"/>
                    <a:pt x="6921433" y="4536987"/>
                    <a:pt x="6919881" y="4536987"/>
                  </a:cubicBezTo>
                  <a:cubicBezTo>
                    <a:pt x="6910565" y="4536814"/>
                    <a:pt x="6908323" y="4533192"/>
                    <a:pt x="6896593" y="4520944"/>
                  </a:cubicBezTo>
                  <a:cubicBezTo>
                    <a:pt x="6885208" y="4509559"/>
                    <a:pt x="6867095" y="4494034"/>
                    <a:pt x="6829835" y="4479716"/>
                  </a:cubicBezTo>
                  <a:cubicBezTo>
                    <a:pt x="6792230" y="4465054"/>
                    <a:pt x="6779637" y="4448149"/>
                    <a:pt x="6765147" y="4431071"/>
                  </a:cubicBezTo>
                  <a:cubicBezTo>
                    <a:pt x="6750830" y="4413993"/>
                    <a:pt x="6733752" y="4396743"/>
                    <a:pt x="6694767" y="4390361"/>
                  </a:cubicBezTo>
                  <a:cubicBezTo>
                    <a:pt x="6680621" y="4387773"/>
                    <a:pt x="6671134" y="4386911"/>
                    <a:pt x="6663889" y="4386911"/>
                  </a:cubicBezTo>
                  <a:cubicBezTo>
                    <a:pt x="6656471" y="4386911"/>
                    <a:pt x="6650606" y="4387946"/>
                    <a:pt x="6646466" y="4392431"/>
                  </a:cubicBezTo>
                  <a:cubicBezTo>
                    <a:pt x="6640774" y="4400538"/>
                    <a:pt x="6642153" y="4403471"/>
                    <a:pt x="6640946" y="4404161"/>
                  </a:cubicBezTo>
                  <a:cubicBezTo>
                    <a:pt x="6640256" y="4405196"/>
                    <a:pt x="6635426" y="4408991"/>
                    <a:pt x="6617659" y="4410716"/>
                  </a:cubicBezTo>
                  <a:cubicBezTo>
                    <a:pt x="6607653" y="4411751"/>
                    <a:pt x="6599373" y="4412441"/>
                    <a:pt x="6592646" y="4412441"/>
                  </a:cubicBezTo>
                  <a:cubicBezTo>
                    <a:pt x="6579535" y="4412441"/>
                    <a:pt x="6574878" y="4409854"/>
                    <a:pt x="6572981" y="4407266"/>
                  </a:cubicBezTo>
                  <a:cubicBezTo>
                    <a:pt x="6570565" y="4404678"/>
                    <a:pt x="6568840" y="4396571"/>
                    <a:pt x="6569186" y="4382253"/>
                  </a:cubicBezTo>
                  <a:cubicBezTo>
                    <a:pt x="6569186" y="4375353"/>
                    <a:pt x="6569358" y="4367246"/>
                    <a:pt x="6569875" y="4357758"/>
                  </a:cubicBezTo>
                  <a:cubicBezTo>
                    <a:pt x="6570048" y="4346028"/>
                    <a:pt x="6570738" y="4338956"/>
                    <a:pt x="6570738" y="4333953"/>
                  </a:cubicBezTo>
                  <a:cubicBezTo>
                    <a:pt x="6570565" y="4331365"/>
                    <a:pt x="6570738" y="4329295"/>
                    <a:pt x="6569703" y="4325845"/>
                  </a:cubicBezTo>
                  <a:cubicBezTo>
                    <a:pt x="6568668" y="4322050"/>
                    <a:pt x="6562803" y="4318600"/>
                    <a:pt x="6560043" y="4319290"/>
                  </a:cubicBezTo>
                  <a:cubicBezTo>
                    <a:pt x="6552280" y="4319980"/>
                    <a:pt x="6549520" y="4322913"/>
                    <a:pt x="6536583" y="4323085"/>
                  </a:cubicBezTo>
                  <a:cubicBezTo>
                    <a:pt x="6527613" y="4323085"/>
                    <a:pt x="6514675" y="4321360"/>
                    <a:pt x="6496045" y="4314288"/>
                  </a:cubicBezTo>
                  <a:cubicBezTo>
                    <a:pt x="6479312" y="4308078"/>
                    <a:pt x="6464477" y="4305490"/>
                    <a:pt x="6451022" y="4305490"/>
                  </a:cubicBezTo>
                  <a:cubicBezTo>
                    <a:pt x="6398754" y="4305835"/>
                    <a:pt x="6369602" y="4343268"/>
                    <a:pt x="6342691" y="4348961"/>
                  </a:cubicBezTo>
                  <a:cubicBezTo>
                    <a:pt x="6321819" y="4353446"/>
                    <a:pt x="6312158" y="4363451"/>
                    <a:pt x="6306811" y="4373111"/>
                  </a:cubicBezTo>
                  <a:cubicBezTo>
                    <a:pt x="6301291" y="4382426"/>
                    <a:pt x="6299049" y="4388808"/>
                    <a:pt x="6286283" y="4397606"/>
                  </a:cubicBezTo>
                  <a:cubicBezTo>
                    <a:pt x="6258166" y="4415719"/>
                    <a:pt x="6258338" y="4408646"/>
                    <a:pt x="6236086" y="4421066"/>
                  </a:cubicBezTo>
                  <a:cubicBezTo>
                    <a:pt x="6216076" y="4432796"/>
                    <a:pt x="6211246" y="4442801"/>
                    <a:pt x="6193823" y="4442629"/>
                  </a:cubicBezTo>
                  <a:cubicBezTo>
                    <a:pt x="6191926" y="4442629"/>
                    <a:pt x="6189510" y="4442456"/>
                    <a:pt x="6187268" y="4442284"/>
                  </a:cubicBezTo>
                  <a:cubicBezTo>
                    <a:pt x="6185198" y="4441939"/>
                    <a:pt x="6182955" y="4441939"/>
                    <a:pt x="6181230" y="4441939"/>
                  </a:cubicBezTo>
                  <a:cubicBezTo>
                    <a:pt x="6151388" y="4443491"/>
                    <a:pt x="6148972" y="4464191"/>
                    <a:pt x="6100500" y="4479027"/>
                  </a:cubicBezTo>
                  <a:cubicBezTo>
                    <a:pt x="6094290" y="4480924"/>
                    <a:pt x="6089805" y="4481786"/>
                    <a:pt x="6086872" y="4481786"/>
                  </a:cubicBezTo>
                  <a:cubicBezTo>
                    <a:pt x="6079972" y="4480579"/>
                    <a:pt x="6082732" y="4481959"/>
                    <a:pt x="6081352" y="4477129"/>
                  </a:cubicBezTo>
                  <a:cubicBezTo>
                    <a:pt x="6081007" y="4466951"/>
                    <a:pt x="6092909" y="4443491"/>
                    <a:pt x="6100327" y="4432624"/>
                  </a:cubicBezTo>
                  <a:cubicBezTo>
                    <a:pt x="6099465" y="4432969"/>
                    <a:pt x="6088252" y="4444008"/>
                    <a:pt x="6072554" y="4448839"/>
                  </a:cubicBezTo>
                  <a:cubicBezTo>
                    <a:pt x="6068242" y="4458154"/>
                    <a:pt x="6064792" y="4468504"/>
                    <a:pt x="6064620" y="4477819"/>
                  </a:cubicBezTo>
                  <a:cubicBezTo>
                    <a:pt x="6064620" y="4483167"/>
                    <a:pt x="6065827" y="4488859"/>
                    <a:pt x="6070139" y="4493344"/>
                  </a:cubicBezTo>
                  <a:cubicBezTo>
                    <a:pt x="6074452" y="4497829"/>
                    <a:pt x="6080317" y="4499727"/>
                    <a:pt x="6086872" y="4499727"/>
                  </a:cubicBezTo>
                  <a:cubicBezTo>
                    <a:pt x="6092219" y="4499727"/>
                    <a:pt x="6098430" y="4498519"/>
                    <a:pt x="6105502" y="4496277"/>
                  </a:cubicBezTo>
                  <a:cubicBezTo>
                    <a:pt x="6157770" y="4478509"/>
                    <a:pt x="6164843" y="4458154"/>
                    <a:pt x="6181230" y="4459879"/>
                  </a:cubicBezTo>
                  <a:cubicBezTo>
                    <a:pt x="6182438" y="4459879"/>
                    <a:pt x="6183818" y="4460051"/>
                    <a:pt x="6185025" y="4460051"/>
                  </a:cubicBezTo>
                  <a:cubicBezTo>
                    <a:pt x="6188475" y="4460396"/>
                    <a:pt x="6191235" y="4460396"/>
                    <a:pt x="6193823" y="4460396"/>
                  </a:cubicBezTo>
                  <a:cubicBezTo>
                    <a:pt x="6219525" y="4460224"/>
                    <a:pt x="6228841" y="4445044"/>
                    <a:pt x="6244193" y="4436764"/>
                  </a:cubicBezTo>
                  <a:cubicBezTo>
                    <a:pt x="6261098" y="4426758"/>
                    <a:pt x="6264721" y="4432279"/>
                    <a:pt x="6295254" y="4412613"/>
                  </a:cubicBezTo>
                  <a:cubicBezTo>
                    <a:pt x="6311641" y="4402091"/>
                    <a:pt x="6316816" y="4389671"/>
                    <a:pt x="6321129" y="4382253"/>
                  </a:cubicBezTo>
                  <a:cubicBezTo>
                    <a:pt x="6325786" y="4375181"/>
                    <a:pt x="6328201" y="4370868"/>
                    <a:pt x="6346487" y="4366038"/>
                  </a:cubicBezTo>
                  <a:cubicBezTo>
                    <a:pt x="6381849" y="4356378"/>
                    <a:pt x="6406689" y="4322568"/>
                    <a:pt x="6450850" y="4322913"/>
                  </a:cubicBezTo>
                  <a:cubicBezTo>
                    <a:pt x="6462235" y="4322913"/>
                    <a:pt x="6475172" y="4324983"/>
                    <a:pt x="6490180" y="4330675"/>
                  </a:cubicBezTo>
                  <a:cubicBezTo>
                    <a:pt x="6510190" y="4338093"/>
                    <a:pt x="6525198" y="4340508"/>
                    <a:pt x="6536583" y="4340508"/>
                  </a:cubicBezTo>
                  <a:cubicBezTo>
                    <a:pt x="6544000" y="4340508"/>
                    <a:pt x="6549866" y="4339473"/>
                    <a:pt x="6554006" y="4338610"/>
                  </a:cubicBezTo>
                  <a:cubicBezTo>
                    <a:pt x="6553833" y="4342923"/>
                    <a:pt x="6553660" y="4349133"/>
                    <a:pt x="6553315" y="4357413"/>
                  </a:cubicBezTo>
                  <a:cubicBezTo>
                    <a:pt x="6552971" y="4366728"/>
                    <a:pt x="6552625" y="4375181"/>
                    <a:pt x="6552625" y="4382426"/>
                  </a:cubicBezTo>
                  <a:cubicBezTo>
                    <a:pt x="6552798" y="4397433"/>
                    <a:pt x="6553315" y="4408646"/>
                    <a:pt x="6560043" y="4417961"/>
                  </a:cubicBezTo>
                  <a:cubicBezTo>
                    <a:pt x="6567288" y="4427276"/>
                    <a:pt x="6578673" y="4429691"/>
                    <a:pt x="6592991" y="4429691"/>
                  </a:cubicBezTo>
                  <a:cubicBezTo>
                    <a:pt x="6600408" y="4429691"/>
                    <a:pt x="6609206" y="4429001"/>
                    <a:pt x="6619384" y="4428139"/>
                  </a:cubicBezTo>
                  <a:cubicBezTo>
                    <a:pt x="6644396" y="4426069"/>
                    <a:pt x="6654401" y="4417961"/>
                    <a:pt x="6657334" y="4408474"/>
                  </a:cubicBezTo>
                  <a:cubicBezTo>
                    <a:pt x="6658024" y="4406748"/>
                    <a:pt x="6658196" y="4405541"/>
                    <a:pt x="6658369" y="4404851"/>
                  </a:cubicBezTo>
                  <a:cubicBezTo>
                    <a:pt x="6659231" y="4404678"/>
                    <a:pt x="6660956" y="4404161"/>
                    <a:pt x="6663889" y="4404161"/>
                  </a:cubicBezTo>
                  <a:cubicBezTo>
                    <a:pt x="6669409" y="4404161"/>
                    <a:pt x="6678206" y="4405024"/>
                    <a:pt x="6692007" y="4407439"/>
                  </a:cubicBezTo>
                  <a:cubicBezTo>
                    <a:pt x="6727887" y="4413821"/>
                    <a:pt x="6738409" y="4426069"/>
                    <a:pt x="6752899" y="4442456"/>
                  </a:cubicBezTo>
                  <a:cubicBezTo>
                    <a:pt x="6766699" y="4459361"/>
                    <a:pt x="6783605" y="4480406"/>
                    <a:pt x="6824487" y="4495759"/>
                  </a:cubicBezTo>
                  <a:cubicBezTo>
                    <a:pt x="6860195" y="4509387"/>
                    <a:pt x="6875030" y="4522842"/>
                    <a:pt x="6885553" y="4533019"/>
                  </a:cubicBezTo>
                  <a:cubicBezTo>
                    <a:pt x="6895386" y="4542852"/>
                    <a:pt x="6903321" y="4553720"/>
                    <a:pt x="6920571" y="4553720"/>
                  </a:cubicBezTo>
                  <a:cubicBezTo>
                    <a:pt x="6922985" y="4553720"/>
                    <a:pt x="6925228" y="4553547"/>
                    <a:pt x="6927815" y="4553029"/>
                  </a:cubicBezTo>
                  <a:cubicBezTo>
                    <a:pt x="6948343" y="4550269"/>
                    <a:pt x="6970596" y="4547855"/>
                    <a:pt x="6984568" y="4547855"/>
                  </a:cubicBezTo>
                  <a:cubicBezTo>
                    <a:pt x="6989226" y="4547855"/>
                    <a:pt x="6992849" y="4548027"/>
                    <a:pt x="6995091" y="4548545"/>
                  </a:cubicBezTo>
                  <a:cubicBezTo>
                    <a:pt x="6995263" y="4548717"/>
                    <a:pt x="6995781" y="4548717"/>
                    <a:pt x="6995954" y="4548717"/>
                  </a:cubicBezTo>
                  <a:cubicBezTo>
                    <a:pt x="7001646" y="4556997"/>
                    <a:pt x="7008546" y="4556134"/>
                    <a:pt x="7015964" y="4561310"/>
                  </a:cubicBezTo>
                  <a:cubicBezTo>
                    <a:pt x="7024244" y="4565622"/>
                    <a:pt x="7029764" y="4570970"/>
                    <a:pt x="7029419" y="4573730"/>
                  </a:cubicBezTo>
                  <a:cubicBezTo>
                    <a:pt x="7030454" y="4584597"/>
                    <a:pt x="7037182" y="4607195"/>
                    <a:pt x="7047531" y="4629447"/>
                  </a:cubicBezTo>
                  <a:cubicBezTo>
                    <a:pt x="7058399" y="4651010"/>
                    <a:pt x="7071164" y="4672918"/>
                    <a:pt x="7092727" y="4675161"/>
                  </a:cubicBezTo>
                  <a:cubicBezTo>
                    <a:pt x="7097039" y="4675333"/>
                    <a:pt x="7100662" y="4675505"/>
                    <a:pt x="7104112" y="4675333"/>
                  </a:cubicBezTo>
                  <a:cubicBezTo>
                    <a:pt x="7125674" y="4675333"/>
                    <a:pt x="7132575" y="4671366"/>
                    <a:pt x="7164142" y="4668778"/>
                  </a:cubicBezTo>
                  <a:cubicBezTo>
                    <a:pt x="7168628" y="4668433"/>
                    <a:pt x="7173975" y="4668088"/>
                    <a:pt x="7179667" y="4668088"/>
                  </a:cubicBezTo>
                  <a:cubicBezTo>
                    <a:pt x="7218998" y="4667743"/>
                    <a:pt x="7279891" y="4679645"/>
                    <a:pt x="7296623" y="4707763"/>
                  </a:cubicBezTo>
                  <a:cubicBezTo>
                    <a:pt x="7309733" y="4727946"/>
                    <a:pt x="7325086" y="4740366"/>
                    <a:pt x="7336126" y="4749163"/>
                  </a:cubicBezTo>
                  <a:cubicBezTo>
                    <a:pt x="7348029" y="4758134"/>
                    <a:pt x="7353031" y="4763999"/>
                    <a:pt x="7352341" y="4766413"/>
                  </a:cubicBezTo>
                  <a:cubicBezTo>
                    <a:pt x="7354411" y="4774694"/>
                    <a:pt x="7317324" y="4815231"/>
                    <a:pt x="7300073" y="4838864"/>
                  </a:cubicBezTo>
                  <a:cubicBezTo>
                    <a:pt x="7282996" y="4864739"/>
                    <a:pt x="7266608" y="4900619"/>
                    <a:pt x="7265918" y="4918387"/>
                  </a:cubicBezTo>
                  <a:lnTo>
                    <a:pt x="7265746" y="4918215"/>
                  </a:lnTo>
                  <a:cubicBezTo>
                    <a:pt x="7262468" y="4921147"/>
                    <a:pt x="7245218" y="4922010"/>
                    <a:pt x="7231935" y="4924252"/>
                  </a:cubicBezTo>
                  <a:cubicBezTo>
                    <a:pt x="7216065" y="4927702"/>
                    <a:pt x="7175355" y="4947885"/>
                    <a:pt x="7174320" y="4992563"/>
                  </a:cubicBezTo>
                  <a:cubicBezTo>
                    <a:pt x="7174320" y="5003603"/>
                    <a:pt x="7177080" y="5015851"/>
                    <a:pt x="7183635" y="5028788"/>
                  </a:cubicBezTo>
                  <a:cubicBezTo>
                    <a:pt x="7198815" y="5060183"/>
                    <a:pt x="7218653" y="5068636"/>
                    <a:pt x="7231418" y="5072431"/>
                  </a:cubicBezTo>
                  <a:cubicBezTo>
                    <a:pt x="7244528" y="5078123"/>
                    <a:pt x="7245736" y="5073983"/>
                    <a:pt x="7247806" y="5093131"/>
                  </a:cubicBezTo>
                  <a:cubicBezTo>
                    <a:pt x="7249013" y="5127631"/>
                    <a:pt x="7255050" y="5150229"/>
                    <a:pt x="7257121" y="5161786"/>
                  </a:cubicBezTo>
                  <a:cubicBezTo>
                    <a:pt x="7261951" y="5163684"/>
                    <a:pt x="7266781" y="5165409"/>
                    <a:pt x="7271783" y="5167824"/>
                  </a:cubicBezTo>
                  <a:lnTo>
                    <a:pt x="7266781" y="5179554"/>
                  </a:lnTo>
                  <a:lnTo>
                    <a:pt x="7271093" y="5168859"/>
                  </a:lnTo>
                  <a:cubicBezTo>
                    <a:pt x="7266091" y="5166444"/>
                    <a:pt x="7261261" y="5164719"/>
                    <a:pt x="7256603" y="5162649"/>
                  </a:cubicBezTo>
                  <a:cubicBezTo>
                    <a:pt x="7256948" y="5165064"/>
                    <a:pt x="7257293" y="5167307"/>
                    <a:pt x="7257293" y="5168859"/>
                  </a:cubicBezTo>
                  <a:cubicBezTo>
                    <a:pt x="7257293" y="5169549"/>
                    <a:pt x="7257293" y="5169894"/>
                    <a:pt x="7257293" y="5170411"/>
                  </a:cubicBezTo>
                  <a:cubicBezTo>
                    <a:pt x="7257293" y="5170929"/>
                    <a:pt x="7257121" y="5171446"/>
                    <a:pt x="7257121" y="5172137"/>
                  </a:cubicBezTo>
                  <a:cubicBezTo>
                    <a:pt x="7257810" y="5177311"/>
                    <a:pt x="7259018" y="5179727"/>
                    <a:pt x="7260915" y="5182141"/>
                  </a:cubicBezTo>
                  <a:cubicBezTo>
                    <a:pt x="7259018" y="5179727"/>
                    <a:pt x="7257638" y="5177311"/>
                    <a:pt x="7256948" y="5172309"/>
                  </a:cubicBezTo>
                  <a:cubicBezTo>
                    <a:pt x="7256948" y="5171619"/>
                    <a:pt x="7256948" y="5170756"/>
                    <a:pt x="7257121" y="5170584"/>
                  </a:cubicBezTo>
                  <a:cubicBezTo>
                    <a:pt x="7257121" y="5170239"/>
                    <a:pt x="7257121" y="5169721"/>
                    <a:pt x="7257121" y="5169377"/>
                  </a:cubicBezTo>
                  <a:cubicBezTo>
                    <a:pt x="7257121" y="5167824"/>
                    <a:pt x="7256948" y="5165754"/>
                    <a:pt x="7256431" y="5163339"/>
                  </a:cubicBezTo>
                  <a:cubicBezTo>
                    <a:pt x="7235730" y="5155576"/>
                    <a:pt x="7216583" y="5152299"/>
                    <a:pt x="7199678" y="5152299"/>
                  </a:cubicBezTo>
                  <a:cubicBezTo>
                    <a:pt x="7177253" y="5152299"/>
                    <a:pt x="7158968" y="5157819"/>
                    <a:pt x="7145857" y="5165581"/>
                  </a:cubicBezTo>
                  <a:cubicBezTo>
                    <a:pt x="7127917" y="5178002"/>
                    <a:pt x="7085655" y="5174379"/>
                    <a:pt x="7064954" y="5209397"/>
                  </a:cubicBezTo>
                  <a:cubicBezTo>
                    <a:pt x="7060469" y="5217505"/>
                    <a:pt x="7057709" y="5223887"/>
                    <a:pt x="7057537" y="5231132"/>
                  </a:cubicBezTo>
                  <a:cubicBezTo>
                    <a:pt x="7059607" y="5252522"/>
                    <a:pt x="7074614" y="5255454"/>
                    <a:pt x="7092037" y="5300995"/>
                  </a:cubicBezTo>
                  <a:cubicBezTo>
                    <a:pt x="7095315" y="5309103"/>
                    <a:pt x="7096349" y="5315140"/>
                    <a:pt x="7096349" y="5319107"/>
                  </a:cubicBezTo>
                  <a:cubicBezTo>
                    <a:pt x="7096177" y="5328250"/>
                    <a:pt x="7092037" y="5330665"/>
                    <a:pt x="7083929" y="5335150"/>
                  </a:cubicBezTo>
                  <a:cubicBezTo>
                    <a:pt x="7077029" y="5339463"/>
                    <a:pt x="7063402" y="5341360"/>
                    <a:pt x="7062021" y="5357748"/>
                  </a:cubicBezTo>
                  <a:cubicBezTo>
                    <a:pt x="7062194" y="5364993"/>
                    <a:pt x="7065472" y="5371203"/>
                    <a:pt x="7071164" y="5378621"/>
                  </a:cubicBezTo>
                  <a:cubicBezTo>
                    <a:pt x="7083584" y="5395008"/>
                    <a:pt x="7086517" y="5408980"/>
                    <a:pt x="7086517" y="5421056"/>
                  </a:cubicBezTo>
                  <a:cubicBezTo>
                    <a:pt x="7086517" y="5436926"/>
                    <a:pt x="7080997" y="5448139"/>
                    <a:pt x="7080479" y="5459696"/>
                  </a:cubicBezTo>
                  <a:cubicBezTo>
                    <a:pt x="7082377" y="5464871"/>
                    <a:pt x="7054949" y="5498337"/>
                    <a:pt x="7040114" y="5519899"/>
                  </a:cubicBezTo>
                  <a:cubicBezTo>
                    <a:pt x="7027521" y="5539564"/>
                    <a:pt x="7022691" y="5537321"/>
                    <a:pt x="7008719" y="5575617"/>
                  </a:cubicBezTo>
                  <a:cubicBezTo>
                    <a:pt x="6995091" y="5612532"/>
                    <a:pt x="6978013" y="5632542"/>
                    <a:pt x="6951966" y="5634957"/>
                  </a:cubicBezTo>
                  <a:cubicBezTo>
                    <a:pt x="6921606" y="5636855"/>
                    <a:pt x="6903493" y="5645135"/>
                    <a:pt x="6897628" y="5668078"/>
                  </a:cubicBezTo>
                  <a:cubicBezTo>
                    <a:pt x="6894350" y="5679463"/>
                    <a:pt x="6892453" y="5701370"/>
                    <a:pt x="6890383" y="5722933"/>
                  </a:cubicBezTo>
                  <a:cubicBezTo>
                    <a:pt x="6888831" y="5742426"/>
                    <a:pt x="6885898" y="5762781"/>
                    <a:pt x="6884690" y="5766231"/>
                  </a:cubicBezTo>
                  <a:cubicBezTo>
                    <a:pt x="6882793" y="5767093"/>
                    <a:pt x="6872270" y="5768818"/>
                    <a:pt x="6861058" y="5768991"/>
                  </a:cubicBezTo>
                  <a:cubicBezTo>
                    <a:pt x="6848465" y="5769853"/>
                    <a:pt x="6834320" y="5770026"/>
                    <a:pt x="6823452" y="5776926"/>
                  </a:cubicBezTo>
                  <a:cubicBezTo>
                    <a:pt x="6814310" y="5781756"/>
                    <a:pt x="6809997" y="5792106"/>
                    <a:pt x="6810687" y="5799696"/>
                  </a:cubicBezTo>
                  <a:cubicBezTo>
                    <a:pt x="6810687" y="5804526"/>
                    <a:pt x="6811377" y="5809356"/>
                    <a:pt x="6811377" y="5815221"/>
                  </a:cubicBezTo>
                  <a:cubicBezTo>
                    <a:pt x="6811377" y="5821431"/>
                    <a:pt x="6811032" y="5829021"/>
                    <a:pt x="6808790" y="5838854"/>
                  </a:cubicBezTo>
                  <a:cubicBezTo>
                    <a:pt x="6800510" y="5874734"/>
                    <a:pt x="6796025" y="5867834"/>
                    <a:pt x="6763767" y="5902162"/>
                  </a:cubicBezTo>
                  <a:cubicBezTo>
                    <a:pt x="6753590" y="5913547"/>
                    <a:pt x="6748414" y="5918722"/>
                    <a:pt x="6747724" y="5928209"/>
                  </a:cubicBezTo>
                  <a:cubicBezTo>
                    <a:pt x="6748587" y="5938732"/>
                    <a:pt x="6754969" y="5940802"/>
                    <a:pt x="6756694" y="5943562"/>
                  </a:cubicBezTo>
                  <a:cubicBezTo>
                    <a:pt x="6759109" y="5946494"/>
                    <a:pt x="6761180" y="5949600"/>
                    <a:pt x="6761352" y="5959777"/>
                  </a:cubicBezTo>
                  <a:cubicBezTo>
                    <a:pt x="6761352" y="5968057"/>
                    <a:pt x="6761007" y="5973405"/>
                    <a:pt x="6760490" y="5976165"/>
                  </a:cubicBezTo>
                  <a:cubicBezTo>
                    <a:pt x="6760144" y="5977717"/>
                    <a:pt x="6759799" y="5977372"/>
                    <a:pt x="6760144" y="5977717"/>
                  </a:cubicBezTo>
                  <a:cubicBezTo>
                    <a:pt x="6760144" y="5977890"/>
                    <a:pt x="6759455" y="5977890"/>
                    <a:pt x="6755487" y="5978752"/>
                  </a:cubicBezTo>
                  <a:cubicBezTo>
                    <a:pt x="6751519" y="5979615"/>
                    <a:pt x="6745654" y="5980823"/>
                    <a:pt x="6738582" y="5984445"/>
                  </a:cubicBezTo>
                  <a:cubicBezTo>
                    <a:pt x="6730129" y="5988585"/>
                    <a:pt x="6718227" y="5993932"/>
                    <a:pt x="6704081" y="5999797"/>
                  </a:cubicBezTo>
                  <a:cubicBezTo>
                    <a:pt x="6700459" y="5993932"/>
                    <a:pt x="6695629" y="5989965"/>
                    <a:pt x="6689764" y="5987723"/>
                  </a:cubicBezTo>
                  <a:cubicBezTo>
                    <a:pt x="6683726" y="5985480"/>
                    <a:pt x="6675101" y="5984272"/>
                    <a:pt x="6663544" y="5984272"/>
                  </a:cubicBezTo>
                  <a:lnTo>
                    <a:pt x="6606273" y="5984272"/>
                  </a:lnTo>
                  <a:lnTo>
                    <a:pt x="6606273" y="6033608"/>
                  </a:lnTo>
                  <a:cubicBezTo>
                    <a:pt x="6606101" y="6033608"/>
                    <a:pt x="6605756" y="6033608"/>
                    <a:pt x="6605411" y="6033608"/>
                  </a:cubicBezTo>
                  <a:cubicBezTo>
                    <a:pt x="6582123" y="6034815"/>
                    <a:pt x="6567805" y="6011182"/>
                    <a:pt x="6525715" y="6010493"/>
                  </a:cubicBezTo>
                  <a:cubicBezTo>
                    <a:pt x="6479658" y="6010147"/>
                    <a:pt x="6492595" y="6011528"/>
                    <a:pt x="6462235" y="6021533"/>
                  </a:cubicBezTo>
                  <a:cubicBezTo>
                    <a:pt x="6427907" y="6032573"/>
                    <a:pt x="6407379" y="6046890"/>
                    <a:pt x="6385644" y="6060345"/>
                  </a:cubicBezTo>
                  <a:cubicBezTo>
                    <a:pt x="6377192" y="6065693"/>
                    <a:pt x="6348384" y="6072938"/>
                    <a:pt x="6323026" y="6077768"/>
                  </a:cubicBezTo>
                  <a:cubicBezTo>
                    <a:pt x="6304224" y="6081391"/>
                    <a:pt x="6286973" y="6084151"/>
                    <a:pt x="6279383" y="6085530"/>
                  </a:cubicBezTo>
                  <a:cubicBezTo>
                    <a:pt x="6288699" y="6087601"/>
                    <a:pt x="6293184" y="6093638"/>
                    <a:pt x="6297668" y="6100020"/>
                  </a:cubicBezTo>
                  <a:cubicBezTo>
                    <a:pt x="6325786" y="6095363"/>
                    <a:pt x="6375639" y="6085876"/>
                    <a:pt x="6394097" y="6075353"/>
                  </a:cubicBezTo>
                  <a:cubicBezTo>
                    <a:pt x="6416695" y="6061553"/>
                    <a:pt x="6434980" y="6048615"/>
                    <a:pt x="6467237" y="6038265"/>
                  </a:cubicBezTo>
                  <a:cubicBezTo>
                    <a:pt x="6503463" y="6026707"/>
                    <a:pt x="6477760" y="6028260"/>
                    <a:pt x="6525888" y="6027743"/>
                  </a:cubicBezTo>
                  <a:cubicBezTo>
                    <a:pt x="6560215" y="6027053"/>
                    <a:pt x="6571600" y="6049650"/>
                    <a:pt x="6605583" y="6051030"/>
                  </a:cubicBezTo>
                  <a:cubicBezTo>
                    <a:pt x="6605756" y="6051030"/>
                    <a:pt x="6606101" y="6051030"/>
                    <a:pt x="6606446" y="6051030"/>
                  </a:cubicBezTo>
                  <a:lnTo>
                    <a:pt x="6606446" y="6112613"/>
                  </a:lnTo>
                  <a:lnTo>
                    <a:pt x="6623524" y="6112613"/>
                  </a:lnTo>
                  <a:lnTo>
                    <a:pt x="6623524" y="6055515"/>
                  </a:lnTo>
                  <a:lnTo>
                    <a:pt x="6643361" y="6055515"/>
                  </a:lnTo>
                  <a:cubicBezTo>
                    <a:pt x="6647846" y="6055515"/>
                    <a:pt x="6650951" y="6055688"/>
                    <a:pt x="6653021" y="6056206"/>
                  </a:cubicBezTo>
                  <a:cubicBezTo>
                    <a:pt x="6655781" y="6056895"/>
                    <a:pt x="6658369" y="6057931"/>
                    <a:pt x="6660956" y="6059655"/>
                  </a:cubicBezTo>
                  <a:cubicBezTo>
                    <a:pt x="6663544" y="6061380"/>
                    <a:pt x="6666476" y="6064313"/>
                    <a:pt x="6669754" y="6068280"/>
                  </a:cubicBezTo>
                  <a:cubicBezTo>
                    <a:pt x="6672859" y="6072593"/>
                    <a:pt x="6677171" y="6078458"/>
                    <a:pt x="6682174" y="6086048"/>
                  </a:cubicBezTo>
                  <a:lnTo>
                    <a:pt x="6699251" y="6112613"/>
                  </a:lnTo>
                  <a:lnTo>
                    <a:pt x="6720814" y="6112613"/>
                  </a:lnTo>
                  <a:lnTo>
                    <a:pt x="6698216" y="6077768"/>
                  </a:lnTo>
                  <a:cubicBezTo>
                    <a:pt x="6693904" y="6070868"/>
                    <a:pt x="6689074" y="6065348"/>
                    <a:pt x="6684244" y="6060690"/>
                  </a:cubicBezTo>
                  <a:cubicBezTo>
                    <a:pt x="6681656" y="6058620"/>
                    <a:pt x="6678206" y="6056378"/>
                    <a:pt x="6673894" y="6054308"/>
                  </a:cubicBezTo>
                  <a:cubicBezTo>
                    <a:pt x="6686314" y="6052583"/>
                    <a:pt x="6695456" y="6048788"/>
                    <a:pt x="6701322" y="6042405"/>
                  </a:cubicBezTo>
                  <a:cubicBezTo>
                    <a:pt x="6707359" y="6036195"/>
                    <a:pt x="6710292" y="6028433"/>
                    <a:pt x="6710292" y="6019290"/>
                  </a:cubicBezTo>
                  <a:cubicBezTo>
                    <a:pt x="6710292" y="6018255"/>
                    <a:pt x="6709947" y="6017393"/>
                    <a:pt x="6709947" y="6016530"/>
                  </a:cubicBezTo>
                  <a:cubicBezTo>
                    <a:pt x="6724782" y="6010320"/>
                    <a:pt x="6737547" y="6004627"/>
                    <a:pt x="6746689" y="6000143"/>
                  </a:cubicBezTo>
                  <a:cubicBezTo>
                    <a:pt x="6756522" y="5994967"/>
                    <a:pt x="6761007" y="5996692"/>
                    <a:pt x="6769287" y="5992725"/>
                  </a:cubicBezTo>
                  <a:cubicBezTo>
                    <a:pt x="6778947" y="5986515"/>
                    <a:pt x="6779119" y="5976682"/>
                    <a:pt x="6779119" y="5959777"/>
                  </a:cubicBezTo>
                  <a:cubicBezTo>
                    <a:pt x="6779292" y="5946150"/>
                    <a:pt x="6774807" y="5937180"/>
                    <a:pt x="6770150" y="5932004"/>
                  </a:cubicBezTo>
                  <a:cubicBezTo>
                    <a:pt x="6768252" y="5929934"/>
                    <a:pt x="6766699" y="5928382"/>
                    <a:pt x="6765837" y="5927519"/>
                  </a:cubicBezTo>
                  <a:cubicBezTo>
                    <a:pt x="6766872" y="5925622"/>
                    <a:pt x="6770322" y="5920965"/>
                    <a:pt x="6776705" y="5914237"/>
                  </a:cubicBezTo>
                  <a:cubicBezTo>
                    <a:pt x="6805512" y="5883876"/>
                    <a:pt x="6817587" y="5882497"/>
                    <a:pt x="6826040" y="5842476"/>
                  </a:cubicBezTo>
                  <a:cubicBezTo>
                    <a:pt x="6828627" y="5831091"/>
                    <a:pt x="6829317" y="5821949"/>
                    <a:pt x="6829317" y="5814876"/>
                  </a:cubicBezTo>
                  <a:cubicBezTo>
                    <a:pt x="6829317" y="5807804"/>
                    <a:pt x="6828627" y="5802456"/>
                    <a:pt x="6828627" y="5799351"/>
                  </a:cubicBezTo>
                  <a:cubicBezTo>
                    <a:pt x="6829490" y="5794003"/>
                    <a:pt x="6827765" y="5795729"/>
                    <a:pt x="6833457" y="5791416"/>
                  </a:cubicBezTo>
                  <a:cubicBezTo>
                    <a:pt x="6838287" y="5787794"/>
                    <a:pt x="6852432" y="5786241"/>
                    <a:pt x="6865715" y="5785896"/>
                  </a:cubicBezTo>
                  <a:cubicBezTo>
                    <a:pt x="6872787" y="5785034"/>
                    <a:pt x="6879515" y="5785378"/>
                    <a:pt x="6885725" y="5784171"/>
                  </a:cubicBezTo>
                  <a:cubicBezTo>
                    <a:pt x="6890900" y="5789001"/>
                    <a:pt x="6896248" y="5793659"/>
                    <a:pt x="6901595" y="5797971"/>
                  </a:cubicBezTo>
                  <a:cubicBezTo>
                    <a:pt x="6908841" y="5804009"/>
                    <a:pt x="6915568" y="5809528"/>
                    <a:pt x="6920915" y="5815566"/>
                  </a:cubicBezTo>
                  <a:cubicBezTo>
                    <a:pt x="6922468" y="5817464"/>
                    <a:pt x="6923676" y="5821604"/>
                    <a:pt x="6924883" y="5825399"/>
                  </a:cubicBezTo>
                  <a:cubicBezTo>
                    <a:pt x="6926608" y="5830401"/>
                    <a:pt x="6928333" y="5835921"/>
                    <a:pt x="6931438" y="5840406"/>
                  </a:cubicBezTo>
                  <a:cubicBezTo>
                    <a:pt x="6934371" y="5844546"/>
                    <a:pt x="6942996" y="5851274"/>
                    <a:pt x="6951276" y="5858174"/>
                  </a:cubicBezTo>
                  <a:lnTo>
                    <a:pt x="6953691" y="5860072"/>
                  </a:lnTo>
                  <a:cubicBezTo>
                    <a:pt x="6968353" y="5871974"/>
                    <a:pt x="6984741" y="5880254"/>
                    <a:pt x="7000784" y="5888362"/>
                  </a:cubicBezTo>
                  <a:cubicBezTo>
                    <a:pt x="7023899" y="5899919"/>
                    <a:pt x="7045979" y="5911132"/>
                    <a:pt x="7061677" y="5932004"/>
                  </a:cubicBezTo>
                  <a:cubicBezTo>
                    <a:pt x="7061677" y="5934937"/>
                    <a:pt x="7061849" y="5938042"/>
                    <a:pt x="7061849" y="5941320"/>
                  </a:cubicBezTo>
                  <a:lnTo>
                    <a:pt x="7062194" y="5956500"/>
                  </a:lnTo>
                  <a:cubicBezTo>
                    <a:pt x="7062367" y="5966505"/>
                    <a:pt x="7063402" y="5978235"/>
                    <a:pt x="7064264" y="5989620"/>
                  </a:cubicBezTo>
                  <a:lnTo>
                    <a:pt x="7064437" y="5991690"/>
                  </a:lnTo>
                  <a:cubicBezTo>
                    <a:pt x="7065989" y="6010838"/>
                    <a:pt x="7069267" y="6050341"/>
                    <a:pt x="7064092" y="6055515"/>
                  </a:cubicBezTo>
                  <a:cubicBezTo>
                    <a:pt x="7059607" y="6056378"/>
                    <a:pt x="7053396" y="6056550"/>
                    <a:pt x="7047014" y="6056550"/>
                  </a:cubicBezTo>
                  <a:cubicBezTo>
                    <a:pt x="7028211" y="6056895"/>
                    <a:pt x="7002509" y="6057413"/>
                    <a:pt x="6968009" y="6073110"/>
                  </a:cubicBezTo>
                  <a:cubicBezTo>
                    <a:pt x="6959901" y="6076733"/>
                    <a:pt x="6950931" y="6080356"/>
                    <a:pt x="6941271" y="6084151"/>
                  </a:cubicBezTo>
                  <a:cubicBezTo>
                    <a:pt x="6897973" y="6101228"/>
                    <a:pt x="6844153" y="6122619"/>
                    <a:pt x="6842945" y="6175231"/>
                  </a:cubicBezTo>
                  <a:cubicBezTo>
                    <a:pt x="6841393" y="6233709"/>
                    <a:pt x="6838287" y="6239919"/>
                    <a:pt x="6809653" y="6240782"/>
                  </a:cubicBezTo>
                  <a:cubicBezTo>
                    <a:pt x="6778430" y="6240782"/>
                    <a:pt x="6738754" y="6234399"/>
                    <a:pt x="6710809" y="6230087"/>
                  </a:cubicBezTo>
                  <a:lnTo>
                    <a:pt x="6707359" y="6229396"/>
                  </a:lnTo>
                  <a:cubicBezTo>
                    <a:pt x="6698562" y="6227844"/>
                    <a:pt x="6691489" y="6226809"/>
                    <a:pt x="6687177" y="6226464"/>
                  </a:cubicBezTo>
                  <a:cubicBezTo>
                    <a:pt x="6683381" y="6226119"/>
                    <a:pt x="6679069" y="6225774"/>
                    <a:pt x="6673894" y="6225602"/>
                  </a:cubicBezTo>
                  <a:cubicBezTo>
                    <a:pt x="6664924" y="6225257"/>
                    <a:pt x="6641118" y="6223704"/>
                    <a:pt x="6638531" y="6219047"/>
                  </a:cubicBezTo>
                  <a:lnTo>
                    <a:pt x="6637496" y="6169366"/>
                  </a:lnTo>
                  <a:lnTo>
                    <a:pt x="6635944" y="6160569"/>
                  </a:lnTo>
                  <a:lnTo>
                    <a:pt x="6630768" y="6158843"/>
                  </a:lnTo>
                  <a:cubicBezTo>
                    <a:pt x="6622661" y="6156256"/>
                    <a:pt x="6616278" y="6155048"/>
                    <a:pt x="6610759" y="6155048"/>
                  </a:cubicBezTo>
                  <a:cubicBezTo>
                    <a:pt x="6585573" y="6155048"/>
                    <a:pt x="6579191" y="6179716"/>
                    <a:pt x="6576258" y="6191446"/>
                  </a:cubicBezTo>
                  <a:cubicBezTo>
                    <a:pt x="6568323" y="6221117"/>
                    <a:pt x="6547623" y="6228534"/>
                    <a:pt x="6530890" y="6229224"/>
                  </a:cubicBezTo>
                  <a:lnTo>
                    <a:pt x="6476897" y="6192826"/>
                  </a:lnTo>
                  <a:cubicBezTo>
                    <a:pt x="6472930" y="6190239"/>
                    <a:pt x="6452747" y="6178336"/>
                    <a:pt x="6436360" y="6178336"/>
                  </a:cubicBezTo>
                  <a:lnTo>
                    <a:pt x="6428942" y="6179371"/>
                  </a:lnTo>
                  <a:lnTo>
                    <a:pt x="6427390" y="6185409"/>
                  </a:lnTo>
                  <a:cubicBezTo>
                    <a:pt x="6421179" y="6208869"/>
                    <a:pt x="6372707" y="6214217"/>
                    <a:pt x="6340104" y="6217666"/>
                  </a:cubicBezTo>
                  <a:cubicBezTo>
                    <a:pt x="6310951" y="6220944"/>
                    <a:pt x="6294908" y="6222842"/>
                    <a:pt x="6293011" y="6235779"/>
                  </a:cubicBezTo>
                  <a:cubicBezTo>
                    <a:pt x="6291803" y="6243714"/>
                    <a:pt x="6295944" y="6249407"/>
                    <a:pt x="6299049" y="6253547"/>
                  </a:cubicBezTo>
                  <a:cubicBezTo>
                    <a:pt x="6299739" y="6254582"/>
                    <a:pt x="6300946" y="6256307"/>
                    <a:pt x="6301119" y="6256307"/>
                  </a:cubicBezTo>
                  <a:cubicBezTo>
                    <a:pt x="6300774" y="6257342"/>
                    <a:pt x="6298186" y="6261655"/>
                    <a:pt x="6279038" y="6271142"/>
                  </a:cubicBezTo>
                  <a:cubicBezTo>
                    <a:pt x="6262651" y="6261137"/>
                    <a:pt x="6259028" y="6255790"/>
                    <a:pt x="6259201" y="6246819"/>
                  </a:cubicBezTo>
                  <a:cubicBezTo>
                    <a:pt x="6259201" y="6240782"/>
                    <a:pt x="6261098" y="6231639"/>
                    <a:pt x="6264376" y="6218874"/>
                  </a:cubicBezTo>
                  <a:cubicBezTo>
                    <a:pt x="6269896" y="6198002"/>
                    <a:pt x="6285766" y="6194207"/>
                    <a:pt x="6313194" y="6193516"/>
                  </a:cubicBezTo>
                  <a:cubicBezTo>
                    <a:pt x="6329581" y="6193516"/>
                    <a:pt x="6348556" y="6195586"/>
                    <a:pt x="6367359" y="6195586"/>
                  </a:cubicBezTo>
                  <a:cubicBezTo>
                    <a:pt x="6382367" y="6195586"/>
                    <a:pt x="6395304" y="6189894"/>
                    <a:pt x="6395477" y="6176266"/>
                  </a:cubicBezTo>
                  <a:cubicBezTo>
                    <a:pt x="6394787" y="6162984"/>
                    <a:pt x="6385471" y="6153669"/>
                    <a:pt x="6374087" y="6144699"/>
                  </a:cubicBezTo>
                  <a:cubicBezTo>
                    <a:pt x="6362529" y="6136246"/>
                    <a:pt x="6348212" y="6129519"/>
                    <a:pt x="6333894" y="6129519"/>
                  </a:cubicBezTo>
                  <a:cubicBezTo>
                    <a:pt x="6322509" y="6129691"/>
                    <a:pt x="6313194" y="6121238"/>
                    <a:pt x="6304914" y="6110716"/>
                  </a:cubicBezTo>
                  <a:cubicBezTo>
                    <a:pt x="6301636" y="6107266"/>
                    <a:pt x="6299394" y="6103816"/>
                    <a:pt x="6297151" y="6100193"/>
                  </a:cubicBezTo>
                  <a:cubicBezTo>
                    <a:pt x="6285248" y="6102263"/>
                    <a:pt x="6277141" y="6103471"/>
                    <a:pt x="6276796" y="6103643"/>
                  </a:cubicBezTo>
                  <a:lnTo>
                    <a:pt x="6276623" y="6102263"/>
                  </a:lnTo>
                  <a:cubicBezTo>
                    <a:pt x="6278866" y="6101918"/>
                    <a:pt x="6285938" y="6100883"/>
                    <a:pt x="6295944" y="6099331"/>
                  </a:cubicBezTo>
                  <a:cubicBezTo>
                    <a:pt x="6291631" y="6093293"/>
                    <a:pt x="6287146" y="6087946"/>
                    <a:pt x="6277831" y="6086048"/>
                  </a:cubicBezTo>
                  <a:cubicBezTo>
                    <a:pt x="6278176" y="6086048"/>
                    <a:pt x="6278521" y="6085876"/>
                    <a:pt x="6279038" y="6085876"/>
                  </a:cubicBezTo>
                  <a:cubicBezTo>
                    <a:pt x="6278866" y="6085876"/>
                    <a:pt x="6278694" y="6085703"/>
                    <a:pt x="6278348" y="6085703"/>
                  </a:cubicBezTo>
                  <a:cubicBezTo>
                    <a:pt x="6276969" y="6085703"/>
                    <a:pt x="6275416" y="6086048"/>
                    <a:pt x="6274036" y="6086565"/>
                  </a:cubicBezTo>
                  <a:cubicBezTo>
                    <a:pt x="6273691" y="6086565"/>
                    <a:pt x="6273174" y="6086738"/>
                    <a:pt x="6273174" y="6086738"/>
                  </a:cubicBezTo>
                  <a:lnTo>
                    <a:pt x="6273174" y="6087083"/>
                  </a:lnTo>
                  <a:cubicBezTo>
                    <a:pt x="6272311" y="6087428"/>
                    <a:pt x="6271448" y="6087773"/>
                    <a:pt x="6270758" y="6088463"/>
                  </a:cubicBezTo>
                  <a:cubicBezTo>
                    <a:pt x="6269896" y="6090016"/>
                    <a:pt x="6256268" y="6091913"/>
                    <a:pt x="6241778" y="6091913"/>
                  </a:cubicBezTo>
                  <a:cubicBezTo>
                    <a:pt x="6226771" y="6092258"/>
                    <a:pt x="6210038" y="6092086"/>
                    <a:pt x="6196238" y="6095190"/>
                  </a:cubicBezTo>
                  <a:cubicBezTo>
                    <a:pt x="6166913" y="6102263"/>
                    <a:pt x="6150698" y="6124861"/>
                    <a:pt x="6103604" y="6124689"/>
                  </a:cubicBezTo>
                  <a:cubicBezTo>
                    <a:pt x="6089977" y="6124689"/>
                    <a:pt x="6081180" y="6125551"/>
                    <a:pt x="6074624" y="6127966"/>
                  </a:cubicBezTo>
                  <a:cubicBezTo>
                    <a:pt x="6068069" y="6129691"/>
                    <a:pt x="6062032" y="6137281"/>
                    <a:pt x="6062722" y="6144009"/>
                  </a:cubicBezTo>
                  <a:cubicBezTo>
                    <a:pt x="6063412" y="6154531"/>
                    <a:pt x="6068069" y="6161086"/>
                    <a:pt x="6067552" y="6168503"/>
                  </a:cubicBezTo>
                  <a:cubicBezTo>
                    <a:pt x="6067552" y="6172989"/>
                    <a:pt x="6065655" y="6175059"/>
                    <a:pt x="6053407" y="6177819"/>
                  </a:cubicBezTo>
                  <a:cubicBezTo>
                    <a:pt x="6042022" y="6179889"/>
                    <a:pt x="6025461" y="6179889"/>
                    <a:pt x="6008384" y="6181441"/>
                  </a:cubicBezTo>
                  <a:cubicBezTo>
                    <a:pt x="6003899" y="6181614"/>
                    <a:pt x="5999241" y="6182131"/>
                    <a:pt x="5994756" y="6182131"/>
                  </a:cubicBezTo>
                  <a:cubicBezTo>
                    <a:pt x="5966638" y="6181959"/>
                    <a:pt x="5945421" y="6174369"/>
                    <a:pt x="5942316" y="6153496"/>
                  </a:cubicBezTo>
                  <a:cubicBezTo>
                    <a:pt x="5936106" y="6118651"/>
                    <a:pt x="5934036" y="6131071"/>
                    <a:pt x="5934036" y="6111923"/>
                  </a:cubicBezTo>
                  <a:cubicBezTo>
                    <a:pt x="5933174" y="6094155"/>
                    <a:pt x="5919373" y="6084841"/>
                    <a:pt x="5907643" y="6074835"/>
                  </a:cubicBezTo>
                  <a:cubicBezTo>
                    <a:pt x="5897466" y="6066901"/>
                    <a:pt x="5887633" y="6058620"/>
                    <a:pt x="5883148" y="6051376"/>
                  </a:cubicBezTo>
                  <a:cubicBezTo>
                    <a:pt x="5892463" y="6039473"/>
                    <a:pt x="5894533" y="6025500"/>
                    <a:pt x="5894533" y="6012563"/>
                  </a:cubicBezTo>
                  <a:cubicBezTo>
                    <a:pt x="5894533" y="6004110"/>
                    <a:pt x="5893843" y="5995140"/>
                    <a:pt x="5893843" y="5985653"/>
                  </a:cubicBezTo>
                  <a:cubicBezTo>
                    <a:pt x="5893843" y="5965987"/>
                    <a:pt x="5896431" y="5944252"/>
                    <a:pt x="5913508" y="5916307"/>
                  </a:cubicBezTo>
                  <a:cubicBezTo>
                    <a:pt x="5926273" y="5895434"/>
                    <a:pt x="5932138" y="5880427"/>
                    <a:pt x="5932311" y="5867834"/>
                  </a:cubicBezTo>
                  <a:cubicBezTo>
                    <a:pt x="5932656" y="5856966"/>
                    <a:pt x="5926273" y="5847824"/>
                    <a:pt x="5918683" y="5844201"/>
                  </a:cubicBezTo>
                  <a:cubicBezTo>
                    <a:pt x="5910748" y="5840406"/>
                    <a:pt x="5902296" y="5839716"/>
                    <a:pt x="5893325" y="5839716"/>
                  </a:cubicBezTo>
                  <a:cubicBezTo>
                    <a:pt x="5886253" y="5839716"/>
                    <a:pt x="5879181" y="5840061"/>
                    <a:pt x="5872798" y="5840751"/>
                  </a:cubicBezTo>
                  <a:cubicBezTo>
                    <a:pt x="5871245" y="5840751"/>
                    <a:pt x="5869521" y="5840924"/>
                    <a:pt x="5868313" y="5840924"/>
                  </a:cubicBezTo>
                  <a:cubicBezTo>
                    <a:pt x="5841920" y="5841787"/>
                    <a:pt x="5820358" y="5818671"/>
                    <a:pt x="5820358" y="5816774"/>
                  </a:cubicBezTo>
                  <a:cubicBezTo>
                    <a:pt x="5817770" y="5809356"/>
                    <a:pt x="5800348" y="5763643"/>
                    <a:pt x="5800520" y="5739838"/>
                  </a:cubicBezTo>
                  <a:cubicBezTo>
                    <a:pt x="5800520" y="5737078"/>
                    <a:pt x="5800692" y="5734491"/>
                    <a:pt x="5801210" y="5732766"/>
                  </a:cubicBezTo>
                  <a:cubicBezTo>
                    <a:pt x="5806040" y="5709651"/>
                    <a:pt x="5817253" y="5698783"/>
                    <a:pt x="5818115" y="5682050"/>
                  </a:cubicBezTo>
                  <a:cubicBezTo>
                    <a:pt x="5817080" y="5669630"/>
                    <a:pt x="5808973" y="5663420"/>
                    <a:pt x="5802245" y="5654623"/>
                  </a:cubicBezTo>
                  <a:cubicBezTo>
                    <a:pt x="5795173" y="5646515"/>
                    <a:pt x="5789653" y="5637200"/>
                    <a:pt x="5790342" y="5636338"/>
                  </a:cubicBezTo>
                  <a:cubicBezTo>
                    <a:pt x="5790342" y="5627885"/>
                    <a:pt x="5788272" y="5615637"/>
                    <a:pt x="5784823" y="5604079"/>
                  </a:cubicBezTo>
                  <a:cubicBezTo>
                    <a:pt x="5780510" y="5592695"/>
                    <a:pt x="5779302" y="5582689"/>
                    <a:pt x="5768607" y="5576997"/>
                  </a:cubicBezTo>
                  <a:cubicBezTo>
                    <a:pt x="5764812" y="5574410"/>
                    <a:pt x="5758947" y="5544567"/>
                    <a:pt x="5732037" y="5543877"/>
                  </a:cubicBezTo>
                  <a:lnTo>
                    <a:pt x="5629054" y="5543877"/>
                  </a:lnTo>
                  <a:cubicBezTo>
                    <a:pt x="5594381" y="5544222"/>
                    <a:pt x="5540388" y="5573892"/>
                    <a:pt x="5492777" y="5573547"/>
                  </a:cubicBezTo>
                  <a:cubicBezTo>
                    <a:pt x="5467592" y="5573374"/>
                    <a:pt x="5454310" y="5576997"/>
                    <a:pt x="5444995" y="5586829"/>
                  </a:cubicBezTo>
                  <a:cubicBezTo>
                    <a:pt x="5436025" y="5596144"/>
                    <a:pt x="5431885" y="5606667"/>
                    <a:pt x="5417395" y="5622020"/>
                  </a:cubicBezTo>
                  <a:cubicBezTo>
                    <a:pt x="5413255" y="5626332"/>
                    <a:pt x="5410839" y="5627540"/>
                    <a:pt x="5409632" y="5628057"/>
                  </a:cubicBezTo>
                  <a:cubicBezTo>
                    <a:pt x="5408769" y="5626332"/>
                    <a:pt x="5406700" y="5620812"/>
                    <a:pt x="5405837" y="5614775"/>
                  </a:cubicBezTo>
                  <a:cubicBezTo>
                    <a:pt x="5404974" y="5611152"/>
                    <a:pt x="5404285" y="5607530"/>
                    <a:pt x="5403250" y="5604079"/>
                  </a:cubicBezTo>
                  <a:cubicBezTo>
                    <a:pt x="5402042" y="5601492"/>
                    <a:pt x="5401352" y="5595109"/>
                    <a:pt x="5392210" y="5593902"/>
                  </a:cubicBezTo>
                  <a:cubicBezTo>
                    <a:pt x="5391002" y="5593902"/>
                    <a:pt x="5389622" y="5594247"/>
                    <a:pt x="5388759" y="5594592"/>
                  </a:cubicBezTo>
                  <a:cubicBezTo>
                    <a:pt x="5387035" y="5586312"/>
                    <a:pt x="5386000" y="5569407"/>
                    <a:pt x="5384447" y="5556814"/>
                  </a:cubicBezTo>
                  <a:cubicBezTo>
                    <a:pt x="5378064" y="5525247"/>
                    <a:pt x="5342529" y="5525592"/>
                    <a:pt x="5318724" y="5522314"/>
                  </a:cubicBezTo>
                  <a:cubicBezTo>
                    <a:pt x="5296472" y="5520244"/>
                    <a:pt x="5235061" y="5493334"/>
                    <a:pt x="5235061" y="5493334"/>
                  </a:cubicBezTo>
                  <a:lnTo>
                    <a:pt x="5233508" y="5492644"/>
                  </a:lnTo>
                  <a:lnTo>
                    <a:pt x="5231784" y="5492644"/>
                  </a:lnTo>
                  <a:cubicBezTo>
                    <a:pt x="5219018" y="5492816"/>
                    <a:pt x="5181413" y="5489711"/>
                    <a:pt x="5175893" y="5487469"/>
                  </a:cubicBezTo>
                  <a:cubicBezTo>
                    <a:pt x="5172098" y="5486434"/>
                    <a:pt x="5168131" y="5486261"/>
                    <a:pt x="5162783" y="5486261"/>
                  </a:cubicBezTo>
                  <a:cubicBezTo>
                    <a:pt x="5144498" y="5486261"/>
                    <a:pt x="5110860" y="5490229"/>
                    <a:pt x="5081707" y="5501269"/>
                  </a:cubicBezTo>
                  <a:cubicBezTo>
                    <a:pt x="5045482" y="5514724"/>
                    <a:pt x="5031509" y="5520244"/>
                    <a:pt x="5031509" y="5520244"/>
                  </a:cubicBezTo>
                  <a:lnTo>
                    <a:pt x="5033062" y="5524729"/>
                  </a:lnTo>
                  <a:cubicBezTo>
                    <a:pt x="5023919" y="5507306"/>
                    <a:pt x="5013914" y="5489711"/>
                    <a:pt x="5012017" y="5476946"/>
                  </a:cubicBezTo>
                  <a:cubicBezTo>
                    <a:pt x="5011672" y="5474359"/>
                    <a:pt x="5011327" y="5472116"/>
                    <a:pt x="5011327" y="5469873"/>
                  </a:cubicBezTo>
                  <a:cubicBezTo>
                    <a:pt x="5010637" y="5444344"/>
                    <a:pt x="5034614" y="5428819"/>
                    <a:pt x="5036857" y="5405358"/>
                  </a:cubicBezTo>
                  <a:cubicBezTo>
                    <a:pt x="5037029" y="5396906"/>
                    <a:pt x="5036857" y="5394663"/>
                    <a:pt x="5040480" y="5390178"/>
                  </a:cubicBezTo>
                  <a:cubicBezTo>
                    <a:pt x="5044274" y="5385348"/>
                    <a:pt x="5054624" y="5377930"/>
                    <a:pt x="5076532" y="5367408"/>
                  </a:cubicBezTo>
                  <a:cubicBezTo>
                    <a:pt x="5124142" y="5344120"/>
                    <a:pt x="5122763" y="5316175"/>
                    <a:pt x="5151570" y="5281158"/>
                  </a:cubicBezTo>
                  <a:cubicBezTo>
                    <a:pt x="5163990" y="5265115"/>
                    <a:pt x="5189865" y="5257524"/>
                    <a:pt x="5215568" y="5253040"/>
                  </a:cubicBezTo>
                  <a:cubicBezTo>
                    <a:pt x="5241616" y="5247864"/>
                    <a:pt x="5264731" y="5247692"/>
                    <a:pt x="5278531" y="5235962"/>
                  </a:cubicBezTo>
                  <a:cubicBezTo>
                    <a:pt x="5281119" y="5233374"/>
                    <a:pt x="5285604" y="5231649"/>
                    <a:pt x="5292331" y="5231649"/>
                  </a:cubicBezTo>
                  <a:cubicBezTo>
                    <a:pt x="5308546" y="5231649"/>
                    <a:pt x="5332007" y="5241655"/>
                    <a:pt x="5342184" y="5245794"/>
                  </a:cubicBezTo>
                  <a:cubicBezTo>
                    <a:pt x="5344082" y="5246485"/>
                    <a:pt x="5345634" y="5246657"/>
                    <a:pt x="5347359" y="5246657"/>
                  </a:cubicBezTo>
                  <a:cubicBezTo>
                    <a:pt x="5361849" y="5245967"/>
                    <a:pt x="5384619" y="5232857"/>
                    <a:pt x="5411357" y="5219919"/>
                  </a:cubicBezTo>
                  <a:cubicBezTo>
                    <a:pt x="5436887" y="5206982"/>
                    <a:pt x="5464832" y="5194562"/>
                    <a:pt x="5475527" y="5194907"/>
                  </a:cubicBezTo>
                  <a:cubicBezTo>
                    <a:pt x="5506060" y="5194907"/>
                    <a:pt x="5550393" y="5194907"/>
                    <a:pt x="5594898" y="5194907"/>
                  </a:cubicBezTo>
                  <a:cubicBezTo>
                    <a:pt x="5637679" y="5194907"/>
                    <a:pt x="5617151" y="5200082"/>
                    <a:pt x="5663726" y="5203014"/>
                  </a:cubicBezTo>
                  <a:cubicBezTo>
                    <a:pt x="5664934" y="5203014"/>
                    <a:pt x="5665797" y="5203014"/>
                    <a:pt x="5667349" y="5203014"/>
                  </a:cubicBezTo>
                  <a:cubicBezTo>
                    <a:pt x="5716339" y="5202324"/>
                    <a:pt x="5760327" y="5144536"/>
                    <a:pt x="5770677" y="5139706"/>
                  </a:cubicBezTo>
                  <a:cubicBezTo>
                    <a:pt x="5786720" y="5130564"/>
                    <a:pt x="5802590" y="5111071"/>
                    <a:pt x="5805350" y="5078813"/>
                  </a:cubicBezTo>
                  <a:cubicBezTo>
                    <a:pt x="5806213" y="5065186"/>
                    <a:pt x="5813630" y="5057251"/>
                    <a:pt x="5814147" y="5041898"/>
                  </a:cubicBezTo>
                  <a:cubicBezTo>
                    <a:pt x="5813975" y="5028960"/>
                    <a:pt x="5806903" y="5016368"/>
                    <a:pt x="5788790" y="4998600"/>
                  </a:cubicBezTo>
                  <a:cubicBezTo>
                    <a:pt x="5772402" y="4982730"/>
                    <a:pt x="5767917" y="4973243"/>
                    <a:pt x="5768262" y="4970655"/>
                  </a:cubicBezTo>
                  <a:cubicBezTo>
                    <a:pt x="5767055" y="4968067"/>
                    <a:pt x="5775162" y="4960823"/>
                    <a:pt x="5790687" y="4949955"/>
                  </a:cubicBezTo>
                  <a:cubicBezTo>
                    <a:pt x="5818460" y="4929255"/>
                    <a:pt x="5827775" y="4900102"/>
                    <a:pt x="5827430" y="4845592"/>
                  </a:cubicBezTo>
                  <a:cubicBezTo>
                    <a:pt x="5828465" y="4817819"/>
                    <a:pt x="5818288" y="4807641"/>
                    <a:pt x="5812250" y="4802639"/>
                  </a:cubicBezTo>
                  <a:cubicBezTo>
                    <a:pt x="5807765" y="4798154"/>
                    <a:pt x="5802590" y="4793842"/>
                    <a:pt x="5802417" y="4756408"/>
                  </a:cubicBezTo>
                  <a:cubicBezTo>
                    <a:pt x="5804143" y="4683613"/>
                    <a:pt x="5825015" y="4699828"/>
                    <a:pt x="5852443" y="4673608"/>
                  </a:cubicBezTo>
                  <a:cubicBezTo>
                    <a:pt x="5873488" y="4652735"/>
                    <a:pt x="5887460" y="4647560"/>
                    <a:pt x="5907816" y="4627723"/>
                  </a:cubicBezTo>
                  <a:cubicBezTo>
                    <a:pt x="5912473" y="4623238"/>
                    <a:pt x="5914888" y="4616682"/>
                    <a:pt x="5914716" y="4610817"/>
                  </a:cubicBezTo>
                  <a:cubicBezTo>
                    <a:pt x="5913508" y="4588220"/>
                    <a:pt x="5891428" y="4564587"/>
                    <a:pt x="5892808" y="4554410"/>
                  </a:cubicBezTo>
                  <a:cubicBezTo>
                    <a:pt x="5893153" y="4551994"/>
                    <a:pt x="5892808" y="4551994"/>
                    <a:pt x="5895568" y="4550097"/>
                  </a:cubicBezTo>
                  <a:cubicBezTo>
                    <a:pt x="5905401" y="4543887"/>
                    <a:pt x="5910921" y="4534227"/>
                    <a:pt x="5910403" y="4524912"/>
                  </a:cubicBezTo>
                  <a:cubicBezTo>
                    <a:pt x="5909713" y="4506799"/>
                    <a:pt x="5899191" y="4491619"/>
                    <a:pt x="5899363" y="4467124"/>
                  </a:cubicBezTo>
                  <a:cubicBezTo>
                    <a:pt x="5899363" y="4461086"/>
                    <a:pt x="5899708" y="4457119"/>
                    <a:pt x="5900226" y="4454876"/>
                  </a:cubicBezTo>
                  <a:cubicBezTo>
                    <a:pt x="5905401" y="4456774"/>
                    <a:pt x="5920063" y="4464709"/>
                    <a:pt x="5938349" y="4464881"/>
                  </a:cubicBezTo>
                  <a:cubicBezTo>
                    <a:pt x="5954564" y="4464536"/>
                    <a:pt x="5964224" y="4465916"/>
                    <a:pt x="5973366" y="4458326"/>
                  </a:cubicBezTo>
                  <a:cubicBezTo>
                    <a:pt x="5981474" y="4449184"/>
                    <a:pt x="5980784" y="4439351"/>
                    <a:pt x="5982509" y="4421756"/>
                  </a:cubicBezTo>
                  <a:cubicBezTo>
                    <a:pt x="5983371" y="4411578"/>
                    <a:pt x="5984924" y="4405541"/>
                    <a:pt x="5985959" y="4402953"/>
                  </a:cubicBezTo>
                  <a:cubicBezTo>
                    <a:pt x="5993376" y="4408301"/>
                    <a:pt x="6014766" y="4423826"/>
                    <a:pt x="6032189" y="4440904"/>
                  </a:cubicBezTo>
                  <a:cubicBezTo>
                    <a:pt x="6039607" y="4447976"/>
                    <a:pt x="6048577" y="4450909"/>
                    <a:pt x="6056857" y="4450909"/>
                  </a:cubicBezTo>
                  <a:cubicBezTo>
                    <a:pt x="6062032" y="4450736"/>
                    <a:pt x="6066689" y="4449874"/>
                    <a:pt x="6071175" y="4448321"/>
                  </a:cubicBezTo>
                  <a:cubicBezTo>
                    <a:pt x="6076005" y="4437281"/>
                    <a:pt x="6082215" y="4427276"/>
                    <a:pt x="6086700" y="4420549"/>
                  </a:cubicBezTo>
                  <a:cubicBezTo>
                    <a:pt x="6086872" y="4420204"/>
                    <a:pt x="6086872" y="4419858"/>
                    <a:pt x="6087045" y="4419686"/>
                  </a:cubicBezTo>
                  <a:cubicBezTo>
                    <a:pt x="6085492" y="4420893"/>
                    <a:pt x="6082387" y="4423481"/>
                    <a:pt x="6077902" y="4426241"/>
                  </a:cubicBezTo>
                  <a:cubicBezTo>
                    <a:pt x="6071692" y="4430036"/>
                    <a:pt x="6063585" y="4433486"/>
                    <a:pt x="6057029" y="4433313"/>
                  </a:cubicBezTo>
                  <a:cubicBezTo>
                    <a:pt x="6052372" y="4433313"/>
                    <a:pt x="6048059" y="4431761"/>
                    <a:pt x="6043747" y="4427966"/>
                  </a:cubicBezTo>
                  <a:cubicBezTo>
                    <a:pt x="6020977" y="4405541"/>
                    <a:pt x="5992859" y="4386738"/>
                    <a:pt x="5992859" y="4386566"/>
                  </a:cubicBezTo>
                  <a:cubicBezTo>
                    <a:pt x="5992169" y="4386221"/>
                    <a:pt x="5989926" y="4384496"/>
                    <a:pt x="5985614" y="4384496"/>
                  </a:cubicBezTo>
                  <a:cubicBezTo>
                    <a:pt x="5974401" y="4385186"/>
                    <a:pt x="5967846" y="4396053"/>
                    <a:pt x="5966294" y="4420376"/>
                  </a:cubicBezTo>
                  <a:cubicBezTo>
                    <a:pt x="5965431" y="4438316"/>
                    <a:pt x="5963016" y="4445389"/>
                    <a:pt x="5962499" y="4445389"/>
                  </a:cubicBezTo>
                  <a:cubicBezTo>
                    <a:pt x="5962499" y="4446251"/>
                    <a:pt x="5955599" y="4447976"/>
                    <a:pt x="5938866" y="4447459"/>
                  </a:cubicBezTo>
                  <a:cubicBezTo>
                    <a:pt x="5921098" y="4447631"/>
                    <a:pt x="5912301" y="4438316"/>
                    <a:pt x="5898846" y="4436764"/>
                  </a:cubicBezTo>
                  <a:cubicBezTo>
                    <a:pt x="5893498" y="4436074"/>
                    <a:pt x="5886943" y="4441421"/>
                    <a:pt x="5885563" y="4446941"/>
                  </a:cubicBezTo>
                  <a:cubicBezTo>
                    <a:pt x="5883665" y="4452289"/>
                    <a:pt x="5883148" y="4457982"/>
                    <a:pt x="5883148" y="4466779"/>
                  </a:cubicBezTo>
                  <a:cubicBezTo>
                    <a:pt x="5883321" y="4495932"/>
                    <a:pt x="5894878" y="4515942"/>
                    <a:pt x="5894188" y="4524567"/>
                  </a:cubicBezTo>
                  <a:cubicBezTo>
                    <a:pt x="5894016" y="4528362"/>
                    <a:pt x="5893843" y="4530087"/>
                    <a:pt x="5886943" y="4535090"/>
                  </a:cubicBezTo>
                  <a:cubicBezTo>
                    <a:pt x="5880043" y="4539229"/>
                    <a:pt x="5876248" y="4546992"/>
                    <a:pt x="5876421" y="4554237"/>
                  </a:cubicBezTo>
                  <a:cubicBezTo>
                    <a:pt x="5877973" y="4576662"/>
                    <a:pt x="5899708" y="4600122"/>
                    <a:pt x="5898155" y="4610645"/>
                  </a:cubicBezTo>
                  <a:cubicBezTo>
                    <a:pt x="5898155" y="4612715"/>
                    <a:pt x="5897983" y="4613233"/>
                    <a:pt x="5896603" y="4614785"/>
                  </a:cubicBezTo>
                  <a:cubicBezTo>
                    <a:pt x="5878491" y="4632553"/>
                    <a:pt x="5864345" y="4638072"/>
                    <a:pt x="5841230" y="4660671"/>
                  </a:cubicBezTo>
                  <a:cubicBezTo>
                    <a:pt x="5824325" y="4677575"/>
                    <a:pt x="5784305" y="4677575"/>
                    <a:pt x="5785857" y="4756236"/>
                  </a:cubicBezTo>
                  <a:cubicBezTo>
                    <a:pt x="5785512" y="4794359"/>
                    <a:pt x="5792930" y="4807641"/>
                    <a:pt x="5801038" y="4815404"/>
                  </a:cubicBezTo>
                  <a:cubicBezTo>
                    <a:pt x="5807592" y="4822649"/>
                    <a:pt x="5810008" y="4819027"/>
                    <a:pt x="5811043" y="4845419"/>
                  </a:cubicBezTo>
                  <a:cubicBezTo>
                    <a:pt x="5810698" y="4899240"/>
                    <a:pt x="5803452" y="4918387"/>
                    <a:pt x="5781200" y="4935637"/>
                  </a:cubicBezTo>
                  <a:cubicBezTo>
                    <a:pt x="5768262" y="4946333"/>
                    <a:pt x="5753254" y="4951852"/>
                    <a:pt x="5752047" y="4970483"/>
                  </a:cubicBezTo>
                  <a:cubicBezTo>
                    <a:pt x="5752392" y="4983765"/>
                    <a:pt x="5761017" y="4994460"/>
                    <a:pt x="5777923" y="5011193"/>
                  </a:cubicBezTo>
                  <a:cubicBezTo>
                    <a:pt x="5795173" y="5028098"/>
                    <a:pt x="5797932" y="5036378"/>
                    <a:pt x="5797932" y="5041726"/>
                  </a:cubicBezTo>
                  <a:cubicBezTo>
                    <a:pt x="5798622" y="5048108"/>
                    <a:pt x="5791032" y="5058286"/>
                    <a:pt x="5789135" y="5077088"/>
                  </a:cubicBezTo>
                  <a:cubicBezTo>
                    <a:pt x="5786548" y="5104171"/>
                    <a:pt x="5774645" y="5117453"/>
                    <a:pt x="5762915" y="5124526"/>
                  </a:cubicBezTo>
                  <a:cubicBezTo>
                    <a:pt x="5746355" y="5135394"/>
                    <a:pt x="5704954" y="5186109"/>
                    <a:pt x="5667349" y="5185592"/>
                  </a:cubicBezTo>
                  <a:cubicBezTo>
                    <a:pt x="5666659" y="5185592"/>
                    <a:pt x="5665451" y="5185592"/>
                    <a:pt x="5664072" y="5185592"/>
                  </a:cubicBezTo>
                  <a:cubicBezTo>
                    <a:pt x="5622499" y="5183176"/>
                    <a:pt x="5640784" y="5177484"/>
                    <a:pt x="5594726" y="5177484"/>
                  </a:cubicBezTo>
                  <a:cubicBezTo>
                    <a:pt x="5550393" y="5177484"/>
                    <a:pt x="5506060" y="5177484"/>
                    <a:pt x="5475355" y="5177484"/>
                  </a:cubicBezTo>
                  <a:cubicBezTo>
                    <a:pt x="5456725" y="5177829"/>
                    <a:pt x="5430332" y="5191112"/>
                    <a:pt x="5404112" y="5204222"/>
                  </a:cubicBezTo>
                  <a:cubicBezTo>
                    <a:pt x="5378582" y="5217159"/>
                    <a:pt x="5352017" y="5230097"/>
                    <a:pt x="5347359" y="5229234"/>
                  </a:cubicBezTo>
                  <a:cubicBezTo>
                    <a:pt x="5337699" y="5225612"/>
                    <a:pt x="5313722" y="5214572"/>
                    <a:pt x="5292331" y="5214227"/>
                  </a:cubicBezTo>
                  <a:cubicBezTo>
                    <a:pt x="5283534" y="5214227"/>
                    <a:pt x="5274219" y="5216124"/>
                    <a:pt x="5267146" y="5223197"/>
                  </a:cubicBezTo>
                  <a:cubicBezTo>
                    <a:pt x="5264213" y="5227682"/>
                    <a:pt x="5239028" y="5231649"/>
                    <a:pt x="5212981" y="5235790"/>
                  </a:cubicBezTo>
                  <a:cubicBezTo>
                    <a:pt x="5186588" y="5240964"/>
                    <a:pt x="5157090" y="5248037"/>
                    <a:pt x="5138978" y="5269945"/>
                  </a:cubicBezTo>
                  <a:cubicBezTo>
                    <a:pt x="5106547" y="5310655"/>
                    <a:pt x="5110860" y="5331528"/>
                    <a:pt x="5069632" y="5351538"/>
                  </a:cubicBezTo>
                  <a:cubicBezTo>
                    <a:pt x="5047034" y="5362578"/>
                    <a:pt x="5035304" y="5370168"/>
                    <a:pt x="5027887" y="5378793"/>
                  </a:cubicBezTo>
                  <a:cubicBezTo>
                    <a:pt x="5027542" y="5379138"/>
                    <a:pt x="5027197" y="5379656"/>
                    <a:pt x="5027024" y="5380346"/>
                  </a:cubicBezTo>
                  <a:cubicBezTo>
                    <a:pt x="5028232" y="5380691"/>
                    <a:pt x="5029095" y="5381208"/>
                    <a:pt x="5029095" y="5381208"/>
                  </a:cubicBezTo>
                  <a:lnTo>
                    <a:pt x="5022884" y="5397423"/>
                  </a:lnTo>
                  <a:cubicBezTo>
                    <a:pt x="5022884" y="5397423"/>
                    <a:pt x="5022022" y="5397078"/>
                    <a:pt x="5020814" y="5396560"/>
                  </a:cubicBezTo>
                  <a:cubicBezTo>
                    <a:pt x="5020470" y="5399838"/>
                    <a:pt x="5020470" y="5402771"/>
                    <a:pt x="5020470" y="5405531"/>
                  </a:cubicBezTo>
                  <a:cubicBezTo>
                    <a:pt x="5022884" y="5411913"/>
                    <a:pt x="4995457" y="5435373"/>
                    <a:pt x="4994594" y="5470046"/>
                  </a:cubicBezTo>
                  <a:cubicBezTo>
                    <a:pt x="4994594" y="5473324"/>
                    <a:pt x="4994766" y="5476429"/>
                    <a:pt x="4995457" y="5480051"/>
                  </a:cubicBezTo>
                  <a:cubicBezTo>
                    <a:pt x="5000977" y="5510067"/>
                    <a:pt x="5032544" y="5552847"/>
                    <a:pt x="5031337" y="5565612"/>
                  </a:cubicBezTo>
                  <a:cubicBezTo>
                    <a:pt x="5031337" y="5566474"/>
                    <a:pt x="5031337" y="5566302"/>
                    <a:pt x="5031337" y="5566474"/>
                  </a:cubicBezTo>
                  <a:cubicBezTo>
                    <a:pt x="5031337" y="5566474"/>
                    <a:pt x="5030992" y="5567164"/>
                    <a:pt x="5027887" y="5567337"/>
                  </a:cubicBezTo>
                  <a:cubicBezTo>
                    <a:pt x="4993732" y="5571304"/>
                    <a:pt x="4924214" y="5578032"/>
                    <a:pt x="4906963" y="5615982"/>
                  </a:cubicBezTo>
                  <a:cubicBezTo>
                    <a:pt x="4900754" y="5633232"/>
                    <a:pt x="4898856" y="5658418"/>
                    <a:pt x="4894198" y="5681360"/>
                  </a:cubicBezTo>
                  <a:cubicBezTo>
                    <a:pt x="4889541" y="5704475"/>
                    <a:pt x="4881606" y="5721725"/>
                    <a:pt x="4870738" y="5724485"/>
                  </a:cubicBezTo>
                  <a:cubicBezTo>
                    <a:pt x="4832960" y="5736906"/>
                    <a:pt x="4817953" y="5773648"/>
                    <a:pt x="4812260" y="5809874"/>
                  </a:cubicBezTo>
                  <a:cubicBezTo>
                    <a:pt x="4806913" y="5844891"/>
                    <a:pt x="4801220" y="5865591"/>
                    <a:pt x="4794147" y="5876804"/>
                  </a:cubicBezTo>
                  <a:cubicBezTo>
                    <a:pt x="4786558" y="5889569"/>
                    <a:pt x="4730495" y="5968747"/>
                    <a:pt x="4717385" y="5983927"/>
                  </a:cubicBezTo>
                  <a:cubicBezTo>
                    <a:pt x="4707207" y="5996692"/>
                    <a:pt x="4659597" y="6014460"/>
                    <a:pt x="4633894" y="6027915"/>
                  </a:cubicBezTo>
                  <a:cubicBezTo>
                    <a:pt x="4604741" y="6045683"/>
                    <a:pt x="4574036" y="6111406"/>
                    <a:pt x="4544366" y="6116236"/>
                  </a:cubicBezTo>
                  <a:cubicBezTo>
                    <a:pt x="4506933" y="6124516"/>
                    <a:pt x="4486405" y="6142974"/>
                    <a:pt x="4479851" y="6165571"/>
                  </a:cubicBezTo>
                  <a:cubicBezTo>
                    <a:pt x="4475365" y="6181959"/>
                    <a:pt x="4451043" y="6213009"/>
                    <a:pt x="4446558" y="6228017"/>
                  </a:cubicBezTo>
                  <a:cubicBezTo>
                    <a:pt x="4448455" y="6230604"/>
                    <a:pt x="4430170" y="6237677"/>
                    <a:pt x="4403950" y="6267692"/>
                  </a:cubicBezTo>
                  <a:cubicBezTo>
                    <a:pt x="4377730" y="6298570"/>
                    <a:pt x="4376695" y="6321857"/>
                    <a:pt x="4376867" y="6335830"/>
                  </a:cubicBezTo>
                  <a:cubicBezTo>
                    <a:pt x="4376867" y="6340315"/>
                    <a:pt x="4377730" y="6345663"/>
                    <a:pt x="4377730" y="6352045"/>
                  </a:cubicBezTo>
                  <a:cubicBezTo>
                    <a:pt x="4376522" y="6368088"/>
                    <a:pt x="4375487" y="6387925"/>
                    <a:pt x="4338572" y="6394998"/>
                  </a:cubicBezTo>
                  <a:cubicBezTo>
                    <a:pt x="4332189" y="6378783"/>
                    <a:pt x="4320632" y="6366535"/>
                    <a:pt x="4305452" y="6352390"/>
                  </a:cubicBezTo>
                  <a:lnTo>
                    <a:pt x="4303382" y="6350493"/>
                  </a:lnTo>
                  <a:lnTo>
                    <a:pt x="4301312" y="6349802"/>
                  </a:lnTo>
                  <a:cubicBezTo>
                    <a:pt x="4292859" y="6347733"/>
                    <a:pt x="4284752" y="6346525"/>
                    <a:pt x="4277334" y="6346525"/>
                  </a:cubicBezTo>
                  <a:cubicBezTo>
                    <a:pt x="4252839" y="6346525"/>
                    <a:pt x="4238866" y="6358255"/>
                    <a:pt x="4225756" y="6369295"/>
                  </a:cubicBezTo>
                  <a:cubicBezTo>
                    <a:pt x="4212819" y="6379818"/>
                    <a:pt x="4207471" y="6380163"/>
                    <a:pt x="4186943" y="6381370"/>
                  </a:cubicBezTo>
                  <a:cubicBezTo>
                    <a:pt x="4176248" y="6382060"/>
                    <a:pt x="4164518" y="6382923"/>
                    <a:pt x="4148820" y="6384993"/>
                  </a:cubicBezTo>
                  <a:cubicBezTo>
                    <a:pt x="4139505" y="6384993"/>
                    <a:pt x="4132605" y="6382405"/>
                    <a:pt x="4127430" y="6377058"/>
                  </a:cubicBezTo>
                  <a:cubicBezTo>
                    <a:pt x="4114838" y="6363775"/>
                    <a:pt x="4116563" y="6336175"/>
                    <a:pt x="4117253" y="6324445"/>
                  </a:cubicBezTo>
                  <a:cubicBezTo>
                    <a:pt x="4117425" y="6321857"/>
                    <a:pt x="4117425" y="6319787"/>
                    <a:pt x="4117425" y="6318752"/>
                  </a:cubicBezTo>
                  <a:cubicBezTo>
                    <a:pt x="4117253" y="6311334"/>
                    <a:pt x="4112768" y="6303400"/>
                    <a:pt x="4108283" y="6295465"/>
                  </a:cubicBezTo>
                  <a:cubicBezTo>
                    <a:pt x="4105868" y="6291497"/>
                    <a:pt x="4101900" y="6284424"/>
                    <a:pt x="4101900" y="6280284"/>
                  </a:cubicBezTo>
                  <a:cubicBezTo>
                    <a:pt x="4101728" y="6270969"/>
                    <a:pt x="4101555" y="6253374"/>
                    <a:pt x="4098450" y="6219219"/>
                  </a:cubicBezTo>
                  <a:cubicBezTo>
                    <a:pt x="4096898" y="6202141"/>
                    <a:pt x="4096898" y="6194207"/>
                    <a:pt x="4096725" y="6186961"/>
                  </a:cubicBezTo>
                  <a:cubicBezTo>
                    <a:pt x="4096725" y="6179026"/>
                    <a:pt x="4096552" y="6172816"/>
                    <a:pt x="4095000" y="6159361"/>
                  </a:cubicBezTo>
                  <a:cubicBezTo>
                    <a:pt x="4093275" y="6143146"/>
                    <a:pt x="4093448" y="6133141"/>
                    <a:pt x="4093792" y="6120031"/>
                  </a:cubicBezTo>
                  <a:cubicBezTo>
                    <a:pt x="4093792" y="6111923"/>
                    <a:pt x="4093965" y="6102781"/>
                    <a:pt x="4093792" y="6090360"/>
                  </a:cubicBezTo>
                  <a:cubicBezTo>
                    <a:pt x="4093620" y="6069833"/>
                    <a:pt x="4084650" y="6057931"/>
                    <a:pt x="4076542" y="6047235"/>
                  </a:cubicBezTo>
                  <a:cubicBezTo>
                    <a:pt x="4070505" y="6039128"/>
                    <a:pt x="4064812" y="6031710"/>
                    <a:pt x="4062742" y="6020153"/>
                  </a:cubicBezTo>
                  <a:cubicBezTo>
                    <a:pt x="4060845" y="6009630"/>
                    <a:pt x="4052910" y="5992207"/>
                    <a:pt x="4021859" y="5992207"/>
                  </a:cubicBezTo>
                  <a:cubicBezTo>
                    <a:pt x="4014442" y="5992207"/>
                    <a:pt x="4007197" y="5993070"/>
                    <a:pt x="4000297" y="5993932"/>
                  </a:cubicBezTo>
                  <a:lnTo>
                    <a:pt x="3997537" y="5994278"/>
                  </a:lnTo>
                  <a:cubicBezTo>
                    <a:pt x="3995812" y="5994450"/>
                    <a:pt x="3994259" y="5994622"/>
                    <a:pt x="3993569" y="5994622"/>
                  </a:cubicBezTo>
                  <a:lnTo>
                    <a:pt x="3991499" y="5994622"/>
                  </a:lnTo>
                  <a:cubicBezTo>
                    <a:pt x="3964762" y="5994622"/>
                    <a:pt x="3952514" y="5989275"/>
                    <a:pt x="3949926" y="5976682"/>
                  </a:cubicBezTo>
                  <a:cubicBezTo>
                    <a:pt x="3944579" y="5949945"/>
                    <a:pt x="3929226" y="5945977"/>
                    <a:pt x="3920429" y="5945977"/>
                  </a:cubicBezTo>
                  <a:lnTo>
                    <a:pt x="3917496" y="5946150"/>
                  </a:lnTo>
                  <a:lnTo>
                    <a:pt x="3915599" y="5947185"/>
                  </a:lnTo>
                  <a:cubicBezTo>
                    <a:pt x="3877131" y="5970300"/>
                    <a:pt x="3864366" y="5979442"/>
                    <a:pt x="3857811" y="5989620"/>
                  </a:cubicBezTo>
                  <a:cubicBezTo>
                    <a:pt x="3817790" y="5992035"/>
                    <a:pt x="3802610" y="5992207"/>
                    <a:pt x="3794675" y="5992207"/>
                  </a:cubicBezTo>
                  <a:lnTo>
                    <a:pt x="3787258" y="5992207"/>
                  </a:lnTo>
                  <a:lnTo>
                    <a:pt x="3781220" y="5992207"/>
                  </a:lnTo>
                  <a:cubicBezTo>
                    <a:pt x="3732747" y="5992207"/>
                    <a:pt x="3730160" y="5985653"/>
                    <a:pt x="3729987" y="5984790"/>
                  </a:cubicBezTo>
                  <a:cubicBezTo>
                    <a:pt x="3727055" y="5969610"/>
                    <a:pt x="3707217" y="5966677"/>
                    <a:pt x="3678065" y="5966677"/>
                  </a:cubicBezTo>
                  <a:cubicBezTo>
                    <a:pt x="3665644" y="5966677"/>
                    <a:pt x="3651844" y="5967367"/>
                    <a:pt x="3638389" y="5967885"/>
                  </a:cubicBezTo>
                  <a:lnTo>
                    <a:pt x="3622519" y="5968575"/>
                  </a:lnTo>
                  <a:cubicBezTo>
                    <a:pt x="3615964" y="5968575"/>
                    <a:pt x="3610962" y="5967367"/>
                    <a:pt x="3609582" y="5965125"/>
                  </a:cubicBezTo>
                  <a:cubicBezTo>
                    <a:pt x="3606649" y="5960812"/>
                    <a:pt x="3610789" y="5948737"/>
                    <a:pt x="3613204" y="5941837"/>
                  </a:cubicBezTo>
                  <a:cubicBezTo>
                    <a:pt x="3615101" y="5936490"/>
                    <a:pt x="3616481" y="5932522"/>
                    <a:pt x="3616481" y="5928900"/>
                  </a:cubicBezTo>
                  <a:cubicBezTo>
                    <a:pt x="3616481" y="5920447"/>
                    <a:pt x="3620104" y="5828159"/>
                    <a:pt x="3631662" y="5783653"/>
                  </a:cubicBezTo>
                  <a:cubicBezTo>
                    <a:pt x="3640459" y="5750016"/>
                    <a:pt x="3636492" y="5737423"/>
                    <a:pt x="3632352" y="5724141"/>
                  </a:cubicBezTo>
                  <a:cubicBezTo>
                    <a:pt x="3630627" y="5718620"/>
                    <a:pt x="3628902" y="5713273"/>
                    <a:pt x="3628039" y="5705856"/>
                  </a:cubicBezTo>
                  <a:cubicBezTo>
                    <a:pt x="3626314" y="5690503"/>
                    <a:pt x="3615274" y="5666525"/>
                    <a:pt x="3603371" y="5640822"/>
                  </a:cubicBezTo>
                  <a:cubicBezTo>
                    <a:pt x="3594401" y="5621329"/>
                    <a:pt x="3583879" y="5599249"/>
                    <a:pt x="3583879" y="5591314"/>
                  </a:cubicBezTo>
                  <a:cubicBezTo>
                    <a:pt x="3583706" y="5580792"/>
                    <a:pt x="3579049" y="5572339"/>
                    <a:pt x="3575081" y="5565267"/>
                  </a:cubicBezTo>
                  <a:cubicBezTo>
                    <a:pt x="3569389" y="5554399"/>
                    <a:pt x="3569906" y="5553882"/>
                    <a:pt x="3572494" y="5551639"/>
                  </a:cubicBezTo>
                  <a:cubicBezTo>
                    <a:pt x="3572839" y="5551294"/>
                    <a:pt x="3620277" y="5508686"/>
                    <a:pt x="3619931" y="5492989"/>
                  </a:cubicBezTo>
                  <a:cubicBezTo>
                    <a:pt x="3619759" y="5484536"/>
                    <a:pt x="3610962" y="5477464"/>
                    <a:pt x="3590951" y="5462111"/>
                  </a:cubicBezTo>
                  <a:cubicBezTo>
                    <a:pt x="3583189" y="5456418"/>
                    <a:pt x="3574736" y="5450036"/>
                    <a:pt x="3573011" y="5448311"/>
                  </a:cubicBezTo>
                  <a:cubicBezTo>
                    <a:pt x="3572149" y="5442963"/>
                    <a:pt x="3581464" y="5418813"/>
                    <a:pt x="3596644" y="5392421"/>
                  </a:cubicBezTo>
                  <a:lnTo>
                    <a:pt x="3598196" y="5388625"/>
                  </a:lnTo>
                  <a:cubicBezTo>
                    <a:pt x="3599404" y="5382070"/>
                    <a:pt x="3604752" y="5356713"/>
                    <a:pt x="3621657" y="5309965"/>
                  </a:cubicBezTo>
                  <a:cubicBezTo>
                    <a:pt x="3628557" y="5290990"/>
                    <a:pt x="3634422" y="5277535"/>
                    <a:pt x="3639597" y="5265977"/>
                  </a:cubicBezTo>
                  <a:cubicBezTo>
                    <a:pt x="3647704" y="5247347"/>
                    <a:pt x="3653224" y="5235272"/>
                    <a:pt x="3653052" y="5216124"/>
                  </a:cubicBezTo>
                  <a:cubicBezTo>
                    <a:pt x="3652879" y="5201807"/>
                    <a:pt x="3658227" y="5189387"/>
                    <a:pt x="3664782" y="5173862"/>
                  </a:cubicBezTo>
                  <a:cubicBezTo>
                    <a:pt x="3669439" y="5162994"/>
                    <a:pt x="3674787" y="5150574"/>
                    <a:pt x="3678927" y="5135739"/>
                  </a:cubicBezTo>
                  <a:cubicBezTo>
                    <a:pt x="3686690" y="5107621"/>
                    <a:pt x="3682549" y="5084851"/>
                    <a:pt x="3679789" y="5071568"/>
                  </a:cubicBezTo>
                  <a:cubicBezTo>
                    <a:pt x="3749135" y="5056216"/>
                    <a:pt x="3789328" y="5020508"/>
                    <a:pt x="3793123" y="4992045"/>
                  </a:cubicBezTo>
                  <a:cubicBezTo>
                    <a:pt x="3793468" y="4970483"/>
                    <a:pt x="3828830" y="4942365"/>
                    <a:pt x="3857983" y="4927875"/>
                  </a:cubicBezTo>
                  <a:cubicBezTo>
                    <a:pt x="3867298" y="4923045"/>
                    <a:pt x="3874371" y="4922182"/>
                    <a:pt x="3881961" y="4922182"/>
                  </a:cubicBezTo>
                  <a:cubicBezTo>
                    <a:pt x="3886791" y="4922182"/>
                    <a:pt x="3891966" y="4922872"/>
                    <a:pt x="3897831" y="4922872"/>
                  </a:cubicBezTo>
                  <a:cubicBezTo>
                    <a:pt x="3907664" y="4922872"/>
                    <a:pt x="3919566" y="4921147"/>
                    <a:pt x="3932159" y="4912177"/>
                  </a:cubicBezTo>
                  <a:cubicBezTo>
                    <a:pt x="3935436" y="4909762"/>
                    <a:pt x="3941129" y="4908382"/>
                    <a:pt x="3948546" y="4908555"/>
                  </a:cubicBezTo>
                  <a:cubicBezTo>
                    <a:pt x="3981667" y="4908209"/>
                    <a:pt x="4033934" y="4933912"/>
                    <a:pt x="4050322" y="4934775"/>
                  </a:cubicBezTo>
                  <a:lnTo>
                    <a:pt x="4050322" y="4934947"/>
                  </a:lnTo>
                  <a:cubicBezTo>
                    <a:pt x="4063087" y="4938915"/>
                    <a:pt x="4113113" y="4995668"/>
                    <a:pt x="4155893" y="5015160"/>
                  </a:cubicBezTo>
                  <a:cubicBezTo>
                    <a:pt x="4166761" y="5019990"/>
                    <a:pt x="4177283" y="5022060"/>
                    <a:pt x="4187288" y="5022060"/>
                  </a:cubicBezTo>
                  <a:cubicBezTo>
                    <a:pt x="4221271" y="5021888"/>
                    <a:pt x="4246456" y="4998255"/>
                    <a:pt x="4267674" y="4978935"/>
                  </a:cubicBezTo>
                  <a:cubicBezTo>
                    <a:pt x="4274919" y="4972380"/>
                    <a:pt x="4280094" y="4970655"/>
                    <a:pt x="4283199" y="4970655"/>
                  </a:cubicBezTo>
                  <a:cubicBezTo>
                    <a:pt x="4290271" y="4969448"/>
                    <a:pt x="4301139" y="4983938"/>
                    <a:pt x="4315284" y="5003085"/>
                  </a:cubicBezTo>
                  <a:cubicBezTo>
                    <a:pt x="4322357" y="5012055"/>
                    <a:pt x="4330292" y="5018093"/>
                    <a:pt x="4339779" y="5018093"/>
                  </a:cubicBezTo>
                  <a:cubicBezTo>
                    <a:pt x="4358582" y="5016885"/>
                    <a:pt x="4370140" y="4999980"/>
                    <a:pt x="4392737" y="4978935"/>
                  </a:cubicBezTo>
                  <a:cubicBezTo>
                    <a:pt x="4416197" y="4955820"/>
                    <a:pt x="4444143" y="4942882"/>
                    <a:pt x="4457425" y="4937535"/>
                  </a:cubicBezTo>
                  <a:cubicBezTo>
                    <a:pt x="4458288" y="4940985"/>
                    <a:pt x="4458978" y="4945815"/>
                    <a:pt x="4458978" y="4951852"/>
                  </a:cubicBezTo>
                  <a:cubicBezTo>
                    <a:pt x="4458978" y="4967895"/>
                    <a:pt x="4453803" y="4991355"/>
                    <a:pt x="4428963" y="5018611"/>
                  </a:cubicBezTo>
                  <a:cubicBezTo>
                    <a:pt x="4413782" y="5035171"/>
                    <a:pt x="4407227" y="5047763"/>
                    <a:pt x="4407055" y="5059838"/>
                  </a:cubicBezTo>
                  <a:cubicBezTo>
                    <a:pt x="4410505" y="5090716"/>
                    <a:pt x="4445005" y="5086576"/>
                    <a:pt x="4445005" y="5087611"/>
                  </a:cubicBezTo>
                  <a:cubicBezTo>
                    <a:pt x="4444143" y="5087611"/>
                    <a:pt x="4511763" y="5099168"/>
                    <a:pt x="4520388" y="5099341"/>
                  </a:cubicBezTo>
                  <a:cubicBezTo>
                    <a:pt x="4525046" y="5099168"/>
                    <a:pt x="4539363" y="5097443"/>
                    <a:pt x="4554543" y="5092959"/>
                  </a:cubicBezTo>
                  <a:cubicBezTo>
                    <a:pt x="4560581" y="5090888"/>
                    <a:pt x="4567136" y="5088991"/>
                    <a:pt x="4572829" y="5085886"/>
                  </a:cubicBezTo>
                  <a:cubicBezTo>
                    <a:pt x="4572138" y="5084851"/>
                    <a:pt x="4571966" y="5083988"/>
                    <a:pt x="4571966" y="5083988"/>
                  </a:cubicBezTo>
                  <a:lnTo>
                    <a:pt x="4572311" y="5083816"/>
                  </a:lnTo>
                  <a:cubicBezTo>
                    <a:pt x="4572484" y="5084161"/>
                    <a:pt x="4572656" y="5084506"/>
                    <a:pt x="4572829" y="5084851"/>
                  </a:cubicBezTo>
                  <a:cubicBezTo>
                    <a:pt x="4574726" y="5083988"/>
                    <a:pt x="4576451" y="5082953"/>
                    <a:pt x="4578003" y="5081918"/>
                  </a:cubicBezTo>
                  <a:cubicBezTo>
                    <a:pt x="4576624" y="5082781"/>
                    <a:pt x="4575416" y="5083643"/>
                    <a:pt x="4574036" y="5084506"/>
                  </a:cubicBezTo>
                  <a:cubicBezTo>
                    <a:pt x="4576451" y="5089336"/>
                    <a:pt x="4583179" y="5103998"/>
                    <a:pt x="4592149" y="5127631"/>
                  </a:cubicBezTo>
                  <a:cubicBezTo>
                    <a:pt x="4602326" y="5156439"/>
                    <a:pt x="4611124" y="5174034"/>
                    <a:pt x="4633031" y="5173862"/>
                  </a:cubicBezTo>
                  <a:cubicBezTo>
                    <a:pt x="4638207" y="5173862"/>
                    <a:pt x="4645797" y="5182141"/>
                    <a:pt x="4645797" y="5195252"/>
                  </a:cubicBezTo>
                  <a:cubicBezTo>
                    <a:pt x="4645797" y="5199909"/>
                    <a:pt x="4644762" y="5205084"/>
                    <a:pt x="4642347" y="5209914"/>
                  </a:cubicBezTo>
                  <a:cubicBezTo>
                    <a:pt x="4640794" y="5212847"/>
                    <a:pt x="4639759" y="5216124"/>
                    <a:pt x="4639759" y="5219747"/>
                  </a:cubicBezTo>
                  <a:cubicBezTo>
                    <a:pt x="4641312" y="5237342"/>
                    <a:pt x="4656492" y="5242172"/>
                    <a:pt x="4669602" y="5246657"/>
                  </a:cubicBezTo>
                  <a:cubicBezTo>
                    <a:pt x="4683229" y="5250970"/>
                    <a:pt x="4697719" y="5252694"/>
                    <a:pt x="4705137" y="5252694"/>
                  </a:cubicBezTo>
                  <a:cubicBezTo>
                    <a:pt x="4710830" y="5252694"/>
                    <a:pt x="4728942" y="5254592"/>
                    <a:pt x="4746192" y="5258215"/>
                  </a:cubicBezTo>
                  <a:cubicBezTo>
                    <a:pt x="4762925" y="5261492"/>
                    <a:pt x="4780520" y="5268220"/>
                    <a:pt x="4781900" y="5271325"/>
                  </a:cubicBezTo>
                  <a:cubicBezTo>
                    <a:pt x="4791733" y="5281330"/>
                    <a:pt x="4799150" y="5313243"/>
                    <a:pt x="4826923" y="5314968"/>
                  </a:cubicBezTo>
                  <a:cubicBezTo>
                    <a:pt x="4841413" y="5314277"/>
                    <a:pt x="4875913" y="5335323"/>
                    <a:pt x="4901098" y="5346880"/>
                  </a:cubicBezTo>
                  <a:cubicBezTo>
                    <a:pt x="4924214" y="5356885"/>
                    <a:pt x="5007532" y="5391903"/>
                    <a:pt x="5021159" y="5397596"/>
                  </a:cubicBezTo>
                  <a:cubicBezTo>
                    <a:pt x="5021159" y="5397423"/>
                    <a:pt x="5021332" y="5397078"/>
                    <a:pt x="5021332" y="5396906"/>
                  </a:cubicBezTo>
                  <a:cubicBezTo>
                    <a:pt x="5022539" y="5397423"/>
                    <a:pt x="5023230" y="5397596"/>
                    <a:pt x="5023230" y="5397596"/>
                  </a:cubicBezTo>
                  <a:lnTo>
                    <a:pt x="5029439" y="5381898"/>
                  </a:lnTo>
                  <a:cubicBezTo>
                    <a:pt x="5029439" y="5381898"/>
                    <a:pt x="5028577" y="5381553"/>
                    <a:pt x="5027369" y="5381035"/>
                  </a:cubicBezTo>
                  <a:cubicBezTo>
                    <a:pt x="5027369" y="5381035"/>
                    <a:pt x="5027369" y="5381208"/>
                    <a:pt x="5027197" y="5381208"/>
                  </a:cubicBezTo>
                  <a:cubicBezTo>
                    <a:pt x="5013397" y="5375515"/>
                    <a:pt x="4930596" y="5340670"/>
                    <a:pt x="4907826" y="5330665"/>
                  </a:cubicBezTo>
                  <a:cubicBezTo>
                    <a:pt x="4882986" y="5320488"/>
                    <a:pt x="4850728" y="5298235"/>
                    <a:pt x="4826750" y="5297545"/>
                  </a:cubicBezTo>
                  <a:cubicBezTo>
                    <a:pt x="4815883" y="5299270"/>
                    <a:pt x="4806568" y="5276845"/>
                    <a:pt x="4794147" y="5260112"/>
                  </a:cubicBezTo>
                  <a:cubicBezTo>
                    <a:pt x="4784660" y="5249417"/>
                    <a:pt x="4767410" y="5245622"/>
                    <a:pt x="4749125" y="5241309"/>
                  </a:cubicBezTo>
                  <a:cubicBezTo>
                    <a:pt x="4731012" y="5237514"/>
                    <a:pt x="4712899" y="5235272"/>
                    <a:pt x="4704792" y="5235272"/>
                  </a:cubicBezTo>
                  <a:cubicBezTo>
                    <a:pt x="4699617" y="5235272"/>
                    <a:pt x="4685645" y="5233720"/>
                    <a:pt x="4673915" y="5229925"/>
                  </a:cubicBezTo>
                  <a:cubicBezTo>
                    <a:pt x="4668222" y="5228200"/>
                    <a:pt x="4662874" y="5225784"/>
                    <a:pt x="4659597" y="5223714"/>
                  </a:cubicBezTo>
                  <a:cubicBezTo>
                    <a:pt x="4656146" y="5221127"/>
                    <a:pt x="4656146" y="5220092"/>
                    <a:pt x="4656146" y="5219919"/>
                  </a:cubicBezTo>
                  <a:cubicBezTo>
                    <a:pt x="4656146" y="5219747"/>
                    <a:pt x="4656146" y="5219229"/>
                    <a:pt x="4656492" y="5218367"/>
                  </a:cubicBezTo>
                  <a:cubicBezTo>
                    <a:pt x="4660287" y="5210949"/>
                    <a:pt x="4662012" y="5203014"/>
                    <a:pt x="4662012" y="5195424"/>
                  </a:cubicBezTo>
                  <a:cubicBezTo>
                    <a:pt x="4662012" y="5176621"/>
                    <a:pt x="4651662" y="5157301"/>
                    <a:pt x="4632687" y="5156612"/>
                  </a:cubicBezTo>
                  <a:cubicBezTo>
                    <a:pt x="4621646" y="5156612"/>
                    <a:pt x="4619231" y="5152299"/>
                    <a:pt x="4607156" y="5121594"/>
                  </a:cubicBezTo>
                  <a:cubicBezTo>
                    <a:pt x="4595944" y="5091406"/>
                    <a:pt x="4587319" y="5074846"/>
                    <a:pt x="4587319" y="5074501"/>
                  </a:cubicBezTo>
                  <a:lnTo>
                    <a:pt x="4584214" y="5076226"/>
                  </a:lnTo>
                  <a:cubicBezTo>
                    <a:pt x="4584041" y="5076398"/>
                    <a:pt x="4584041" y="5076398"/>
                    <a:pt x="4583869" y="5076571"/>
                  </a:cubicBezTo>
                  <a:cubicBezTo>
                    <a:pt x="4585939" y="5073638"/>
                    <a:pt x="4587319" y="5070016"/>
                    <a:pt x="4588009" y="5065703"/>
                  </a:cubicBezTo>
                  <a:cubicBezTo>
                    <a:pt x="4587836" y="5047763"/>
                    <a:pt x="4579729" y="5004293"/>
                    <a:pt x="4579901" y="4969792"/>
                  </a:cubicBezTo>
                  <a:cubicBezTo>
                    <a:pt x="4579901" y="4966343"/>
                    <a:pt x="4579901" y="4963237"/>
                    <a:pt x="4580074" y="4959960"/>
                  </a:cubicBezTo>
                  <a:cubicBezTo>
                    <a:pt x="4581798" y="4925632"/>
                    <a:pt x="4597841" y="4890270"/>
                    <a:pt x="4598014" y="4841797"/>
                  </a:cubicBezTo>
                  <a:cubicBezTo>
                    <a:pt x="4594736" y="4807124"/>
                    <a:pt x="4673569" y="4785561"/>
                    <a:pt x="4697892" y="4776591"/>
                  </a:cubicBezTo>
                  <a:cubicBezTo>
                    <a:pt x="4715660" y="4768656"/>
                    <a:pt x="4717040" y="4750198"/>
                    <a:pt x="4716867" y="4734846"/>
                  </a:cubicBezTo>
                  <a:cubicBezTo>
                    <a:pt x="4716867" y="4731051"/>
                    <a:pt x="4716867" y="4727083"/>
                    <a:pt x="4716867" y="4723288"/>
                  </a:cubicBezTo>
                  <a:cubicBezTo>
                    <a:pt x="4716867" y="4715353"/>
                    <a:pt x="4717212" y="4707073"/>
                    <a:pt x="4718764" y="4698793"/>
                  </a:cubicBezTo>
                  <a:cubicBezTo>
                    <a:pt x="4722387" y="4672918"/>
                    <a:pt x="4763960" y="4646525"/>
                    <a:pt x="4804325" y="4619615"/>
                  </a:cubicBezTo>
                  <a:cubicBezTo>
                    <a:pt x="4844691" y="4592360"/>
                    <a:pt x="4878328" y="4561137"/>
                    <a:pt x="4904721" y="4496104"/>
                  </a:cubicBezTo>
                  <a:cubicBezTo>
                    <a:pt x="4916451" y="4467296"/>
                    <a:pt x="4938359" y="4453841"/>
                    <a:pt x="4960784" y="4444354"/>
                  </a:cubicBezTo>
                  <a:cubicBezTo>
                    <a:pt x="4983037" y="4434348"/>
                    <a:pt x="5004254" y="4432451"/>
                    <a:pt x="5015294" y="4416064"/>
                  </a:cubicBezTo>
                  <a:cubicBezTo>
                    <a:pt x="5027887" y="4393121"/>
                    <a:pt x="5049622" y="4335850"/>
                    <a:pt x="5050140" y="4297900"/>
                  </a:cubicBezTo>
                  <a:cubicBezTo>
                    <a:pt x="5050140" y="4266332"/>
                    <a:pt x="5066355" y="4243045"/>
                    <a:pt x="5075152" y="4224587"/>
                  </a:cubicBezTo>
                  <a:cubicBezTo>
                    <a:pt x="5083950" y="4205267"/>
                    <a:pt x="5087745" y="4180944"/>
                    <a:pt x="5089815" y="4130574"/>
                  </a:cubicBezTo>
                  <a:cubicBezTo>
                    <a:pt x="5090677" y="4107976"/>
                    <a:pt x="5099820" y="4092796"/>
                    <a:pt x="5108962" y="4082619"/>
                  </a:cubicBezTo>
                  <a:cubicBezTo>
                    <a:pt x="5118105" y="4072613"/>
                    <a:pt x="5126730" y="4068818"/>
                    <a:pt x="5126385" y="4068473"/>
                  </a:cubicBezTo>
                  <a:lnTo>
                    <a:pt x="5131215" y="4066058"/>
                  </a:lnTo>
                  <a:lnTo>
                    <a:pt x="5131215" y="4060538"/>
                  </a:lnTo>
                  <a:cubicBezTo>
                    <a:pt x="5131215" y="4060366"/>
                    <a:pt x="5131388" y="4037596"/>
                    <a:pt x="5143462" y="4021381"/>
                  </a:cubicBezTo>
                  <a:cubicBezTo>
                    <a:pt x="5151570" y="4009650"/>
                    <a:pt x="5153295" y="3995333"/>
                    <a:pt x="5153295" y="3983258"/>
                  </a:cubicBezTo>
                  <a:cubicBezTo>
                    <a:pt x="5153295" y="3970493"/>
                    <a:pt x="5151398" y="3960660"/>
                    <a:pt x="5150880" y="3958935"/>
                  </a:cubicBezTo>
                  <a:cubicBezTo>
                    <a:pt x="5145188" y="3961523"/>
                    <a:pt x="5139495" y="3962730"/>
                    <a:pt x="5134665" y="3962903"/>
                  </a:cubicBezTo>
                  <a:cubicBezTo>
                    <a:pt x="5135010" y="3964973"/>
                    <a:pt x="5136563" y="3973080"/>
                    <a:pt x="5136563" y="3983085"/>
                  </a:cubicBezTo>
                  <a:cubicBezTo>
                    <a:pt x="5136735" y="3993090"/>
                    <a:pt x="5134837" y="4004475"/>
                    <a:pt x="5130180" y="4010858"/>
                  </a:cubicBezTo>
                  <a:cubicBezTo>
                    <a:pt x="5118450" y="4027246"/>
                    <a:pt x="5115690" y="4046048"/>
                    <a:pt x="5114828" y="4055018"/>
                  </a:cubicBezTo>
                  <a:cubicBezTo>
                    <a:pt x="5103443" y="4062091"/>
                    <a:pt x="5074980" y="4084516"/>
                    <a:pt x="5072910" y="4129194"/>
                  </a:cubicBezTo>
                  <a:cubicBezTo>
                    <a:pt x="5071012" y="4179047"/>
                    <a:pt x="5066872" y="4201127"/>
                    <a:pt x="5059972" y="4216480"/>
                  </a:cubicBezTo>
                  <a:cubicBezTo>
                    <a:pt x="5052727" y="4232695"/>
                    <a:pt x="5033579" y="4259605"/>
                    <a:pt x="5033579" y="4297555"/>
                  </a:cubicBezTo>
                  <a:cubicBezTo>
                    <a:pt x="5033752" y="4328950"/>
                    <a:pt x="5012017" y="4387601"/>
                    <a:pt x="5000977" y="4406921"/>
                  </a:cubicBezTo>
                  <a:cubicBezTo>
                    <a:pt x="4999942" y="4411578"/>
                    <a:pt x="4978551" y="4418651"/>
                    <a:pt x="4954919" y="4427794"/>
                  </a:cubicBezTo>
                  <a:cubicBezTo>
                    <a:pt x="4931286" y="4437799"/>
                    <a:pt x="4903686" y="4454186"/>
                    <a:pt x="4889541" y="4489032"/>
                  </a:cubicBezTo>
                  <a:cubicBezTo>
                    <a:pt x="4864183" y="4551132"/>
                    <a:pt x="4834513" y="4577870"/>
                    <a:pt x="4795700" y="4604608"/>
                  </a:cubicBezTo>
                  <a:cubicBezTo>
                    <a:pt x="4756715" y="4631863"/>
                    <a:pt x="4711174" y="4655495"/>
                    <a:pt x="4702895" y="4695171"/>
                  </a:cubicBezTo>
                  <a:cubicBezTo>
                    <a:pt x="4701170" y="4705176"/>
                    <a:pt x="4700825" y="4714491"/>
                    <a:pt x="4700825" y="4722943"/>
                  </a:cubicBezTo>
                  <a:cubicBezTo>
                    <a:pt x="4700825" y="4726911"/>
                    <a:pt x="4700997" y="4730878"/>
                    <a:pt x="4700997" y="4734501"/>
                  </a:cubicBezTo>
                  <a:cubicBezTo>
                    <a:pt x="4700825" y="4750716"/>
                    <a:pt x="4699790" y="4756753"/>
                    <a:pt x="4692027" y="4760376"/>
                  </a:cubicBezTo>
                  <a:cubicBezTo>
                    <a:pt x="4672879" y="4770554"/>
                    <a:pt x="4585076" y="4783836"/>
                    <a:pt x="4581971" y="4841624"/>
                  </a:cubicBezTo>
                  <a:cubicBezTo>
                    <a:pt x="4582144" y="4885784"/>
                    <a:pt x="4566446" y="4919595"/>
                    <a:pt x="4564204" y="4958753"/>
                  </a:cubicBezTo>
                  <a:cubicBezTo>
                    <a:pt x="4564031" y="4962202"/>
                    <a:pt x="4564031" y="4965825"/>
                    <a:pt x="4564031" y="4969620"/>
                  </a:cubicBezTo>
                  <a:cubicBezTo>
                    <a:pt x="4564031" y="5006018"/>
                    <a:pt x="4572311" y="5051558"/>
                    <a:pt x="4572311" y="5065531"/>
                  </a:cubicBezTo>
                  <a:cubicBezTo>
                    <a:pt x="4572311" y="5065531"/>
                    <a:pt x="4572311" y="5065531"/>
                    <a:pt x="4571966" y="5065876"/>
                  </a:cubicBezTo>
                  <a:cubicBezTo>
                    <a:pt x="4567654" y="5073983"/>
                    <a:pt x="4523666" y="5082781"/>
                    <a:pt x="4521251" y="5081573"/>
                  </a:cubicBezTo>
                  <a:cubicBezTo>
                    <a:pt x="4517801" y="5081746"/>
                    <a:pt x="4447420" y="5070016"/>
                    <a:pt x="4447248" y="5070016"/>
                  </a:cubicBezTo>
                  <a:cubicBezTo>
                    <a:pt x="4445695" y="5070016"/>
                    <a:pt x="4439485" y="5069844"/>
                    <a:pt x="4433620" y="5067946"/>
                  </a:cubicBezTo>
                  <a:cubicBezTo>
                    <a:pt x="4427237" y="5065531"/>
                    <a:pt x="4424650" y="5063288"/>
                    <a:pt x="4424650" y="5059665"/>
                  </a:cubicBezTo>
                  <a:cubicBezTo>
                    <a:pt x="4424477" y="5055870"/>
                    <a:pt x="4428100" y="5045866"/>
                    <a:pt x="4441900" y="5030685"/>
                  </a:cubicBezTo>
                  <a:cubicBezTo>
                    <a:pt x="4469673" y="5000670"/>
                    <a:pt x="4476918" y="4972035"/>
                    <a:pt x="4476745" y="4951852"/>
                  </a:cubicBezTo>
                  <a:cubicBezTo>
                    <a:pt x="4476745" y="4934085"/>
                    <a:pt x="4471570" y="4923045"/>
                    <a:pt x="4471053" y="4922355"/>
                  </a:cubicBezTo>
                  <a:lnTo>
                    <a:pt x="4467775" y="4915799"/>
                  </a:lnTo>
                  <a:lnTo>
                    <a:pt x="4460875" y="4917869"/>
                  </a:lnTo>
                  <a:cubicBezTo>
                    <a:pt x="4460185" y="4918042"/>
                    <a:pt x="4417750" y="4931670"/>
                    <a:pt x="4382387" y="4965997"/>
                  </a:cubicBezTo>
                  <a:cubicBezTo>
                    <a:pt x="4359962" y="4988595"/>
                    <a:pt x="4345644" y="5002050"/>
                    <a:pt x="4340814" y="5000670"/>
                  </a:cubicBezTo>
                  <a:cubicBezTo>
                    <a:pt x="4338399" y="5000670"/>
                    <a:pt x="4335122" y="4999118"/>
                    <a:pt x="4329084" y="4991873"/>
                  </a:cubicBezTo>
                  <a:cubicBezTo>
                    <a:pt x="4315284" y="4975485"/>
                    <a:pt x="4305797" y="4954612"/>
                    <a:pt x="4284061" y="4953232"/>
                  </a:cubicBezTo>
                  <a:cubicBezTo>
                    <a:pt x="4275092" y="4953232"/>
                    <a:pt x="4266639" y="4957718"/>
                    <a:pt x="4257669" y="4965825"/>
                  </a:cubicBezTo>
                  <a:cubicBezTo>
                    <a:pt x="4236279" y="4985490"/>
                    <a:pt x="4213854" y="5004810"/>
                    <a:pt x="4188151" y="5004638"/>
                  </a:cubicBezTo>
                  <a:cubicBezTo>
                    <a:pt x="4180388" y="5004638"/>
                    <a:pt x="4172281" y="5002913"/>
                    <a:pt x="4163310" y="4999118"/>
                  </a:cubicBezTo>
                  <a:cubicBezTo>
                    <a:pt x="4143473" y="4990320"/>
                    <a:pt x="4119840" y="4970483"/>
                    <a:pt x="4100002" y="4952887"/>
                  </a:cubicBezTo>
                  <a:cubicBezTo>
                    <a:pt x="4078957" y="4935120"/>
                    <a:pt x="4066365" y="4919422"/>
                    <a:pt x="4051357" y="4917525"/>
                  </a:cubicBezTo>
                  <a:cubicBezTo>
                    <a:pt x="4045320" y="4918387"/>
                    <a:pt x="3987359" y="4891305"/>
                    <a:pt x="3949581" y="4891132"/>
                  </a:cubicBezTo>
                  <a:cubicBezTo>
                    <a:pt x="3940439" y="4891132"/>
                    <a:pt x="3931296" y="4892684"/>
                    <a:pt x="3923706" y="4898032"/>
                  </a:cubicBezTo>
                  <a:cubicBezTo>
                    <a:pt x="3913701" y="4904932"/>
                    <a:pt x="3906801" y="4905795"/>
                    <a:pt x="3898521" y="4905795"/>
                  </a:cubicBezTo>
                  <a:cubicBezTo>
                    <a:pt x="3893864" y="4905795"/>
                    <a:pt x="3888516" y="4905449"/>
                    <a:pt x="3882651" y="4905449"/>
                  </a:cubicBezTo>
                  <a:cubicBezTo>
                    <a:pt x="3873681" y="4905449"/>
                    <a:pt x="3862986" y="4906657"/>
                    <a:pt x="3851256" y="4912867"/>
                  </a:cubicBezTo>
                  <a:cubicBezTo>
                    <a:pt x="3820896" y="4929255"/>
                    <a:pt x="3781048" y="4955130"/>
                    <a:pt x="3777425" y="4991355"/>
                  </a:cubicBezTo>
                  <a:cubicBezTo>
                    <a:pt x="3777598" y="4998773"/>
                    <a:pt x="3763625" y="5019128"/>
                    <a:pt x="3734990" y="5034480"/>
                  </a:cubicBezTo>
                  <a:cubicBezTo>
                    <a:pt x="3719292" y="5043105"/>
                    <a:pt x="3699455" y="5050696"/>
                    <a:pt x="3675994" y="5056043"/>
                  </a:cubicBezTo>
                  <a:cubicBezTo>
                    <a:pt x="3673407" y="5051040"/>
                    <a:pt x="3668922" y="5044658"/>
                    <a:pt x="3661849" y="5034998"/>
                  </a:cubicBezTo>
                  <a:cubicBezTo>
                    <a:pt x="3655812" y="5027063"/>
                    <a:pt x="3645979" y="5013608"/>
                    <a:pt x="3644772" y="5007915"/>
                  </a:cubicBezTo>
                  <a:lnTo>
                    <a:pt x="3643564" y="5001015"/>
                  </a:lnTo>
                  <a:cubicBezTo>
                    <a:pt x="3637354" y="4969792"/>
                    <a:pt x="3632524" y="4953232"/>
                    <a:pt x="3621657" y="4948575"/>
                  </a:cubicBezTo>
                  <a:cubicBezTo>
                    <a:pt x="3612514" y="4944262"/>
                    <a:pt x="3602854" y="4941503"/>
                    <a:pt x="3585604" y="4941503"/>
                  </a:cubicBezTo>
                  <a:cubicBezTo>
                    <a:pt x="3575599" y="4941503"/>
                    <a:pt x="3565939" y="4931497"/>
                    <a:pt x="3556969" y="4921492"/>
                  </a:cubicBezTo>
                  <a:cubicBezTo>
                    <a:pt x="3546963" y="4910107"/>
                    <a:pt x="3535578" y="4897514"/>
                    <a:pt x="3520053" y="4896479"/>
                  </a:cubicBezTo>
                  <a:cubicBezTo>
                    <a:pt x="3507461" y="4895617"/>
                    <a:pt x="3492971" y="4855942"/>
                    <a:pt x="3492108" y="4800224"/>
                  </a:cubicBezTo>
                  <a:cubicBezTo>
                    <a:pt x="3491418" y="4764516"/>
                    <a:pt x="3497628" y="4754856"/>
                    <a:pt x="3510048" y="4735536"/>
                  </a:cubicBezTo>
                  <a:lnTo>
                    <a:pt x="3516948" y="4724668"/>
                  </a:lnTo>
                  <a:cubicBezTo>
                    <a:pt x="3523848" y="4713283"/>
                    <a:pt x="3522123" y="4704658"/>
                    <a:pt x="3519536" y="4699138"/>
                  </a:cubicBezTo>
                  <a:cubicBezTo>
                    <a:pt x="3511773" y="4683613"/>
                    <a:pt x="3487968" y="4678610"/>
                    <a:pt x="3472961" y="4676885"/>
                  </a:cubicBezTo>
                  <a:lnTo>
                    <a:pt x="3293387" y="4683268"/>
                  </a:lnTo>
                  <a:cubicBezTo>
                    <a:pt x="3287867" y="4683268"/>
                    <a:pt x="3207826" y="4686028"/>
                    <a:pt x="3155386" y="4690341"/>
                  </a:cubicBezTo>
                  <a:cubicBezTo>
                    <a:pt x="3141068" y="4690341"/>
                    <a:pt x="3131063" y="4686891"/>
                    <a:pt x="3125370" y="4680335"/>
                  </a:cubicBezTo>
                  <a:cubicBezTo>
                    <a:pt x="3117608" y="4671538"/>
                    <a:pt x="3119678" y="4658773"/>
                    <a:pt x="3119678" y="4658083"/>
                  </a:cubicBezTo>
                  <a:lnTo>
                    <a:pt x="3119678" y="4656530"/>
                  </a:lnTo>
                  <a:lnTo>
                    <a:pt x="3119678" y="4655668"/>
                  </a:lnTo>
                  <a:cubicBezTo>
                    <a:pt x="3117263" y="4608230"/>
                    <a:pt x="3115883" y="4572522"/>
                    <a:pt x="3115710" y="4554582"/>
                  </a:cubicBezTo>
                  <a:cubicBezTo>
                    <a:pt x="3115365" y="4525602"/>
                    <a:pt x="3084315" y="4490929"/>
                    <a:pt x="3067583" y="4472299"/>
                  </a:cubicBezTo>
                  <a:cubicBezTo>
                    <a:pt x="3065168" y="4469712"/>
                    <a:pt x="3063270" y="4467642"/>
                    <a:pt x="3062062" y="4466089"/>
                  </a:cubicBezTo>
                  <a:cubicBezTo>
                    <a:pt x="3048607" y="4450219"/>
                    <a:pt x="3053955" y="4441076"/>
                    <a:pt x="3058267" y="4436591"/>
                  </a:cubicBezTo>
                  <a:cubicBezTo>
                    <a:pt x="3098978" y="4433313"/>
                    <a:pt x="3098288" y="4402091"/>
                    <a:pt x="3097943" y="4368798"/>
                  </a:cubicBezTo>
                  <a:lnTo>
                    <a:pt x="3097943" y="4361726"/>
                  </a:lnTo>
                  <a:cubicBezTo>
                    <a:pt x="3097598" y="4323085"/>
                    <a:pt x="3078968" y="4280650"/>
                    <a:pt x="3062925" y="4268575"/>
                  </a:cubicBezTo>
                  <a:cubicBezTo>
                    <a:pt x="3054472" y="4262193"/>
                    <a:pt x="3041880" y="4218205"/>
                    <a:pt x="3054128" y="4196814"/>
                  </a:cubicBezTo>
                  <a:cubicBezTo>
                    <a:pt x="3068273" y="4172319"/>
                    <a:pt x="3058785" y="4157829"/>
                    <a:pt x="3052575" y="4148169"/>
                  </a:cubicBezTo>
                  <a:cubicBezTo>
                    <a:pt x="3051022" y="4145754"/>
                    <a:pt x="3049642" y="4143684"/>
                    <a:pt x="3048780" y="4141614"/>
                  </a:cubicBezTo>
                  <a:cubicBezTo>
                    <a:pt x="3044812" y="4131781"/>
                    <a:pt x="3029632" y="4124709"/>
                    <a:pt x="3013590" y="4120051"/>
                  </a:cubicBezTo>
                  <a:cubicBezTo>
                    <a:pt x="3026872" y="4106251"/>
                    <a:pt x="3037567" y="4092451"/>
                    <a:pt x="3043950" y="4079513"/>
                  </a:cubicBezTo>
                  <a:cubicBezTo>
                    <a:pt x="3060855" y="4043461"/>
                    <a:pt x="3069480" y="4012238"/>
                    <a:pt x="3088973" y="3996023"/>
                  </a:cubicBezTo>
                  <a:cubicBezTo>
                    <a:pt x="3113468" y="3974978"/>
                    <a:pt x="3135203" y="3931507"/>
                    <a:pt x="3157628" y="3887864"/>
                  </a:cubicBezTo>
                  <a:cubicBezTo>
                    <a:pt x="3161596" y="3879930"/>
                    <a:pt x="3163148" y="3870959"/>
                    <a:pt x="3163148" y="3861989"/>
                  </a:cubicBezTo>
                  <a:cubicBezTo>
                    <a:pt x="3162458" y="3808514"/>
                    <a:pt x="3112950" y="3735546"/>
                    <a:pt x="3095700" y="3713466"/>
                  </a:cubicBezTo>
                  <a:cubicBezTo>
                    <a:pt x="3093803" y="3710878"/>
                    <a:pt x="3093113" y="3709153"/>
                    <a:pt x="3093113" y="3706393"/>
                  </a:cubicBezTo>
                  <a:cubicBezTo>
                    <a:pt x="3091215" y="3690868"/>
                    <a:pt x="3127268" y="3658438"/>
                    <a:pt x="3130891" y="3619798"/>
                  </a:cubicBezTo>
                  <a:cubicBezTo>
                    <a:pt x="3131063" y="3617383"/>
                    <a:pt x="3131063" y="3615313"/>
                    <a:pt x="3131063" y="3613243"/>
                  </a:cubicBezTo>
                  <a:cubicBezTo>
                    <a:pt x="3131063" y="3573222"/>
                    <a:pt x="3103635" y="3562010"/>
                    <a:pt x="3092078" y="3562010"/>
                  </a:cubicBezTo>
                  <a:cubicBezTo>
                    <a:pt x="3088110" y="3562010"/>
                    <a:pt x="3070860" y="3562010"/>
                    <a:pt x="3054300" y="3560802"/>
                  </a:cubicBezTo>
                  <a:cubicBezTo>
                    <a:pt x="3046020" y="3560112"/>
                    <a:pt x="3037912" y="3559077"/>
                    <a:pt x="3031875" y="3557870"/>
                  </a:cubicBezTo>
                  <a:cubicBezTo>
                    <a:pt x="3028942" y="3557180"/>
                    <a:pt x="3026527" y="3556317"/>
                    <a:pt x="3024975" y="3555800"/>
                  </a:cubicBezTo>
                  <a:cubicBezTo>
                    <a:pt x="3024285" y="3555455"/>
                    <a:pt x="3023940" y="3555110"/>
                    <a:pt x="3023767" y="3555110"/>
                  </a:cubicBezTo>
                  <a:lnTo>
                    <a:pt x="3023595" y="3555282"/>
                  </a:lnTo>
                  <a:cubicBezTo>
                    <a:pt x="3013762" y="3543725"/>
                    <a:pt x="3001860" y="3547347"/>
                    <a:pt x="2982195" y="3545967"/>
                  </a:cubicBezTo>
                  <a:cubicBezTo>
                    <a:pt x="2952869" y="3545967"/>
                    <a:pt x="2910779" y="3548900"/>
                    <a:pt x="2872829" y="3548900"/>
                  </a:cubicBezTo>
                  <a:cubicBezTo>
                    <a:pt x="2842123" y="3548900"/>
                    <a:pt x="2823321" y="3542517"/>
                    <a:pt x="2812626" y="3536307"/>
                  </a:cubicBezTo>
                  <a:cubicBezTo>
                    <a:pt x="2807106" y="3533375"/>
                    <a:pt x="2803656" y="3530269"/>
                    <a:pt x="2801758" y="3528372"/>
                  </a:cubicBezTo>
                  <a:cubicBezTo>
                    <a:pt x="2801413" y="3528027"/>
                    <a:pt x="2801068" y="3527509"/>
                    <a:pt x="2800723" y="3527337"/>
                  </a:cubicBezTo>
                  <a:lnTo>
                    <a:pt x="2800723" y="3441431"/>
                  </a:lnTo>
                  <a:cubicBezTo>
                    <a:pt x="2800551" y="3401411"/>
                    <a:pt x="2780885" y="3348108"/>
                    <a:pt x="2781403" y="3336206"/>
                  </a:cubicBezTo>
                  <a:cubicBezTo>
                    <a:pt x="2781403" y="3324820"/>
                    <a:pt x="2780195" y="3299980"/>
                    <a:pt x="2780195" y="3275830"/>
                  </a:cubicBezTo>
                  <a:cubicBezTo>
                    <a:pt x="2780195" y="3263755"/>
                    <a:pt x="2780541" y="3252025"/>
                    <a:pt x="2781403" y="3242537"/>
                  </a:cubicBezTo>
                  <a:cubicBezTo>
                    <a:pt x="2781576" y="3240812"/>
                    <a:pt x="2781576" y="3239087"/>
                    <a:pt x="2781576" y="3237190"/>
                  </a:cubicBezTo>
                  <a:cubicBezTo>
                    <a:pt x="2781403" y="3213730"/>
                    <a:pt x="2769673" y="3189234"/>
                    <a:pt x="2770018" y="3173709"/>
                  </a:cubicBezTo>
                  <a:cubicBezTo>
                    <a:pt x="2770190" y="3166809"/>
                    <a:pt x="2771570" y="3163014"/>
                    <a:pt x="2775538" y="3159392"/>
                  </a:cubicBezTo>
                  <a:cubicBezTo>
                    <a:pt x="2787095" y="3148869"/>
                    <a:pt x="2789166" y="3132999"/>
                    <a:pt x="2789166" y="3117474"/>
                  </a:cubicBezTo>
                  <a:cubicBezTo>
                    <a:pt x="2789166" y="3098499"/>
                    <a:pt x="2785371" y="3079179"/>
                    <a:pt x="2782783" y="3068656"/>
                  </a:cubicBezTo>
                  <a:lnTo>
                    <a:pt x="2765705" y="3069001"/>
                  </a:lnTo>
                  <a:cubicBezTo>
                    <a:pt x="2767603" y="3076591"/>
                    <a:pt x="2772605" y="3098154"/>
                    <a:pt x="2772605" y="3117474"/>
                  </a:cubicBezTo>
                  <a:cubicBezTo>
                    <a:pt x="2772778" y="3131102"/>
                    <a:pt x="2769673" y="3142487"/>
                    <a:pt x="2765015" y="3146109"/>
                  </a:cubicBezTo>
                  <a:cubicBezTo>
                    <a:pt x="2756218" y="3153354"/>
                    <a:pt x="2753285" y="3164222"/>
                    <a:pt x="2753285" y="3174054"/>
                  </a:cubicBezTo>
                  <a:cubicBezTo>
                    <a:pt x="2753630" y="3196307"/>
                    <a:pt x="2765360" y="3220457"/>
                    <a:pt x="2765015" y="3237535"/>
                  </a:cubicBezTo>
                  <a:cubicBezTo>
                    <a:pt x="2765015" y="3238742"/>
                    <a:pt x="2765015" y="3239950"/>
                    <a:pt x="2764843" y="3241330"/>
                  </a:cubicBezTo>
                  <a:cubicBezTo>
                    <a:pt x="2763980" y="3251507"/>
                    <a:pt x="2763635" y="3263755"/>
                    <a:pt x="2763635" y="3276003"/>
                  </a:cubicBezTo>
                  <a:cubicBezTo>
                    <a:pt x="2763635" y="3300498"/>
                    <a:pt x="2764843" y="3326028"/>
                    <a:pt x="2764843" y="3336378"/>
                  </a:cubicBezTo>
                  <a:cubicBezTo>
                    <a:pt x="2765533" y="3356561"/>
                    <a:pt x="2784508" y="3406069"/>
                    <a:pt x="2784163" y="3441604"/>
                  </a:cubicBezTo>
                  <a:lnTo>
                    <a:pt x="2784163" y="3530787"/>
                  </a:lnTo>
                  <a:lnTo>
                    <a:pt x="2784163" y="3533375"/>
                  </a:lnTo>
                  <a:lnTo>
                    <a:pt x="2785371" y="3535445"/>
                  </a:lnTo>
                  <a:cubicBezTo>
                    <a:pt x="2786578" y="3537860"/>
                    <a:pt x="2806588" y="3566840"/>
                    <a:pt x="2872656" y="3566495"/>
                  </a:cubicBezTo>
                  <a:cubicBezTo>
                    <a:pt x="2911297" y="3566495"/>
                    <a:pt x="2953559" y="3563562"/>
                    <a:pt x="2982022" y="3563562"/>
                  </a:cubicBezTo>
                  <a:cubicBezTo>
                    <a:pt x="2991337" y="3563562"/>
                    <a:pt x="2999272" y="3563735"/>
                    <a:pt x="3004620" y="3564597"/>
                  </a:cubicBezTo>
                  <a:cubicBezTo>
                    <a:pt x="3007207" y="3564770"/>
                    <a:pt x="3009277" y="3565460"/>
                    <a:pt x="3010140" y="3565805"/>
                  </a:cubicBezTo>
                  <a:cubicBezTo>
                    <a:pt x="3010485" y="3565977"/>
                    <a:pt x="3010485" y="3565977"/>
                    <a:pt x="3010485" y="3565977"/>
                  </a:cubicBezTo>
                  <a:cubicBezTo>
                    <a:pt x="3020317" y="3577535"/>
                    <a:pt x="3035152" y="3575810"/>
                    <a:pt x="3052230" y="3578570"/>
                  </a:cubicBezTo>
                  <a:cubicBezTo>
                    <a:pt x="3069653" y="3580122"/>
                    <a:pt x="3087248" y="3580122"/>
                    <a:pt x="3091388" y="3580122"/>
                  </a:cubicBezTo>
                  <a:cubicBezTo>
                    <a:pt x="3095873" y="3580812"/>
                    <a:pt x="3113468" y="3583400"/>
                    <a:pt x="3113813" y="3613933"/>
                  </a:cubicBezTo>
                  <a:cubicBezTo>
                    <a:pt x="3113813" y="3615658"/>
                    <a:pt x="3113813" y="3617383"/>
                    <a:pt x="3113640" y="3619453"/>
                  </a:cubicBezTo>
                  <a:cubicBezTo>
                    <a:pt x="3112778" y="3648433"/>
                    <a:pt x="3077933" y="3676378"/>
                    <a:pt x="3075863" y="3707256"/>
                  </a:cubicBezTo>
                  <a:cubicBezTo>
                    <a:pt x="3075863" y="3713638"/>
                    <a:pt x="3077933" y="3720021"/>
                    <a:pt x="3082245" y="3725541"/>
                  </a:cubicBezTo>
                  <a:cubicBezTo>
                    <a:pt x="3098288" y="3744861"/>
                    <a:pt x="3146588" y="3820244"/>
                    <a:pt x="3145898" y="3862852"/>
                  </a:cubicBezTo>
                  <a:cubicBezTo>
                    <a:pt x="3145898" y="3869924"/>
                    <a:pt x="3144691" y="3875789"/>
                    <a:pt x="3142276" y="3880619"/>
                  </a:cubicBezTo>
                  <a:cubicBezTo>
                    <a:pt x="3120368" y="3923745"/>
                    <a:pt x="3097770" y="3966698"/>
                    <a:pt x="3077760" y="3983430"/>
                  </a:cubicBezTo>
                  <a:cubicBezTo>
                    <a:pt x="3052920" y="4005165"/>
                    <a:pt x="3044812" y="4038631"/>
                    <a:pt x="3028425" y="4072786"/>
                  </a:cubicBezTo>
                  <a:cubicBezTo>
                    <a:pt x="3022732" y="4085723"/>
                    <a:pt x="3009450" y="4101249"/>
                    <a:pt x="2993925" y="4115394"/>
                  </a:cubicBezTo>
                  <a:cubicBezTo>
                    <a:pt x="2985472" y="4113841"/>
                    <a:pt x="2978054" y="4113151"/>
                    <a:pt x="2973742" y="4113151"/>
                  </a:cubicBezTo>
                  <a:cubicBezTo>
                    <a:pt x="2967187" y="4113151"/>
                    <a:pt x="2959597" y="4106769"/>
                    <a:pt x="2951834" y="4099869"/>
                  </a:cubicBezTo>
                  <a:cubicBezTo>
                    <a:pt x="2942519" y="4091933"/>
                    <a:pt x="2931997" y="4082963"/>
                    <a:pt x="2918542" y="4080376"/>
                  </a:cubicBezTo>
                  <a:cubicBezTo>
                    <a:pt x="2910434" y="4078823"/>
                    <a:pt x="2895771" y="4077961"/>
                    <a:pt x="2874554" y="4077961"/>
                  </a:cubicBezTo>
                  <a:cubicBezTo>
                    <a:pt x="2842641" y="4077961"/>
                    <a:pt x="2803656" y="4079858"/>
                    <a:pt x="2789856" y="4081928"/>
                  </a:cubicBezTo>
                  <a:cubicBezTo>
                    <a:pt x="2773813" y="4084343"/>
                    <a:pt x="2750353" y="4085551"/>
                    <a:pt x="2740865" y="4086069"/>
                  </a:cubicBezTo>
                  <a:cubicBezTo>
                    <a:pt x="2732585" y="4081756"/>
                    <a:pt x="2701362" y="4064161"/>
                    <a:pt x="2697395" y="4036216"/>
                  </a:cubicBezTo>
                  <a:cubicBezTo>
                    <a:pt x="2693945" y="4013963"/>
                    <a:pt x="2692047" y="4001888"/>
                    <a:pt x="2678247" y="4001888"/>
                  </a:cubicBezTo>
                  <a:cubicBezTo>
                    <a:pt x="2644609" y="4004648"/>
                    <a:pt x="2621149" y="4005683"/>
                    <a:pt x="2593722" y="4006545"/>
                  </a:cubicBezTo>
                  <a:lnTo>
                    <a:pt x="2590099" y="4006718"/>
                  </a:lnTo>
                  <a:cubicBezTo>
                    <a:pt x="2580439" y="4006718"/>
                    <a:pt x="2574574" y="4001025"/>
                    <a:pt x="2568364" y="3992400"/>
                  </a:cubicBezTo>
                  <a:lnTo>
                    <a:pt x="2566639" y="3989813"/>
                  </a:lnTo>
                  <a:lnTo>
                    <a:pt x="2564569" y="3988778"/>
                  </a:lnTo>
                  <a:cubicBezTo>
                    <a:pt x="2554909" y="3983948"/>
                    <a:pt x="2545594" y="3979808"/>
                    <a:pt x="2537486" y="3976703"/>
                  </a:cubicBezTo>
                  <a:cubicBezTo>
                    <a:pt x="2510231" y="3965318"/>
                    <a:pt x="2496086" y="3958418"/>
                    <a:pt x="2495741" y="3937890"/>
                  </a:cubicBezTo>
                  <a:cubicBezTo>
                    <a:pt x="2495741" y="3922365"/>
                    <a:pt x="2487978" y="3903562"/>
                    <a:pt x="2453133" y="3903562"/>
                  </a:cubicBezTo>
                  <a:cubicBezTo>
                    <a:pt x="2441748" y="3903562"/>
                    <a:pt x="2429673" y="3905287"/>
                    <a:pt x="2418978" y="3906840"/>
                  </a:cubicBezTo>
                  <a:cubicBezTo>
                    <a:pt x="2410698" y="3908047"/>
                    <a:pt x="2402590" y="3909255"/>
                    <a:pt x="2395863" y="3909427"/>
                  </a:cubicBezTo>
                  <a:cubicBezTo>
                    <a:pt x="2378440" y="3909427"/>
                    <a:pt x="2376887" y="3903390"/>
                    <a:pt x="2374472" y="3893557"/>
                  </a:cubicBezTo>
                  <a:cubicBezTo>
                    <a:pt x="2373610" y="3889935"/>
                    <a:pt x="2372748" y="3886312"/>
                    <a:pt x="2370850" y="3882862"/>
                  </a:cubicBezTo>
                  <a:lnTo>
                    <a:pt x="2367573" y="3878550"/>
                  </a:lnTo>
                  <a:lnTo>
                    <a:pt x="2363605" y="3878204"/>
                  </a:lnTo>
                  <a:cubicBezTo>
                    <a:pt x="2328415" y="3874927"/>
                    <a:pt x="2282357" y="3881482"/>
                    <a:pt x="2265452" y="3890797"/>
                  </a:cubicBezTo>
                  <a:cubicBezTo>
                    <a:pt x="2207664" y="3883552"/>
                    <a:pt x="2181616" y="3863197"/>
                    <a:pt x="2175579" y="3856469"/>
                  </a:cubicBezTo>
                  <a:cubicBezTo>
                    <a:pt x="2179201" y="3841289"/>
                    <a:pt x="2158673" y="3829214"/>
                    <a:pt x="2117101" y="3810412"/>
                  </a:cubicBezTo>
                  <a:cubicBezTo>
                    <a:pt x="2102438" y="3803856"/>
                    <a:pt x="2057933" y="3778671"/>
                    <a:pt x="2045513" y="3752624"/>
                  </a:cubicBezTo>
                  <a:cubicBezTo>
                    <a:pt x="2034818" y="3730198"/>
                    <a:pt x="2030850" y="3725368"/>
                    <a:pt x="2011185" y="3702081"/>
                  </a:cubicBezTo>
                  <a:cubicBezTo>
                    <a:pt x="2006355" y="3696388"/>
                    <a:pt x="2000490" y="3689316"/>
                    <a:pt x="1993245" y="3680518"/>
                  </a:cubicBezTo>
                  <a:cubicBezTo>
                    <a:pt x="1961849" y="3642568"/>
                    <a:pt x="1968577" y="3619280"/>
                    <a:pt x="1973235" y="3602375"/>
                  </a:cubicBezTo>
                  <a:lnTo>
                    <a:pt x="1973925" y="3600305"/>
                  </a:lnTo>
                  <a:cubicBezTo>
                    <a:pt x="1977375" y="3587367"/>
                    <a:pt x="1975477" y="3576155"/>
                    <a:pt x="1972717" y="3561665"/>
                  </a:cubicBezTo>
                  <a:cubicBezTo>
                    <a:pt x="1971165" y="3553385"/>
                    <a:pt x="1969440" y="3544242"/>
                    <a:pt x="1968405" y="3532512"/>
                  </a:cubicBezTo>
                  <a:cubicBezTo>
                    <a:pt x="1966679" y="3514572"/>
                    <a:pt x="1957019" y="3501979"/>
                    <a:pt x="1949257" y="3491974"/>
                  </a:cubicBezTo>
                  <a:cubicBezTo>
                    <a:pt x="1940287" y="3480589"/>
                    <a:pt x="1938389" y="3476794"/>
                    <a:pt x="1941149" y="3472137"/>
                  </a:cubicBezTo>
                  <a:cubicBezTo>
                    <a:pt x="1942357" y="3469722"/>
                    <a:pt x="1943909" y="3467651"/>
                    <a:pt x="1946497" y="3464029"/>
                  </a:cubicBezTo>
                  <a:cubicBezTo>
                    <a:pt x="1957882" y="3447986"/>
                    <a:pt x="1969267" y="3431426"/>
                    <a:pt x="1968405" y="3357078"/>
                  </a:cubicBezTo>
                  <a:cubicBezTo>
                    <a:pt x="1968232" y="3340690"/>
                    <a:pt x="1967542" y="3290493"/>
                    <a:pt x="1929419" y="3290493"/>
                  </a:cubicBezTo>
                  <a:cubicBezTo>
                    <a:pt x="1918552" y="3290493"/>
                    <a:pt x="1907167" y="3294460"/>
                    <a:pt x="1895436" y="3298600"/>
                  </a:cubicBezTo>
                  <a:cubicBezTo>
                    <a:pt x="1890606" y="3300325"/>
                    <a:pt x="1885431" y="3302223"/>
                    <a:pt x="1882671" y="3303085"/>
                  </a:cubicBezTo>
                  <a:cubicBezTo>
                    <a:pt x="1817983" y="3306535"/>
                    <a:pt x="1789866" y="3314125"/>
                    <a:pt x="1767441" y="3320163"/>
                  </a:cubicBezTo>
                  <a:cubicBezTo>
                    <a:pt x="1752778" y="3323958"/>
                    <a:pt x="1741220" y="3327235"/>
                    <a:pt x="1722245" y="3327926"/>
                  </a:cubicBezTo>
                  <a:cubicBezTo>
                    <a:pt x="1669287" y="3329650"/>
                    <a:pt x="1609429" y="3386749"/>
                    <a:pt x="1601322" y="3415211"/>
                  </a:cubicBezTo>
                  <a:cubicBezTo>
                    <a:pt x="1598044" y="3426769"/>
                    <a:pt x="1591489" y="3429356"/>
                    <a:pt x="1575274" y="3434014"/>
                  </a:cubicBezTo>
                  <a:cubicBezTo>
                    <a:pt x="1568202" y="3436084"/>
                    <a:pt x="1558887" y="3438671"/>
                    <a:pt x="1549054" y="3443674"/>
                  </a:cubicBezTo>
                  <a:lnTo>
                    <a:pt x="1544224" y="3446089"/>
                  </a:lnTo>
                  <a:cubicBezTo>
                    <a:pt x="1521109" y="3457129"/>
                    <a:pt x="1515071" y="3460234"/>
                    <a:pt x="1484883" y="3470239"/>
                  </a:cubicBezTo>
                  <a:cubicBezTo>
                    <a:pt x="1464011" y="3477312"/>
                    <a:pt x="1453143" y="3495424"/>
                    <a:pt x="1444346" y="3510087"/>
                  </a:cubicBezTo>
                  <a:cubicBezTo>
                    <a:pt x="1438308" y="3519919"/>
                    <a:pt x="1433306" y="3528717"/>
                    <a:pt x="1427096" y="3530959"/>
                  </a:cubicBezTo>
                  <a:cubicBezTo>
                    <a:pt x="1424508" y="3530787"/>
                    <a:pt x="1421748" y="3530787"/>
                    <a:pt x="1418988" y="3530787"/>
                  </a:cubicBezTo>
                  <a:cubicBezTo>
                    <a:pt x="1365513" y="3530787"/>
                    <a:pt x="1333427" y="3566840"/>
                    <a:pt x="1312382" y="3590817"/>
                  </a:cubicBezTo>
                  <a:lnTo>
                    <a:pt x="1309450" y="3594095"/>
                  </a:lnTo>
                  <a:cubicBezTo>
                    <a:pt x="1307552" y="3596165"/>
                    <a:pt x="1305655" y="3598407"/>
                    <a:pt x="1303930" y="3600133"/>
                  </a:cubicBezTo>
                  <a:cubicBezTo>
                    <a:pt x="1280642" y="3624110"/>
                    <a:pt x="1249764" y="3651365"/>
                    <a:pt x="1215437" y="3652573"/>
                  </a:cubicBezTo>
                  <a:cubicBezTo>
                    <a:pt x="1184904" y="3652573"/>
                    <a:pt x="1179556" y="3627388"/>
                    <a:pt x="1179039" y="3622213"/>
                  </a:cubicBezTo>
                  <a:lnTo>
                    <a:pt x="1178004" y="3617728"/>
                  </a:lnTo>
                  <a:lnTo>
                    <a:pt x="1172311" y="3614105"/>
                  </a:lnTo>
                  <a:lnTo>
                    <a:pt x="1071398" y="3617555"/>
                  </a:lnTo>
                  <a:cubicBezTo>
                    <a:pt x="1058460" y="3617900"/>
                    <a:pt x="1021545" y="3619107"/>
                    <a:pt x="978247" y="3620488"/>
                  </a:cubicBezTo>
                  <a:cubicBezTo>
                    <a:pt x="944610" y="3621523"/>
                    <a:pt x="923909" y="3636358"/>
                    <a:pt x="907004" y="3648260"/>
                  </a:cubicBezTo>
                  <a:cubicBezTo>
                    <a:pt x="896309" y="3656023"/>
                    <a:pt x="887339" y="3662578"/>
                    <a:pt x="877852" y="3663613"/>
                  </a:cubicBezTo>
                  <a:cubicBezTo>
                    <a:pt x="873022" y="3663786"/>
                    <a:pt x="868882" y="3664303"/>
                    <a:pt x="864569" y="3663786"/>
                  </a:cubicBezTo>
                  <a:cubicBezTo>
                    <a:pt x="839384" y="3663786"/>
                    <a:pt x="839384" y="3659473"/>
                    <a:pt x="839211" y="3651883"/>
                  </a:cubicBezTo>
                  <a:lnTo>
                    <a:pt x="838866" y="3647053"/>
                  </a:lnTo>
                  <a:lnTo>
                    <a:pt x="790911" y="3609275"/>
                  </a:lnTo>
                  <a:lnTo>
                    <a:pt x="789876" y="3496287"/>
                  </a:lnTo>
                  <a:cubicBezTo>
                    <a:pt x="789531" y="3464547"/>
                    <a:pt x="789703" y="3425906"/>
                    <a:pt x="791428" y="3414004"/>
                  </a:cubicBezTo>
                  <a:cubicBezTo>
                    <a:pt x="791773" y="3410726"/>
                    <a:pt x="792291" y="3407449"/>
                    <a:pt x="792981" y="3403826"/>
                  </a:cubicBezTo>
                  <a:cubicBezTo>
                    <a:pt x="795569" y="3387438"/>
                    <a:pt x="798674" y="3366911"/>
                    <a:pt x="798329" y="3337931"/>
                  </a:cubicBezTo>
                  <a:lnTo>
                    <a:pt x="797639" y="3332583"/>
                  </a:lnTo>
                  <a:lnTo>
                    <a:pt x="794016" y="3330168"/>
                  </a:lnTo>
                  <a:cubicBezTo>
                    <a:pt x="788668" y="3326546"/>
                    <a:pt x="782631" y="3324648"/>
                    <a:pt x="776248" y="3324648"/>
                  </a:cubicBezTo>
                  <a:cubicBezTo>
                    <a:pt x="758998" y="3324648"/>
                    <a:pt x="745371" y="3338448"/>
                    <a:pt x="741231" y="3342933"/>
                  </a:cubicBezTo>
                  <a:cubicBezTo>
                    <a:pt x="721393" y="3360873"/>
                    <a:pt x="686375" y="3393303"/>
                    <a:pt x="675508" y="3411071"/>
                  </a:cubicBezTo>
                  <a:cubicBezTo>
                    <a:pt x="668090" y="3423146"/>
                    <a:pt x="635660" y="3442811"/>
                    <a:pt x="608577" y="3456267"/>
                  </a:cubicBezTo>
                  <a:cubicBezTo>
                    <a:pt x="582357" y="3459889"/>
                    <a:pt x="517669" y="3468859"/>
                    <a:pt x="481789" y="3469894"/>
                  </a:cubicBezTo>
                  <a:cubicBezTo>
                    <a:pt x="455396" y="3469894"/>
                    <a:pt x="441768" y="3461441"/>
                    <a:pt x="439526" y="3456094"/>
                  </a:cubicBezTo>
                  <a:cubicBezTo>
                    <a:pt x="439181" y="3455231"/>
                    <a:pt x="438836" y="3454369"/>
                    <a:pt x="440561" y="3452644"/>
                  </a:cubicBezTo>
                  <a:cubicBezTo>
                    <a:pt x="452118" y="3440741"/>
                    <a:pt x="443148" y="3425906"/>
                    <a:pt x="435041" y="3412969"/>
                  </a:cubicBezTo>
                  <a:cubicBezTo>
                    <a:pt x="429003" y="3403309"/>
                    <a:pt x="422276" y="3392441"/>
                    <a:pt x="422276" y="3382263"/>
                  </a:cubicBezTo>
                  <a:cubicBezTo>
                    <a:pt x="422103" y="3355526"/>
                    <a:pt x="376563" y="3352593"/>
                    <a:pt x="342580" y="3352593"/>
                  </a:cubicBezTo>
                  <a:cubicBezTo>
                    <a:pt x="327573" y="3352593"/>
                    <a:pt x="314462" y="3353283"/>
                    <a:pt x="306355" y="3353628"/>
                  </a:cubicBezTo>
                  <a:lnTo>
                    <a:pt x="299972" y="3353801"/>
                  </a:lnTo>
                  <a:cubicBezTo>
                    <a:pt x="293935" y="3353973"/>
                    <a:pt x="281687" y="3354491"/>
                    <a:pt x="268060" y="3354491"/>
                  </a:cubicBezTo>
                  <a:cubicBezTo>
                    <a:pt x="249085" y="3354491"/>
                    <a:pt x="234422" y="3353801"/>
                    <a:pt x="223899" y="3352421"/>
                  </a:cubicBezTo>
                  <a:cubicBezTo>
                    <a:pt x="227867" y="3346728"/>
                    <a:pt x="236492" y="3337413"/>
                    <a:pt x="241839" y="3331893"/>
                  </a:cubicBezTo>
                  <a:cubicBezTo>
                    <a:pt x="252017" y="3321025"/>
                    <a:pt x="260815" y="3311710"/>
                    <a:pt x="264265" y="3303775"/>
                  </a:cubicBezTo>
                  <a:cubicBezTo>
                    <a:pt x="274442" y="3280143"/>
                    <a:pt x="267542" y="3260823"/>
                    <a:pt x="242529" y="3245297"/>
                  </a:cubicBezTo>
                  <a:cubicBezTo>
                    <a:pt x="234077" y="3239950"/>
                    <a:pt x="226487" y="3232360"/>
                    <a:pt x="218897" y="3224425"/>
                  </a:cubicBezTo>
                  <a:cubicBezTo>
                    <a:pt x="207167" y="3212522"/>
                    <a:pt x="196127" y="3200965"/>
                    <a:pt x="181809" y="3200965"/>
                  </a:cubicBezTo>
                  <a:cubicBezTo>
                    <a:pt x="174046" y="3200965"/>
                    <a:pt x="165766" y="3200965"/>
                    <a:pt x="162661" y="3163187"/>
                  </a:cubicBezTo>
                  <a:cubicBezTo>
                    <a:pt x="160764" y="3139037"/>
                    <a:pt x="143859" y="3131964"/>
                    <a:pt x="132646" y="3127479"/>
                  </a:cubicBezTo>
                  <a:cubicBezTo>
                    <a:pt x="121951" y="3122994"/>
                    <a:pt x="119364" y="3121442"/>
                    <a:pt x="119364" y="3115404"/>
                  </a:cubicBezTo>
                  <a:cubicBezTo>
                    <a:pt x="119191" y="3095221"/>
                    <a:pt x="100561" y="3091771"/>
                    <a:pt x="90556" y="3090046"/>
                  </a:cubicBezTo>
                  <a:cubicBezTo>
                    <a:pt x="85381" y="3089011"/>
                    <a:pt x="78998" y="3087976"/>
                    <a:pt x="77791" y="3085734"/>
                  </a:cubicBezTo>
                  <a:cubicBezTo>
                    <a:pt x="77446" y="3085044"/>
                    <a:pt x="76583" y="3082974"/>
                    <a:pt x="78136" y="3075901"/>
                  </a:cubicBezTo>
                  <a:cubicBezTo>
                    <a:pt x="89693" y="3018286"/>
                    <a:pt x="76238" y="3008281"/>
                    <a:pt x="54503" y="2999483"/>
                  </a:cubicBezTo>
                  <a:cubicBezTo>
                    <a:pt x="45706" y="2996033"/>
                    <a:pt x="37425" y="2992583"/>
                    <a:pt x="30698" y="2981198"/>
                  </a:cubicBezTo>
                  <a:cubicBezTo>
                    <a:pt x="21038" y="2964983"/>
                    <a:pt x="18278" y="2952045"/>
                    <a:pt x="22590" y="2944110"/>
                  </a:cubicBezTo>
                  <a:cubicBezTo>
                    <a:pt x="25523" y="2938590"/>
                    <a:pt x="32768" y="2935313"/>
                    <a:pt x="42601" y="2934968"/>
                  </a:cubicBezTo>
                  <a:cubicBezTo>
                    <a:pt x="49846" y="2934795"/>
                    <a:pt x="55883" y="2932035"/>
                    <a:pt x="59851" y="2926860"/>
                  </a:cubicBezTo>
                  <a:cubicBezTo>
                    <a:pt x="70373" y="2913577"/>
                    <a:pt x="65371" y="2889255"/>
                    <a:pt x="60196" y="2863035"/>
                  </a:cubicBezTo>
                  <a:cubicBezTo>
                    <a:pt x="58126" y="2853202"/>
                    <a:pt x="56401" y="2844405"/>
                    <a:pt x="55711" y="2837677"/>
                  </a:cubicBezTo>
                  <a:cubicBezTo>
                    <a:pt x="55366" y="2833192"/>
                    <a:pt x="57263" y="2827327"/>
                    <a:pt x="60886" y="2820772"/>
                  </a:cubicBezTo>
                  <a:lnTo>
                    <a:pt x="367593" y="2920477"/>
                  </a:lnTo>
                  <a:cubicBezTo>
                    <a:pt x="369145" y="2920823"/>
                    <a:pt x="802469" y="3004831"/>
                    <a:pt x="856289" y="3023116"/>
                  </a:cubicBezTo>
                  <a:cubicBezTo>
                    <a:pt x="910454" y="3041228"/>
                    <a:pt x="1073813" y="3108159"/>
                    <a:pt x="1097273" y="3134552"/>
                  </a:cubicBezTo>
                  <a:cubicBezTo>
                    <a:pt x="1107796" y="3144729"/>
                    <a:pt x="1139881" y="3159909"/>
                    <a:pt x="1187491" y="3181300"/>
                  </a:cubicBezTo>
                  <a:cubicBezTo>
                    <a:pt x="1328425" y="3243572"/>
                    <a:pt x="1587004" y="3343623"/>
                    <a:pt x="1597527" y="3347763"/>
                  </a:cubicBezTo>
                  <a:cubicBezTo>
                    <a:pt x="1599597" y="3348626"/>
                    <a:pt x="1601322" y="3348626"/>
                    <a:pt x="1603219" y="3348626"/>
                  </a:cubicBezTo>
                  <a:cubicBezTo>
                    <a:pt x="1628577" y="3347591"/>
                    <a:pt x="1694990" y="3306535"/>
                    <a:pt x="1696025" y="3306535"/>
                  </a:cubicBezTo>
                  <a:lnTo>
                    <a:pt x="1752778" y="3256510"/>
                  </a:lnTo>
                  <a:lnTo>
                    <a:pt x="1882154" y="3272725"/>
                  </a:lnTo>
                  <a:lnTo>
                    <a:pt x="1884224" y="3271690"/>
                  </a:lnTo>
                  <a:cubicBezTo>
                    <a:pt x="1884396" y="3271518"/>
                    <a:pt x="1939769" y="3244780"/>
                    <a:pt x="1963229" y="3227530"/>
                  </a:cubicBezTo>
                  <a:cubicBezTo>
                    <a:pt x="1968060" y="3223907"/>
                    <a:pt x="1972545" y="3222872"/>
                    <a:pt x="1977030" y="3222700"/>
                  </a:cubicBezTo>
                  <a:cubicBezTo>
                    <a:pt x="1988587" y="3222527"/>
                    <a:pt x="2001870" y="3232360"/>
                    <a:pt x="2012737" y="3238742"/>
                  </a:cubicBezTo>
                  <a:cubicBezTo>
                    <a:pt x="2014807" y="3239777"/>
                    <a:pt x="2017222" y="3240467"/>
                    <a:pt x="2019292" y="3240467"/>
                  </a:cubicBezTo>
                  <a:cubicBezTo>
                    <a:pt x="2036025" y="3237880"/>
                    <a:pt x="2042407" y="3221320"/>
                    <a:pt x="2052758" y="3203035"/>
                  </a:cubicBezTo>
                  <a:cubicBezTo>
                    <a:pt x="2062073" y="3184404"/>
                    <a:pt x="2070525" y="3163359"/>
                    <a:pt x="2074493" y="3149904"/>
                  </a:cubicBezTo>
                  <a:cubicBezTo>
                    <a:pt x="2076563" y="3144384"/>
                    <a:pt x="2077425" y="3144384"/>
                    <a:pt x="2082600" y="3143867"/>
                  </a:cubicBezTo>
                  <a:cubicBezTo>
                    <a:pt x="2087430" y="3143694"/>
                    <a:pt x="2094330" y="3146454"/>
                    <a:pt x="2099678" y="3149214"/>
                  </a:cubicBezTo>
                  <a:cubicBezTo>
                    <a:pt x="2105026" y="3151802"/>
                    <a:pt x="2108993" y="3154562"/>
                    <a:pt x="2109338" y="3154562"/>
                  </a:cubicBezTo>
                  <a:lnTo>
                    <a:pt x="2112961" y="3157149"/>
                  </a:lnTo>
                  <a:lnTo>
                    <a:pt x="2117101" y="3155424"/>
                  </a:lnTo>
                  <a:cubicBezTo>
                    <a:pt x="2117101" y="3155424"/>
                    <a:pt x="2145218" y="3143522"/>
                    <a:pt x="2170231" y="3143522"/>
                  </a:cubicBezTo>
                  <a:cubicBezTo>
                    <a:pt x="2177994" y="3143522"/>
                    <a:pt x="2185411" y="3144557"/>
                    <a:pt x="2191104" y="3147317"/>
                  </a:cubicBezTo>
                  <a:cubicBezTo>
                    <a:pt x="2194899" y="3149042"/>
                    <a:pt x="2199039" y="3149904"/>
                    <a:pt x="2203006" y="3149904"/>
                  </a:cubicBezTo>
                  <a:cubicBezTo>
                    <a:pt x="2235609" y="3147489"/>
                    <a:pt x="2253204" y="3103846"/>
                    <a:pt x="2254239" y="3069346"/>
                  </a:cubicBezTo>
                  <a:cubicBezTo>
                    <a:pt x="2254239" y="3063826"/>
                    <a:pt x="2253894" y="3058478"/>
                    <a:pt x="2252514" y="3053304"/>
                  </a:cubicBezTo>
                  <a:cubicBezTo>
                    <a:pt x="2251479" y="3048646"/>
                    <a:pt x="2250789" y="3043471"/>
                    <a:pt x="2250789" y="3038641"/>
                  </a:cubicBezTo>
                  <a:cubicBezTo>
                    <a:pt x="2250789" y="3016906"/>
                    <a:pt x="2260622" y="2994653"/>
                    <a:pt x="2264244" y="2987063"/>
                  </a:cubicBezTo>
                  <a:cubicBezTo>
                    <a:pt x="2271317" y="2984648"/>
                    <a:pt x="2288222" y="2978438"/>
                    <a:pt x="2305645" y="2969813"/>
                  </a:cubicBezTo>
                  <a:cubicBezTo>
                    <a:pt x="2328242" y="2957910"/>
                    <a:pt x="2353427" y="2943420"/>
                    <a:pt x="2358085" y="2918925"/>
                  </a:cubicBezTo>
                  <a:cubicBezTo>
                    <a:pt x="2358775" y="2913750"/>
                    <a:pt x="2363432" y="2910990"/>
                    <a:pt x="2377578" y="2910645"/>
                  </a:cubicBezTo>
                  <a:cubicBezTo>
                    <a:pt x="2405178" y="2910645"/>
                    <a:pt x="2447441" y="2925825"/>
                    <a:pt x="2463828" y="2926170"/>
                  </a:cubicBezTo>
                  <a:cubicBezTo>
                    <a:pt x="2476248" y="2924100"/>
                    <a:pt x="2520409" y="2960843"/>
                    <a:pt x="2522479" y="2976540"/>
                  </a:cubicBezTo>
                  <a:cubicBezTo>
                    <a:pt x="2529034" y="2995516"/>
                    <a:pt x="2547664" y="2995343"/>
                    <a:pt x="2562671" y="2997413"/>
                  </a:cubicBezTo>
                  <a:cubicBezTo>
                    <a:pt x="2578541" y="2998621"/>
                    <a:pt x="2593549" y="3001726"/>
                    <a:pt x="2596137" y="3006556"/>
                  </a:cubicBezTo>
                  <a:cubicBezTo>
                    <a:pt x="2610627" y="3026221"/>
                    <a:pt x="2623909" y="3039158"/>
                    <a:pt x="2634259" y="3059514"/>
                  </a:cubicBezTo>
                  <a:cubicBezTo>
                    <a:pt x="2644437" y="3080041"/>
                    <a:pt x="2663412" y="3100224"/>
                    <a:pt x="2692220" y="3100224"/>
                  </a:cubicBezTo>
                  <a:cubicBezTo>
                    <a:pt x="2696015" y="3100224"/>
                    <a:pt x="2699983" y="3099879"/>
                    <a:pt x="2703950" y="3099189"/>
                  </a:cubicBezTo>
                  <a:cubicBezTo>
                    <a:pt x="2730860" y="3094359"/>
                    <a:pt x="2747420" y="3076936"/>
                    <a:pt x="2753803" y="3069519"/>
                  </a:cubicBezTo>
                  <a:lnTo>
                    <a:pt x="2767430" y="3069346"/>
                  </a:lnTo>
                  <a:cubicBezTo>
                    <a:pt x="2767085" y="3067621"/>
                    <a:pt x="2766740" y="3066414"/>
                    <a:pt x="2766568" y="3066069"/>
                  </a:cubicBezTo>
                  <a:lnTo>
                    <a:pt x="2766740" y="3066069"/>
                  </a:lnTo>
                  <a:cubicBezTo>
                    <a:pt x="2766740" y="3066414"/>
                    <a:pt x="2767258" y="3067621"/>
                    <a:pt x="2767603" y="3069174"/>
                  </a:cubicBezTo>
                  <a:lnTo>
                    <a:pt x="2784508" y="3068829"/>
                  </a:lnTo>
                  <a:cubicBezTo>
                    <a:pt x="2784508" y="3068829"/>
                    <a:pt x="2784508" y="3069001"/>
                    <a:pt x="2784508" y="3069001"/>
                  </a:cubicBezTo>
                  <a:lnTo>
                    <a:pt x="2980124" y="3064344"/>
                  </a:lnTo>
                  <a:lnTo>
                    <a:pt x="3324264" y="3061584"/>
                  </a:lnTo>
                  <a:cubicBezTo>
                    <a:pt x="3365665" y="3061584"/>
                    <a:pt x="3357730" y="3069001"/>
                    <a:pt x="3382742" y="3069519"/>
                  </a:cubicBezTo>
                  <a:cubicBezTo>
                    <a:pt x="3389642" y="3069519"/>
                    <a:pt x="3398267" y="3068656"/>
                    <a:pt x="3411377" y="3066931"/>
                  </a:cubicBezTo>
                  <a:cubicBezTo>
                    <a:pt x="3448810" y="3062619"/>
                    <a:pt x="3460886" y="3038123"/>
                    <a:pt x="3459850" y="3019493"/>
                  </a:cubicBezTo>
                  <a:cubicBezTo>
                    <a:pt x="3459850" y="3008626"/>
                    <a:pt x="3457263" y="2998793"/>
                    <a:pt x="3457435" y="2996033"/>
                  </a:cubicBezTo>
                  <a:cubicBezTo>
                    <a:pt x="3457090" y="2986373"/>
                    <a:pt x="3467613" y="2961878"/>
                    <a:pt x="3467613" y="2961878"/>
                  </a:cubicBezTo>
                  <a:lnTo>
                    <a:pt x="3468475" y="2960153"/>
                  </a:lnTo>
                  <a:lnTo>
                    <a:pt x="3468475" y="2958255"/>
                  </a:lnTo>
                  <a:lnTo>
                    <a:pt x="3468475" y="2890635"/>
                  </a:lnTo>
                  <a:cubicBezTo>
                    <a:pt x="3468475" y="2868900"/>
                    <a:pt x="3468475" y="2850959"/>
                    <a:pt x="3473823" y="2827672"/>
                  </a:cubicBezTo>
                  <a:cubicBezTo>
                    <a:pt x="3477791" y="2808524"/>
                    <a:pt x="3494351" y="2788169"/>
                    <a:pt x="3508151" y="2757291"/>
                  </a:cubicBezTo>
                  <a:lnTo>
                    <a:pt x="3532991" y="2774024"/>
                  </a:lnTo>
                  <a:cubicBezTo>
                    <a:pt x="3535751" y="2782476"/>
                    <a:pt x="3544548" y="2808869"/>
                    <a:pt x="3551276" y="2835434"/>
                  </a:cubicBezTo>
                  <a:cubicBezTo>
                    <a:pt x="3561281" y="2871660"/>
                    <a:pt x="3601646" y="2916338"/>
                    <a:pt x="3603717" y="2960498"/>
                  </a:cubicBezTo>
                  <a:cubicBezTo>
                    <a:pt x="3606476" y="3009488"/>
                    <a:pt x="3606476" y="2992238"/>
                    <a:pt x="3606476" y="3032948"/>
                  </a:cubicBezTo>
                  <a:cubicBezTo>
                    <a:pt x="3606132" y="3055374"/>
                    <a:pt x="3615274" y="3071416"/>
                    <a:pt x="3630282" y="3082801"/>
                  </a:cubicBezTo>
                  <a:cubicBezTo>
                    <a:pt x="3645289" y="3094359"/>
                    <a:pt x="3665472" y="3102811"/>
                    <a:pt x="3691520" y="3116266"/>
                  </a:cubicBezTo>
                  <a:cubicBezTo>
                    <a:pt x="3744822" y="3143522"/>
                    <a:pt x="3725675" y="3131447"/>
                    <a:pt x="3790018" y="3180437"/>
                  </a:cubicBezTo>
                  <a:cubicBezTo>
                    <a:pt x="3827968" y="3209245"/>
                    <a:pt x="3869196" y="3215282"/>
                    <a:pt x="3897659" y="3215282"/>
                  </a:cubicBezTo>
                  <a:cubicBezTo>
                    <a:pt x="3916461" y="3215282"/>
                    <a:pt x="3930089" y="3212695"/>
                    <a:pt x="3934056" y="3211832"/>
                  </a:cubicBezTo>
                  <a:cubicBezTo>
                    <a:pt x="3975629" y="3215282"/>
                    <a:pt x="5022884" y="3303430"/>
                    <a:pt x="5051347" y="3303430"/>
                  </a:cubicBezTo>
                  <a:cubicBezTo>
                    <a:pt x="5074635" y="3303430"/>
                    <a:pt x="5175203" y="3301533"/>
                    <a:pt x="5209186" y="3300843"/>
                  </a:cubicBezTo>
                  <a:cubicBezTo>
                    <a:pt x="5215223" y="3292735"/>
                    <a:pt x="5219018" y="3287388"/>
                    <a:pt x="5221088" y="3283593"/>
                  </a:cubicBezTo>
                  <a:cubicBezTo>
                    <a:pt x="5220916" y="3283593"/>
                    <a:pt x="5079465" y="3286180"/>
                    <a:pt x="5052037" y="3286180"/>
                  </a:cubicBezTo>
                  <a:cubicBezTo>
                    <a:pt x="5039444" y="3286180"/>
                    <a:pt x="4759130" y="3263238"/>
                    <a:pt x="4483128" y="3240467"/>
                  </a:cubicBezTo>
                  <a:cubicBezTo>
                    <a:pt x="4206954" y="3217525"/>
                    <a:pt x="3935091" y="3194755"/>
                    <a:pt x="3934401" y="3194755"/>
                  </a:cubicBezTo>
                  <a:lnTo>
                    <a:pt x="3932849" y="3194582"/>
                  </a:lnTo>
                  <a:lnTo>
                    <a:pt x="3931641" y="3194755"/>
                  </a:lnTo>
                  <a:cubicBezTo>
                    <a:pt x="3931641" y="3194755"/>
                    <a:pt x="3918359" y="3198205"/>
                    <a:pt x="3897659" y="3198205"/>
                  </a:cubicBezTo>
                  <a:cubicBezTo>
                    <a:pt x="3871266" y="3198205"/>
                    <a:pt x="3833660" y="3192512"/>
                    <a:pt x="3799850" y="3166637"/>
                  </a:cubicBezTo>
                  <a:cubicBezTo>
                    <a:pt x="3736715" y="3118509"/>
                    <a:pt x="3751032" y="3127652"/>
                    <a:pt x="3698765" y="3101086"/>
                  </a:cubicBezTo>
                  <a:cubicBezTo>
                    <a:pt x="3672372" y="3087459"/>
                    <a:pt x="3652362" y="3078661"/>
                    <a:pt x="3639942" y="3069174"/>
                  </a:cubicBezTo>
                  <a:cubicBezTo>
                    <a:pt x="3628039" y="3059341"/>
                    <a:pt x="3623382" y="3051578"/>
                    <a:pt x="3622864" y="3033466"/>
                  </a:cubicBezTo>
                  <a:cubicBezTo>
                    <a:pt x="3622864" y="2992928"/>
                    <a:pt x="3622864" y="3008108"/>
                    <a:pt x="3620104" y="2959980"/>
                  </a:cubicBezTo>
                  <a:cubicBezTo>
                    <a:pt x="3616654" y="2907195"/>
                    <a:pt x="3573874" y="2860102"/>
                    <a:pt x="3566974" y="2831294"/>
                  </a:cubicBezTo>
                  <a:cubicBezTo>
                    <a:pt x="3558694" y="2798519"/>
                    <a:pt x="3547309" y="2765916"/>
                    <a:pt x="3547309" y="2765916"/>
                  </a:cubicBezTo>
                  <a:lnTo>
                    <a:pt x="3546274" y="2763156"/>
                  </a:lnTo>
                  <a:lnTo>
                    <a:pt x="3512981" y="2740731"/>
                  </a:lnTo>
                  <a:cubicBezTo>
                    <a:pt x="3512981" y="2740559"/>
                    <a:pt x="3512981" y="2740559"/>
                    <a:pt x="3512981" y="2740386"/>
                  </a:cubicBezTo>
                  <a:lnTo>
                    <a:pt x="3513326" y="2740559"/>
                  </a:lnTo>
                  <a:cubicBezTo>
                    <a:pt x="3513498" y="2739006"/>
                    <a:pt x="3513671" y="2737281"/>
                    <a:pt x="3513671" y="2735729"/>
                  </a:cubicBezTo>
                  <a:cubicBezTo>
                    <a:pt x="3512981" y="2712269"/>
                    <a:pt x="3494178" y="2690706"/>
                    <a:pt x="3476928" y="2670696"/>
                  </a:cubicBezTo>
                  <a:cubicBezTo>
                    <a:pt x="3459505" y="2651893"/>
                    <a:pt x="3441565" y="2631193"/>
                    <a:pt x="3442600" y="2629640"/>
                  </a:cubicBezTo>
                  <a:cubicBezTo>
                    <a:pt x="3442428" y="2629296"/>
                    <a:pt x="3442600" y="2629296"/>
                    <a:pt x="3442600" y="2629296"/>
                  </a:cubicBezTo>
                  <a:cubicBezTo>
                    <a:pt x="3441910" y="2624638"/>
                    <a:pt x="3452260" y="2604973"/>
                    <a:pt x="3463301" y="2589793"/>
                  </a:cubicBezTo>
                  <a:cubicBezTo>
                    <a:pt x="3474168" y="2574268"/>
                    <a:pt x="3485036" y="2560985"/>
                    <a:pt x="3485036" y="2560985"/>
                  </a:cubicBezTo>
                  <a:lnTo>
                    <a:pt x="3485725" y="2560122"/>
                  </a:lnTo>
                  <a:lnTo>
                    <a:pt x="3486071" y="2559087"/>
                  </a:lnTo>
                  <a:cubicBezTo>
                    <a:pt x="3486071" y="2559087"/>
                    <a:pt x="3588709" y="2330523"/>
                    <a:pt x="3691520" y="2099372"/>
                  </a:cubicBezTo>
                  <a:cubicBezTo>
                    <a:pt x="3742925" y="1983796"/>
                    <a:pt x="3794158" y="1867702"/>
                    <a:pt x="3832798" y="1779382"/>
                  </a:cubicBezTo>
                  <a:cubicBezTo>
                    <a:pt x="3851946" y="1735221"/>
                    <a:pt x="3868161" y="1697789"/>
                    <a:pt x="3879546" y="1670878"/>
                  </a:cubicBezTo>
                  <a:cubicBezTo>
                    <a:pt x="3890931" y="1642761"/>
                    <a:pt x="3896969" y="1630168"/>
                    <a:pt x="3897831" y="1621716"/>
                  </a:cubicBezTo>
                  <a:cubicBezTo>
                    <a:pt x="3898004" y="1615333"/>
                    <a:pt x="3893691" y="1608951"/>
                    <a:pt x="3888861" y="1606708"/>
                  </a:cubicBezTo>
                  <a:cubicBezTo>
                    <a:pt x="3884031" y="1604121"/>
                    <a:pt x="3879201" y="1603775"/>
                    <a:pt x="3874198" y="1603775"/>
                  </a:cubicBezTo>
                  <a:cubicBezTo>
                    <a:pt x="3857466" y="1603948"/>
                    <a:pt x="3834523" y="1610676"/>
                    <a:pt x="3828313" y="1610158"/>
                  </a:cubicBezTo>
                  <a:cubicBezTo>
                    <a:pt x="3827451" y="1611193"/>
                    <a:pt x="3808648" y="1600325"/>
                    <a:pt x="3795020" y="1587733"/>
                  </a:cubicBezTo>
                  <a:cubicBezTo>
                    <a:pt x="3787775" y="1581523"/>
                    <a:pt x="3780875" y="1574968"/>
                    <a:pt x="3776218" y="1569620"/>
                  </a:cubicBezTo>
                  <a:cubicBezTo>
                    <a:pt x="3773630" y="1566860"/>
                    <a:pt x="3771905" y="1564445"/>
                    <a:pt x="3770870" y="1562720"/>
                  </a:cubicBezTo>
                  <a:cubicBezTo>
                    <a:pt x="3770180" y="1561858"/>
                    <a:pt x="3770008" y="1561168"/>
                    <a:pt x="3769835" y="1560995"/>
                  </a:cubicBezTo>
                  <a:cubicBezTo>
                    <a:pt x="3768283" y="1551335"/>
                    <a:pt x="3762763" y="1549265"/>
                    <a:pt x="3757070" y="1544263"/>
                  </a:cubicBezTo>
                  <a:cubicBezTo>
                    <a:pt x="3738440" y="1530807"/>
                    <a:pt x="3703422" y="1514937"/>
                    <a:pt x="3692382" y="1510452"/>
                  </a:cubicBezTo>
                  <a:cubicBezTo>
                    <a:pt x="3680825" y="1506140"/>
                    <a:pt x="3602164" y="1454389"/>
                    <a:pt x="3567491" y="1440244"/>
                  </a:cubicBezTo>
                  <a:cubicBezTo>
                    <a:pt x="3535406" y="1427479"/>
                    <a:pt x="3471235" y="1389011"/>
                    <a:pt x="3447948" y="1366241"/>
                  </a:cubicBezTo>
                  <a:cubicBezTo>
                    <a:pt x="3424660" y="1343989"/>
                    <a:pt x="3402063" y="1299656"/>
                    <a:pt x="3400337" y="1289651"/>
                  </a:cubicBezTo>
                  <a:cubicBezTo>
                    <a:pt x="3395680" y="1271021"/>
                    <a:pt x="3373255" y="1244628"/>
                    <a:pt x="3344620" y="1234623"/>
                  </a:cubicBezTo>
                  <a:cubicBezTo>
                    <a:pt x="3337202" y="1232553"/>
                    <a:pt x="3334442" y="1224100"/>
                    <a:pt x="3334097" y="1207713"/>
                  </a:cubicBezTo>
                  <a:cubicBezTo>
                    <a:pt x="3334097" y="1193567"/>
                    <a:pt x="3336512" y="1176835"/>
                    <a:pt x="3336684" y="1161827"/>
                  </a:cubicBezTo>
                  <a:cubicBezTo>
                    <a:pt x="3336512" y="1134572"/>
                    <a:pt x="3323229" y="1106282"/>
                    <a:pt x="3318054" y="1096449"/>
                  </a:cubicBezTo>
                  <a:lnTo>
                    <a:pt x="3318054" y="1095242"/>
                  </a:lnTo>
                  <a:cubicBezTo>
                    <a:pt x="3318054" y="1095242"/>
                    <a:pt x="3318054" y="1095242"/>
                    <a:pt x="3318054" y="1095242"/>
                  </a:cubicBezTo>
                  <a:lnTo>
                    <a:pt x="3318054" y="849255"/>
                  </a:lnTo>
                  <a:cubicBezTo>
                    <a:pt x="3334269" y="850290"/>
                    <a:pt x="3343412" y="853740"/>
                    <a:pt x="3356177" y="862710"/>
                  </a:cubicBezTo>
                  <a:lnTo>
                    <a:pt x="3359972" y="864263"/>
                  </a:lnTo>
                  <a:cubicBezTo>
                    <a:pt x="3396370" y="869955"/>
                    <a:pt x="3420348" y="849082"/>
                    <a:pt x="3454848" y="807510"/>
                  </a:cubicBezTo>
                  <a:cubicBezTo>
                    <a:pt x="3463818" y="796642"/>
                    <a:pt x="3472098" y="791295"/>
                    <a:pt x="3480723" y="791295"/>
                  </a:cubicBezTo>
                  <a:cubicBezTo>
                    <a:pt x="3532301" y="788017"/>
                    <a:pt x="3560419" y="776287"/>
                    <a:pt x="3579221" y="768697"/>
                  </a:cubicBezTo>
                  <a:cubicBezTo>
                    <a:pt x="3588191" y="765074"/>
                    <a:pt x="3594746" y="762314"/>
                    <a:pt x="3598714" y="762314"/>
                  </a:cubicBezTo>
                  <a:cubicBezTo>
                    <a:pt x="3658227" y="770594"/>
                    <a:pt x="3676512" y="743512"/>
                    <a:pt x="3681515" y="719189"/>
                  </a:cubicBezTo>
                  <a:cubicBezTo>
                    <a:pt x="3684792" y="703319"/>
                    <a:pt x="3708597" y="701766"/>
                    <a:pt x="3718602" y="701766"/>
                  </a:cubicBezTo>
                  <a:cubicBezTo>
                    <a:pt x="3733955" y="701766"/>
                    <a:pt x="3744995" y="705389"/>
                    <a:pt x="3746548" y="706424"/>
                  </a:cubicBezTo>
                  <a:cubicBezTo>
                    <a:pt x="3755517" y="717982"/>
                    <a:pt x="3781393" y="718844"/>
                    <a:pt x="3788983" y="718844"/>
                  </a:cubicBezTo>
                  <a:cubicBezTo>
                    <a:pt x="3805543" y="718844"/>
                    <a:pt x="3820896" y="715394"/>
                    <a:pt x="3832453" y="709529"/>
                  </a:cubicBezTo>
                  <a:cubicBezTo>
                    <a:pt x="3835386" y="707804"/>
                    <a:pt x="3842976" y="705216"/>
                    <a:pt x="3859363" y="705216"/>
                  </a:cubicBezTo>
                  <a:cubicBezTo>
                    <a:pt x="3891794" y="705216"/>
                    <a:pt x="3926984" y="715221"/>
                    <a:pt x="3932504" y="721432"/>
                  </a:cubicBezTo>
                  <a:lnTo>
                    <a:pt x="3935264" y="724192"/>
                  </a:lnTo>
                  <a:lnTo>
                    <a:pt x="3938196" y="724537"/>
                  </a:lnTo>
                  <a:cubicBezTo>
                    <a:pt x="3945959" y="725572"/>
                    <a:pt x="3953721" y="726262"/>
                    <a:pt x="3961484" y="726262"/>
                  </a:cubicBezTo>
                  <a:cubicBezTo>
                    <a:pt x="3989602" y="726262"/>
                    <a:pt x="4010992" y="718327"/>
                    <a:pt x="4021687" y="711081"/>
                  </a:cubicBezTo>
                  <a:cubicBezTo>
                    <a:pt x="4032382" y="703836"/>
                    <a:pt x="4037902" y="694004"/>
                    <a:pt x="4037557" y="683481"/>
                  </a:cubicBezTo>
                  <a:cubicBezTo>
                    <a:pt x="4036867" y="668819"/>
                    <a:pt x="4025654" y="655019"/>
                    <a:pt x="4003057" y="641908"/>
                  </a:cubicBezTo>
                  <a:cubicBezTo>
                    <a:pt x="3980804" y="628971"/>
                    <a:pt x="3982184" y="624831"/>
                    <a:pt x="3987704" y="609478"/>
                  </a:cubicBezTo>
                  <a:cubicBezTo>
                    <a:pt x="3989602" y="603958"/>
                    <a:pt x="3991672" y="597921"/>
                    <a:pt x="3993224" y="590503"/>
                  </a:cubicBezTo>
                  <a:cubicBezTo>
                    <a:pt x="4000124" y="587226"/>
                    <a:pt x="4006507" y="585846"/>
                    <a:pt x="4012372" y="585846"/>
                  </a:cubicBezTo>
                  <a:cubicBezTo>
                    <a:pt x="4024102" y="585846"/>
                    <a:pt x="4030312" y="592056"/>
                    <a:pt x="4032037" y="594126"/>
                  </a:cubicBezTo>
                  <a:lnTo>
                    <a:pt x="4034625" y="596713"/>
                  </a:lnTo>
                  <a:lnTo>
                    <a:pt x="4037385" y="597058"/>
                  </a:lnTo>
                  <a:cubicBezTo>
                    <a:pt x="4056532" y="600853"/>
                    <a:pt x="4075335" y="599991"/>
                    <a:pt x="4084995" y="598783"/>
                  </a:cubicBezTo>
                  <a:cubicBezTo>
                    <a:pt x="4086720" y="598611"/>
                    <a:pt x="4087927" y="598438"/>
                    <a:pt x="4091033" y="598438"/>
                  </a:cubicBezTo>
                  <a:cubicBezTo>
                    <a:pt x="4114665" y="597576"/>
                    <a:pt x="4148130" y="595678"/>
                    <a:pt x="4164173" y="588433"/>
                  </a:cubicBezTo>
                  <a:cubicBezTo>
                    <a:pt x="4170383" y="585673"/>
                    <a:pt x="4177111" y="580153"/>
                    <a:pt x="4183838" y="574633"/>
                  </a:cubicBezTo>
                  <a:cubicBezTo>
                    <a:pt x="4191256" y="568423"/>
                    <a:pt x="4201606" y="560143"/>
                    <a:pt x="4209023" y="557728"/>
                  </a:cubicBezTo>
                  <a:cubicBezTo>
                    <a:pt x="4220064" y="568940"/>
                    <a:pt x="4232656" y="577565"/>
                    <a:pt x="4245421" y="584811"/>
                  </a:cubicBezTo>
                  <a:cubicBezTo>
                    <a:pt x="4238866" y="608098"/>
                    <a:pt x="4233346" y="629316"/>
                    <a:pt x="4233174" y="641046"/>
                  </a:cubicBezTo>
                  <a:cubicBezTo>
                    <a:pt x="4233174" y="663299"/>
                    <a:pt x="4234381" y="697454"/>
                    <a:pt x="4234726" y="703319"/>
                  </a:cubicBezTo>
                  <a:cubicBezTo>
                    <a:pt x="4234554" y="704526"/>
                    <a:pt x="4234381" y="707114"/>
                    <a:pt x="4234381" y="710391"/>
                  </a:cubicBezTo>
                  <a:cubicBezTo>
                    <a:pt x="4234381" y="718154"/>
                    <a:pt x="4235589" y="730402"/>
                    <a:pt x="4243696" y="741787"/>
                  </a:cubicBezTo>
                  <a:cubicBezTo>
                    <a:pt x="4251804" y="753172"/>
                    <a:pt x="4266811" y="761624"/>
                    <a:pt x="4289582" y="762314"/>
                  </a:cubicBezTo>
                  <a:cubicBezTo>
                    <a:pt x="4295274" y="762314"/>
                    <a:pt x="4300622" y="762487"/>
                    <a:pt x="4305624" y="762487"/>
                  </a:cubicBezTo>
                  <a:cubicBezTo>
                    <a:pt x="4320287" y="762487"/>
                    <a:pt x="4331327" y="762142"/>
                    <a:pt x="4339434" y="762142"/>
                  </a:cubicBezTo>
                  <a:cubicBezTo>
                    <a:pt x="4355304" y="762832"/>
                    <a:pt x="4355650" y="763004"/>
                    <a:pt x="4359962" y="769042"/>
                  </a:cubicBezTo>
                  <a:cubicBezTo>
                    <a:pt x="4372210" y="788017"/>
                    <a:pt x="4415508" y="832350"/>
                    <a:pt x="4431723" y="839595"/>
                  </a:cubicBezTo>
                  <a:cubicBezTo>
                    <a:pt x="4440348" y="842355"/>
                    <a:pt x="4456045" y="842872"/>
                    <a:pt x="4472950" y="845287"/>
                  </a:cubicBezTo>
                  <a:cubicBezTo>
                    <a:pt x="4489338" y="847012"/>
                    <a:pt x="4505381" y="853222"/>
                    <a:pt x="4505208" y="855465"/>
                  </a:cubicBezTo>
                  <a:cubicBezTo>
                    <a:pt x="4512971" y="868403"/>
                    <a:pt x="4515213" y="900143"/>
                    <a:pt x="4517110" y="910493"/>
                  </a:cubicBezTo>
                  <a:cubicBezTo>
                    <a:pt x="4520733" y="920325"/>
                    <a:pt x="4525908" y="920670"/>
                    <a:pt x="4532981" y="926363"/>
                  </a:cubicBezTo>
                  <a:cubicBezTo>
                    <a:pt x="4543676" y="933436"/>
                    <a:pt x="4558683" y="941888"/>
                    <a:pt x="4570586" y="950686"/>
                  </a:cubicBezTo>
                  <a:cubicBezTo>
                    <a:pt x="4583006" y="958966"/>
                    <a:pt x="4590079" y="968971"/>
                    <a:pt x="4589389" y="970178"/>
                  </a:cubicBezTo>
                  <a:cubicBezTo>
                    <a:pt x="4589561" y="992086"/>
                    <a:pt x="4589044" y="1049184"/>
                    <a:pt x="4599221" y="1076267"/>
                  </a:cubicBezTo>
                  <a:cubicBezTo>
                    <a:pt x="4609227" y="1101279"/>
                    <a:pt x="4636999" y="1141127"/>
                    <a:pt x="4643382" y="1162345"/>
                  </a:cubicBezTo>
                  <a:cubicBezTo>
                    <a:pt x="4649419" y="1178905"/>
                    <a:pt x="4669257" y="1194775"/>
                    <a:pt x="4688059" y="1214785"/>
                  </a:cubicBezTo>
                  <a:cubicBezTo>
                    <a:pt x="4707035" y="1234278"/>
                    <a:pt x="4723077" y="1256013"/>
                    <a:pt x="4722732" y="1271366"/>
                  </a:cubicBezTo>
                  <a:cubicBezTo>
                    <a:pt x="4722387" y="1315181"/>
                    <a:pt x="4741362" y="1328636"/>
                    <a:pt x="4743950" y="1329671"/>
                  </a:cubicBezTo>
                  <a:cubicBezTo>
                    <a:pt x="4744122" y="1329843"/>
                    <a:pt x="4745157" y="1330361"/>
                    <a:pt x="4746882" y="1332431"/>
                  </a:cubicBezTo>
                  <a:cubicBezTo>
                    <a:pt x="4748607" y="1334501"/>
                    <a:pt x="4750332" y="1337606"/>
                    <a:pt x="4750505" y="1343471"/>
                  </a:cubicBezTo>
                  <a:cubicBezTo>
                    <a:pt x="4751540" y="1359514"/>
                    <a:pt x="4764650" y="1365034"/>
                    <a:pt x="4774138" y="1369346"/>
                  </a:cubicBezTo>
                  <a:cubicBezTo>
                    <a:pt x="4781555" y="1372624"/>
                    <a:pt x="4789145" y="1374176"/>
                    <a:pt x="4792250" y="1375039"/>
                  </a:cubicBezTo>
                  <a:lnTo>
                    <a:pt x="4827958" y="1402467"/>
                  </a:lnTo>
                  <a:cubicBezTo>
                    <a:pt x="4788110" y="1411092"/>
                    <a:pt x="4743260" y="1424374"/>
                    <a:pt x="4743605" y="1439554"/>
                  </a:cubicBezTo>
                  <a:cubicBezTo>
                    <a:pt x="4743950" y="1454562"/>
                    <a:pt x="4755335" y="1469397"/>
                    <a:pt x="4779313" y="1469397"/>
                  </a:cubicBezTo>
                  <a:lnTo>
                    <a:pt x="4848658" y="1467499"/>
                  </a:lnTo>
                  <a:cubicBezTo>
                    <a:pt x="4870393" y="1467499"/>
                    <a:pt x="4881434" y="1469052"/>
                    <a:pt x="4890059" y="1470777"/>
                  </a:cubicBezTo>
                  <a:cubicBezTo>
                    <a:pt x="4896613" y="1471467"/>
                    <a:pt x="4902133" y="1471812"/>
                    <a:pt x="4906963" y="1471812"/>
                  </a:cubicBezTo>
                  <a:cubicBezTo>
                    <a:pt x="4928699" y="1471812"/>
                    <a:pt x="4939566" y="1463877"/>
                    <a:pt x="4953711" y="1451974"/>
                  </a:cubicBezTo>
                  <a:cubicBezTo>
                    <a:pt x="4979069" y="1430584"/>
                    <a:pt x="5005807" y="1423339"/>
                    <a:pt x="5025644" y="1417819"/>
                  </a:cubicBezTo>
                  <a:cubicBezTo>
                    <a:pt x="5038409" y="1414197"/>
                    <a:pt x="5047897" y="1411609"/>
                    <a:pt x="5053589" y="1405744"/>
                  </a:cubicBezTo>
                  <a:cubicBezTo>
                    <a:pt x="5060835" y="1398327"/>
                    <a:pt x="5095852" y="1384871"/>
                    <a:pt x="5124142" y="1376936"/>
                  </a:cubicBezTo>
                  <a:lnTo>
                    <a:pt x="5128455" y="1375901"/>
                  </a:lnTo>
                  <a:cubicBezTo>
                    <a:pt x="5148638" y="1370554"/>
                    <a:pt x="5173650" y="1363999"/>
                    <a:pt x="5176238" y="1324496"/>
                  </a:cubicBezTo>
                  <a:cubicBezTo>
                    <a:pt x="5176583" y="1313801"/>
                    <a:pt x="5176238" y="1305003"/>
                    <a:pt x="5175893" y="1298103"/>
                  </a:cubicBezTo>
                  <a:cubicBezTo>
                    <a:pt x="5174858" y="1280336"/>
                    <a:pt x="5174168" y="1269813"/>
                    <a:pt x="5189176" y="1249113"/>
                  </a:cubicBezTo>
                  <a:cubicBezTo>
                    <a:pt x="5202976" y="1230310"/>
                    <a:pt x="5204183" y="1212025"/>
                    <a:pt x="5204701" y="1198743"/>
                  </a:cubicBezTo>
                  <a:cubicBezTo>
                    <a:pt x="5205563" y="1186150"/>
                    <a:pt x="5206253" y="1179940"/>
                    <a:pt x="5212463" y="1175972"/>
                  </a:cubicBezTo>
                  <a:cubicBezTo>
                    <a:pt x="5226954" y="1166657"/>
                    <a:pt x="5250586" y="1156997"/>
                    <a:pt x="5269044" y="1156825"/>
                  </a:cubicBezTo>
                  <a:cubicBezTo>
                    <a:pt x="5280774" y="1159585"/>
                    <a:pt x="5289916" y="1162172"/>
                    <a:pt x="5299404" y="1164760"/>
                  </a:cubicBezTo>
                  <a:cubicBezTo>
                    <a:pt x="5317689" y="1170107"/>
                    <a:pt x="5331144" y="1173730"/>
                    <a:pt x="5354604" y="1173730"/>
                  </a:cubicBezTo>
                  <a:cubicBezTo>
                    <a:pt x="5356674" y="1173902"/>
                    <a:pt x="5362884" y="1175282"/>
                    <a:pt x="5370129" y="1177007"/>
                  </a:cubicBezTo>
                  <a:cubicBezTo>
                    <a:pt x="5387379" y="1180802"/>
                    <a:pt x="5410839" y="1186150"/>
                    <a:pt x="5426882" y="1186150"/>
                  </a:cubicBezTo>
                  <a:lnTo>
                    <a:pt x="5429470" y="1185977"/>
                  </a:lnTo>
                  <a:cubicBezTo>
                    <a:pt x="5444995" y="1181665"/>
                    <a:pt x="5466730" y="1178732"/>
                    <a:pt x="5485015" y="1176145"/>
                  </a:cubicBezTo>
                  <a:cubicBezTo>
                    <a:pt x="5494848" y="1174937"/>
                    <a:pt x="5503300" y="1173557"/>
                    <a:pt x="5508475" y="1172522"/>
                  </a:cubicBezTo>
                  <a:cubicBezTo>
                    <a:pt x="5515720" y="1170797"/>
                    <a:pt x="5542113" y="1169245"/>
                    <a:pt x="5580581" y="1168037"/>
                  </a:cubicBezTo>
                  <a:cubicBezTo>
                    <a:pt x="5619049" y="1175972"/>
                    <a:pt x="5665624" y="1189427"/>
                    <a:pt x="5671834" y="1196845"/>
                  </a:cubicBezTo>
                  <a:cubicBezTo>
                    <a:pt x="5679769" y="1209265"/>
                    <a:pt x="5688049" y="1222030"/>
                    <a:pt x="5679252" y="1254460"/>
                  </a:cubicBezTo>
                  <a:cubicBezTo>
                    <a:pt x="5669246" y="1292411"/>
                    <a:pt x="5654584" y="1330878"/>
                    <a:pt x="5654584" y="1330878"/>
                  </a:cubicBezTo>
                  <a:cubicBezTo>
                    <a:pt x="5640094" y="1360549"/>
                    <a:pt x="5624741" y="1384181"/>
                    <a:pt x="5619394" y="1388321"/>
                  </a:cubicBezTo>
                  <a:cubicBezTo>
                    <a:pt x="5612493" y="1389356"/>
                    <a:pt x="5605593" y="1396084"/>
                    <a:pt x="5589896" y="1410919"/>
                  </a:cubicBezTo>
                  <a:cubicBezTo>
                    <a:pt x="5570403" y="1429722"/>
                    <a:pt x="5543666" y="1455424"/>
                    <a:pt x="5520723" y="1460599"/>
                  </a:cubicBezTo>
                  <a:cubicBezTo>
                    <a:pt x="5487258" y="1468362"/>
                    <a:pt x="5452240" y="1474055"/>
                    <a:pt x="5439303" y="1476124"/>
                  </a:cubicBezTo>
                  <a:lnTo>
                    <a:pt x="5369957" y="1483197"/>
                  </a:lnTo>
                  <a:lnTo>
                    <a:pt x="5294574" y="1482507"/>
                  </a:lnTo>
                  <a:lnTo>
                    <a:pt x="5291642" y="1482680"/>
                  </a:lnTo>
                  <a:lnTo>
                    <a:pt x="5240926" y="1515110"/>
                  </a:lnTo>
                  <a:cubicBezTo>
                    <a:pt x="5239718" y="1516145"/>
                    <a:pt x="5238511" y="1517697"/>
                    <a:pt x="5237476" y="1520630"/>
                  </a:cubicBezTo>
                  <a:lnTo>
                    <a:pt x="5236441" y="1521320"/>
                  </a:lnTo>
                  <a:lnTo>
                    <a:pt x="5237303" y="1525977"/>
                  </a:lnTo>
                  <a:lnTo>
                    <a:pt x="5239201" y="1528565"/>
                  </a:lnTo>
                  <a:cubicBezTo>
                    <a:pt x="5252483" y="1544953"/>
                    <a:pt x="5278014" y="1548403"/>
                    <a:pt x="5297161" y="1548403"/>
                  </a:cubicBezTo>
                  <a:cubicBezTo>
                    <a:pt x="5310789" y="1548403"/>
                    <a:pt x="5323036" y="1546678"/>
                    <a:pt x="5329074" y="1545642"/>
                  </a:cubicBezTo>
                  <a:cubicBezTo>
                    <a:pt x="5339942" y="1543917"/>
                    <a:pt x="5361504" y="1539950"/>
                    <a:pt x="5393244" y="1533740"/>
                  </a:cubicBezTo>
                  <a:lnTo>
                    <a:pt x="5396177" y="1533050"/>
                  </a:lnTo>
                  <a:cubicBezTo>
                    <a:pt x="5414462" y="1529427"/>
                    <a:pt x="5428608" y="1525632"/>
                    <a:pt x="5440510" y="1522182"/>
                  </a:cubicBezTo>
                  <a:cubicBezTo>
                    <a:pt x="5452412" y="1518732"/>
                    <a:pt x="5461210" y="1516490"/>
                    <a:pt x="5468110" y="1516490"/>
                  </a:cubicBezTo>
                  <a:cubicBezTo>
                    <a:pt x="5471043" y="1516490"/>
                    <a:pt x="5475010" y="1516835"/>
                    <a:pt x="5476390" y="1519250"/>
                  </a:cubicBezTo>
                  <a:cubicBezTo>
                    <a:pt x="5477425" y="1521147"/>
                    <a:pt x="5480703" y="1529427"/>
                    <a:pt x="5469490" y="1555303"/>
                  </a:cubicBezTo>
                  <a:cubicBezTo>
                    <a:pt x="5436370" y="1633101"/>
                    <a:pt x="5438095" y="1665013"/>
                    <a:pt x="5438785" y="1670533"/>
                  </a:cubicBezTo>
                  <a:cubicBezTo>
                    <a:pt x="5439130" y="1672603"/>
                    <a:pt x="5439992" y="1674501"/>
                    <a:pt x="5441545" y="1676053"/>
                  </a:cubicBezTo>
                  <a:lnTo>
                    <a:pt x="5441545" y="1682264"/>
                  </a:lnTo>
                  <a:lnTo>
                    <a:pt x="5446375" y="1678641"/>
                  </a:lnTo>
                  <a:lnTo>
                    <a:pt x="5449307" y="1679676"/>
                  </a:lnTo>
                  <a:lnTo>
                    <a:pt x="5453102" y="1676916"/>
                  </a:lnTo>
                  <a:cubicBezTo>
                    <a:pt x="5461210" y="1671396"/>
                    <a:pt x="5488120" y="1651731"/>
                    <a:pt x="5493640" y="1633618"/>
                  </a:cubicBezTo>
                  <a:lnTo>
                    <a:pt x="5494330" y="1631721"/>
                  </a:lnTo>
                  <a:cubicBezTo>
                    <a:pt x="5516928" y="1558408"/>
                    <a:pt x="5529520" y="1551163"/>
                    <a:pt x="5532971" y="1549955"/>
                  </a:cubicBezTo>
                  <a:cubicBezTo>
                    <a:pt x="5592484" y="1521320"/>
                    <a:pt x="5625776" y="1474917"/>
                    <a:pt x="5628709" y="1470432"/>
                  </a:cubicBezTo>
                  <a:cubicBezTo>
                    <a:pt x="5632504" y="1466120"/>
                    <a:pt x="5636471" y="1462152"/>
                    <a:pt x="5639576" y="1459047"/>
                  </a:cubicBezTo>
                  <a:cubicBezTo>
                    <a:pt x="5644406" y="1476987"/>
                    <a:pt x="5655447" y="1500620"/>
                    <a:pt x="5677354" y="1500620"/>
                  </a:cubicBezTo>
                  <a:lnTo>
                    <a:pt x="5680632" y="1499930"/>
                  </a:lnTo>
                  <a:cubicBezTo>
                    <a:pt x="5721860" y="1484405"/>
                    <a:pt x="5727207" y="1437139"/>
                    <a:pt x="5726690" y="1410574"/>
                  </a:cubicBezTo>
                  <a:cubicBezTo>
                    <a:pt x="5726517" y="1393324"/>
                    <a:pt x="5741352" y="1304831"/>
                    <a:pt x="5817770" y="1300001"/>
                  </a:cubicBezTo>
                  <a:cubicBezTo>
                    <a:pt x="5851925" y="1298103"/>
                    <a:pt x="5873833" y="1294826"/>
                    <a:pt x="5889703" y="1292583"/>
                  </a:cubicBezTo>
                  <a:cubicBezTo>
                    <a:pt x="5898155" y="1291376"/>
                    <a:pt x="5904711" y="1290513"/>
                    <a:pt x="5909713" y="1290168"/>
                  </a:cubicBezTo>
                  <a:cubicBezTo>
                    <a:pt x="5921789" y="1294136"/>
                    <a:pt x="5937486" y="1298621"/>
                    <a:pt x="5953874" y="1303623"/>
                  </a:cubicBezTo>
                  <a:lnTo>
                    <a:pt x="5959049" y="1305176"/>
                  </a:lnTo>
                  <a:cubicBezTo>
                    <a:pt x="5986821" y="1313111"/>
                    <a:pt x="6033224" y="1326566"/>
                    <a:pt x="6039089" y="1333121"/>
                  </a:cubicBezTo>
                  <a:cubicBezTo>
                    <a:pt x="6051682" y="1347784"/>
                    <a:pt x="6099809" y="1369174"/>
                    <a:pt x="6116542" y="1369174"/>
                  </a:cubicBezTo>
                  <a:cubicBezTo>
                    <a:pt x="6121200" y="1369001"/>
                    <a:pt x="6125685" y="1369001"/>
                    <a:pt x="6130170" y="1369001"/>
                  </a:cubicBezTo>
                  <a:cubicBezTo>
                    <a:pt x="6139657" y="1369001"/>
                    <a:pt x="6147247" y="1369346"/>
                    <a:pt x="6153458" y="1370036"/>
                  </a:cubicBezTo>
                  <a:cubicBezTo>
                    <a:pt x="6147420" y="1392289"/>
                    <a:pt x="6142763" y="1413162"/>
                    <a:pt x="6142590" y="1424547"/>
                  </a:cubicBezTo>
                  <a:cubicBezTo>
                    <a:pt x="6142417" y="1454562"/>
                    <a:pt x="6143280" y="1444212"/>
                    <a:pt x="6134655" y="1469742"/>
                  </a:cubicBezTo>
                  <a:cubicBezTo>
                    <a:pt x="6126547" y="1493720"/>
                    <a:pt x="6114817" y="1518732"/>
                    <a:pt x="6114817" y="1548403"/>
                  </a:cubicBezTo>
                  <a:cubicBezTo>
                    <a:pt x="6114817" y="1562720"/>
                    <a:pt x="6116887" y="1582730"/>
                    <a:pt x="6116887" y="1600498"/>
                  </a:cubicBezTo>
                  <a:cubicBezTo>
                    <a:pt x="6117232" y="1618266"/>
                    <a:pt x="6113265" y="1632411"/>
                    <a:pt x="6110505" y="1632928"/>
                  </a:cubicBezTo>
                  <a:cubicBezTo>
                    <a:pt x="6089632" y="1649143"/>
                    <a:pt x="6060479" y="1712969"/>
                    <a:pt x="6056857" y="1737809"/>
                  </a:cubicBezTo>
                  <a:cubicBezTo>
                    <a:pt x="6053234" y="1738154"/>
                    <a:pt x="6044092" y="1737636"/>
                    <a:pt x="6035294" y="1739016"/>
                  </a:cubicBezTo>
                  <a:cubicBezTo>
                    <a:pt x="6024426" y="1740051"/>
                    <a:pt x="6011144" y="1751092"/>
                    <a:pt x="6012179" y="1769722"/>
                  </a:cubicBezTo>
                  <a:cubicBezTo>
                    <a:pt x="6012006" y="1806464"/>
                    <a:pt x="6004762" y="1830097"/>
                    <a:pt x="5980784" y="1858732"/>
                  </a:cubicBezTo>
                  <a:cubicBezTo>
                    <a:pt x="5954391" y="1890645"/>
                    <a:pt x="5926619" y="1955333"/>
                    <a:pt x="5923168" y="1996388"/>
                  </a:cubicBezTo>
                  <a:cubicBezTo>
                    <a:pt x="5922133" y="2010533"/>
                    <a:pt x="5913336" y="2016053"/>
                    <a:pt x="5899018" y="2023298"/>
                  </a:cubicBezTo>
                  <a:cubicBezTo>
                    <a:pt x="5885563" y="2030371"/>
                    <a:pt x="5867450" y="2036581"/>
                    <a:pt x="5859688" y="2055901"/>
                  </a:cubicBezTo>
                  <a:cubicBezTo>
                    <a:pt x="5847958" y="2088159"/>
                    <a:pt x="5848303" y="2107997"/>
                    <a:pt x="5824498" y="2121797"/>
                  </a:cubicBezTo>
                  <a:cubicBezTo>
                    <a:pt x="5809317" y="2130767"/>
                    <a:pt x="5800520" y="2141289"/>
                    <a:pt x="5794483" y="2148534"/>
                  </a:cubicBezTo>
                  <a:cubicBezTo>
                    <a:pt x="5787583" y="2155952"/>
                    <a:pt x="5785167" y="2158540"/>
                    <a:pt x="5778612" y="2158540"/>
                  </a:cubicBezTo>
                  <a:cubicBezTo>
                    <a:pt x="5762225" y="2159747"/>
                    <a:pt x="5721687" y="2185277"/>
                    <a:pt x="5678216" y="2210980"/>
                  </a:cubicBezTo>
                  <a:cubicBezTo>
                    <a:pt x="5635954" y="2236855"/>
                    <a:pt x="5596451" y="2262385"/>
                    <a:pt x="5596451" y="2262558"/>
                  </a:cubicBezTo>
                  <a:lnTo>
                    <a:pt x="5589033" y="2267388"/>
                  </a:lnTo>
                  <a:lnTo>
                    <a:pt x="5594208" y="2275150"/>
                  </a:lnTo>
                  <a:cubicBezTo>
                    <a:pt x="5594554" y="2275840"/>
                    <a:pt x="5597486" y="2279635"/>
                    <a:pt x="5603351" y="2284120"/>
                  </a:cubicBezTo>
                  <a:cubicBezTo>
                    <a:pt x="5613528" y="2280325"/>
                    <a:pt x="5621464" y="2277738"/>
                    <a:pt x="5621636" y="2277565"/>
                  </a:cubicBezTo>
                  <a:lnTo>
                    <a:pt x="5621809" y="2278255"/>
                  </a:lnTo>
                  <a:cubicBezTo>
                    <a:pt x="5619394" y="2278946"/>
                    <a:pt x="5613011" y="2281188"/>
                    <a:pt x="5604731" y="2284293"/>
                  </a:cubicBezTo>
                  <a:cubicBezTo>
                    <a:pt x="5604731" y="2284293"/>
                    <a:pt x="5604558" y="2284120"/>
                    <a:pt x="5604558" y="2284120"/>
                  </a:cubicBezTo>
                  <a:cubicBezTo>
                    <a:pt x="5600763" y="2285673"/>
                    <a:pt x="5596451" y="2287398"/>
                    <a:pt x="5592138" y="2288950"/>
                  </a:cubicBezTo>
                  <a:cubicBezTo>
                    <a:pt x="5584548" y="2292401"/>
                    <a:pt x="5576786" y="2296023"/>
                    <a:pt x="5570403" y="2300335"/>
                  </a:cubicBezTo>
                  <a:cubicBezTo>
                    <a:pt x="5564366" y="2304821"/>
                    <a:pt x="5557983" y="2308271"/>
                    <a:pt x="5557121" y="2318621"/>
                  </a:cubicBezTo>
                  <a:cubicBezTo>
                    <a:pt x="5558673" y="2331213"/>
                    <a:pt x="5568161" y="2333973"/>
                    <a:pt x="5579718" y="2336906"/>
                  </a:cubicBezTo>
                  <a:cubicBezTo>
                    <a:pt x="5602316" y="2341736"/>
                    <a:pt x="5624914" y="2345186"/>
                    <a:pt x="5640784" y="2351223"/>
                  </a:cubicBezTo>
                  <a:cubicBezTo>
                    <a:pt x="5657172" y="2357606"/>
                    <a:pt x="5663726" y="2363643"/>
                    <a:pt x="5663726" y="2373994"/>
                  </a:cubicBezTo>
                  <a:cubicBezTo>
                    <a:pt x="5663726" y="2378479"/>
                    <a:pt x="5662519" y="2384516"/>
                    <a:pt x="5658896" y="2392279"/>
                  </a:cubicBezTo>
                  <a:cubicBezTo>
                    <a:pt x="5645441" y="2422121"/>
                    <a:pt x="5640439" y="2436784"/>
                    <a:pt x="5639922" y="2448169"/>
                  </a:cubicBezTo>
                  <a:cubicBezTo>
                    <a:pt x="5639749" y="2451964"/>
                    <a:pt x="5640784" y="2455587"/>
                    <a:pt x="5642336" y="2458692"/>
                  </a:cubicBezTo>
                  <a:cubicBezTo>
                    <a:pt x="5633194" y="2462142"/>
                    <a:pt x="5618014" y="2469214"/>
                    <a:pt x="5611286" y="2485084"/>
                  </a:cubicBezTo>
                  <a:cubicBezTo>
                    <a:pt x="5608871" y="2490604"/>
                    <a:pt x="5607836" y="2495607"/>
                    <a:pt x="5607836" y="2500092"/>
                  </a:cubicBezTo>
                  <a:cubicBezTo>
                    <a:pt x="5608181" y="2509407"/>
                    <a:pt x="5611286" y="2513547"/>
                    <a:pt x="5610596" y="2515272"/>
                  </a:cubicBezTo>
                  <a:cubicBezTo>
                    <a:pt x="5610769" y="2516997"/>
                    <a:pt x="5609906" y="2521482"/>
                    <a:pt x="5602316" y="2531487"/>
                  </a:cubicBezTo>
                  <a:cubicBezTo>
                    <a:pt x="5592656" y="2544252"/>
                    <a:pt x="5584203" y="2546840"/>
                    <a:pt x="5574543" y="2551497"/>
                  </a:cubicBezTo>
                  <a:cubicBezTo>
                    <a:pt x="5564883" y="2555465"/>
                    <a:pt x="5553843" y="2564780"/>
                    <a:pt x="5551083" y="2583238"/>
                  </a:cubicBezTo>
                  <a:cubicBezTo>
                    <a:pt x="5551946" y="2590655"/>
                    <a:pt x="5525725" y="2604110"/>
                    <a:pt x="5497263" y="2614805"/>
                  </a:cubicBezTo>
                  <a:cubicBezTo>
                    <a:pt x="5469490" y="2626880"/>
                    <a:pt x="5438268" y="2638783"/>
                    <a:pt x="5434473" y="2668798"/>
                  </a:cubicBezTo>
                  <a:cubicBezTo>
                    <a:pt x="5434300" y="2671731"/>
                    <a:pt x="5434127" y="2674491"/>
                    <a:pt x="5434127" y="2677596"/>
                  </a:cubicBezTo>
                  <a:cubicBezTo>
                    <a:pt x="5434300" y="2705541"/>
                    <a:pt x="5445168" y="2727794"/>
                    <a:pt x="5444822" y="2739179"/>
                  </a:cubicBezTo>
                  <a:cubicBezTo>
                    <a:pt x="5444477" y="2745561"/>
                    <a:pt x="5444133" y="2747459"/>
                    <a:pt x="5435507" y="2752461"/>
                  </a:cubicBezTo>
                  <a:cubicBezTo>
                    <a:pt x="5422052" y="2758844"/>
                    <a:pt x="5409287" y="2764536"/>
                    <a:pt x="5409115" y="2781097"/>
                  </a:cubicBezTo>
                  <a:cubicBezTo>
                    <a:pt x="5409460" y="2797139"/>
                    <a:pt x="5419292" y="2816287"/>
                    <a:pt x="5437405" y="2862345"/>
                  </a:cubicBezTo>
                  <a:cubicBezTo>
                    <a:pt x="5446202" y="2884770"/>
                    <a:pt x="5449307" y="2899950"/>
                    <a:pt x="5449307" y="2910128"/>
                  </a:cubicBezTo>
                  <a:cubicBezTo>
                    <a:pt x="5450860" y="2935658"/>
                    <a:pt x="5426365" y="2940833"/>
                    <a:pt x="5409460" y="2985338"/>
                  </a:cubicBezTo>
                  <a:cubicBezTo>
                    <a:pt x="5391002" y="3039331"/>
                    <a:pt x="5352534" y="3087286"/>
                    <a:pt x="5334421" y="3096256"/>
                  </a:cubicBezTo>
                  <a:cubicBezTo>
                    <a:pt x="5309236" y="3110401"/>
                    <a:pt x="5263696" y="3162669"/>
                    <a:pt x="5253864" y="3178539"/>
                  </a:cubicBezTo>
                  <a:cubicBezTo>
                    <a:pt x="5246446" y="3191477"/>
                    <a:pt x="5226954" y="3218215"/>
                    <a:pt x="5226781" y="3252542"/>
                  </a:cubicBezTo>
                  <a:cubicBezTo>
                    <a:pt x="5226436" y="3272725"/>
                    <a:pt x="5227126" y="3274450"/>
                    <a:pt x="5221951" y="3283248"/>
                  </a:cubicBezTo>
                  <a:lnTo>
                    <a:pt x="5222124" y="3300498"/>
                  </a:lnTo>
                  <a:cubicBezTo>
                    <a:pt x="5222124" y="3300498"/>
                    <a:pt x="5217638" y="3300498"/>
                    <a:pt x="5210566" y="3300670"/>
                  </a:cubicBezTo>
                  <a:cubicBezTo>
                    <a:pt x="5209358" y="3302740"/>
                    <a:pt x="5207978" y="3304638"/>
                    <a:pt x="5206253" y="3307570"/>
                  </a:cubicBezTo>
                  <a:cubicBezTo>
                    <a:pt x="5184863" y="3341726"/>
                    <a:pt x="5182448" y="3340690"/>
                    <a:pt x="5162438" y="3379676"/>
                  </a:cubicBezTo>
                  <a:cubicBezTo>
                    <a:pt x="5143635" y="3416074"/>
                    <a:pt x="5129490" y="3426596"/>
                    <a:pt x="5129835" y="3482314"/>
                  </a:cubicBezTo>
                  <a:cubicBezTo>
                    <a:pt x="5130007" y="3532512"/>
                    <a:pt x="5094472" y="3640843"/>
                    <a:pt x="5094300" y="3678276"/>
                  </a:cubicBezTo>
                  <a:cubicBezTo>
                    <a:pt x="5094300" y="3679311"/>
                    <a:pt x="5094300" y="3680345"/>
                    <a:pt x="5094472" y="3681726"/>
                  </a:cubicBezTo>
                  <a:cubicBezTo>
                    <a:pt x="5096370" y="3712086"/>
                    <a:pt x="5096370" y="3732958"/>
                    <a:pt x="5096370" y="3754176"/>
                  </a:cubicBezTo>
                  <a:cubicBezTo>
                    <a:pt x="5096370" y="3775221"/>
                    <a:pt x="5096370" y="3802649"/>
                    <a:pt x="5098440" y="3837494"/>
                  </a:cubicBezTo>
                  <a:cubicBezTo>
                    <a:pt x="5100510" y="3873029"/>
                    <a:pt x="5114482" y="3938407"/>
                    <a:pt x="5114138" y="3946860"/>
                  </a:cubicBezTo>
                  <a:cubicBezTo>
                    <a:pt x="5115863" y="3959625"/>
                    <a:pt x="5125868" y="3961005"/>
                    <a:pt x="5133975" y="3961350"/>
                  </a:cubicBezTo>
                  <a:cubicBezTo>
                    <a:pt x="5134837" y="3961350"/>
                    <a:pt x="5135700" y="3961178"/>
                    <a:pt x="5136390" y="3961178"/>
                  </a:cubicBezTo>
                  <a:cubicBezTo>
                    <a:pt x="5136390" y="3960833"/>
                    <a:pt x="5136218" y="3960488"/>
                    <a:pt x="5136218" y="3960488"/>
                  </a:cubicBezTo>
                  <a:cubicBezTo>
                    <a:pt x="5141048" y="3960143"/>
                    <a:pt x="5146568" y="3959108"/>
                    <a:pt x="5152260" y="3957038"/>
                  </a:cubicBezTo>
                  <a:cubicBezTo>
                    <a:pt x="5152260" y="3956865"/>
                    <a:pt x="5152260" y="3956865"/>
                    <a:pt x="5152260" y="3956693"/>
                  </a:cubicBezTo>
                  <a:lnTo>
                    <a:pt x="5152433" y="3956693"/>
                  </a:lnTo>
                  <a:cubicBezTo>
                    <a:pt x="5152433" y="3956693"/>
                    <a:pt x="5152433" y="3957038"/>
                    <a:pt x="5152433" y="3957382"/>
                  </a:cubicBezTo>
                  <a:cubicBezTo>
                    <a:pt x="5172961" y="3948240"/>
                    <a:pt x="5195903" y="3922882"/>
                    <a:pt x="5205908" y="3869752"/>
                  </a:cubicBezTo>
                  <a:cubicBezTo>
                    <a:pt x="5206598" y="3866819"/>
                    <a:pt x="5206943" y="3864232"/>
                    <a:pt x="5207461" y="3861644"/>
                  </a:cubicBezTo>
                  <a:cubicBezTo>
                    <a:pt x="5207633" y="3869752"/>
                    <a:pt x="5207806" y="3878895"/>
                    <a:pt x="5207633" y="3888382"/>
                  </a:cubicBezTo>
                  <a:cubicBezTo>
                    <a:pt x="5207633" y="3902872"/>
                    <a:pt x="5207461" y="3919087"/>
                    <a:pt x="5207288" y="3935302"/>
                  </a:cubicBezTo>
                  <a:cubicBezTo>
                    <a:pt x="5207288" y="3936337"/>
                    <a:pt x="5207288" y="3937717"/>
                    <a:pt x="5207288" y="3938753"/>
                  </a:cubicBezTo>
                  <a:cubicBezTo>
                    <a:pt x="5207115" y="3982740"/>
                    <a:pt x="5228678" y="4009133"/>
                    <a:pt x="5253691" y="4021898"/>
                  </a:cubicBezTo>
                  <a:cubicBezTo>
                    <a:pt x="5278876" y="4035181"/>
                    <a:pt x="5307167" y="4036906"/>
                    <a:pt x="5324244" y="4036906"/>
                  </a:cubicBezTo>
                  <a:cubicBezTo>
                    <a:pt x="5357019" y="4036906"/>
                    <a:pt x="5383929" y="4042598"/>
                    <a:pt x="5383929" y="4042598"/>
                  </a:cubicBezTo>
                  <a:lnTo>
                    <a:pt x="5391175" y="4044151"/>
                  </a:lnTo>
                  <a:lnTo>
                    <a:pt x="5393589" y="4036906"/>
                  </a:lnTo>
                  <a:cubicBezTo>
                    <a:pt x="5393589" y="4036906"/>
                    <a:pt x="5401870" y="4010686"/>
                    <a:pt x="5414117" y="3984465"/>
                  </a:cubicBezTo>
                  <a:cubicBezTo>
                    <a:pt x="5425330" y="3957728"/>
                    <a:pt x="5444133" y="3933750"/>
                    <a:pt x="5451377" y="3935820"/>
                  </a:cubicBezTo>
                  <a:cubicBezTo>
                    <a:pt x="5453793" y="3935820"/>
                    <a:pt x="5456897" y="3936855"/>
                    <a:pt x="5461900" y="3944618"/>
                  </a:cubicBezTo>
                  <a:cubicBezTo>
                    <a:pt x="5496573" y="3998783"/>
                    <a:pt x="5484843" y="4027246"/>
                    <a:pt x="5501748" y="4052948"/>
                  </a:cubicBezTo>
                  <a:cubicBezTo>
                    <a:pt x="5507440" y="4061228"/>
                    <a:pt x="5516411" y="4064678"/>
                    <a:pt x="5524518" y="4064506"/>
                  </a:cubicBezTo>
                  <a:cubicBezTo>
                    <a:pt x="5543493" y="4063816"/>
                    <a:pt x="5561088" y="4050361"/>
                    <a:pt x="5569023" y="4036388"/>
                  </a:cubicBezTo>
                  <a:cubicBezTo>
                    <a:pt x="5569713" y="4031731"/>
                    <a:pt x="5601454" y="4013963"/>
                    <a:pt x="5620601" y="4015343"/>
                  </a:cubicBezTo>
                  <a:cubicBezTo>
                    <a:pt x="5630606" y="4015516"/>
                    <a:pt x="5635091" y="4018103"/>
                    <a:pt x="5636989" y="4023623"/>
                  </a:cubicBezTo>
                  <a:cubicBezTo>
                    <a:pt x="5648201" y="4055191"/>
                    <a:pt x="5683392" y="4083826"/>
                    <a:pt x="5708922" y="4085206"/>
                  </a:cubicBezTo>
                  <a:cubicBezTo>
                    <a:pt x="5712717" y="4085206"/>
                    <a:pt x="5716512" y="4084343"/>
                    <a:pt x="5719962" y="4082446"/>
                  </a:cubicBezTo>
                  <a:cubicBezTo>
                    <a:pt x="5726517" y="4078478"/>
                    <a:pt x="5739799" y="4072613"/>
                    <a:pt x="5751529" y="4066058"/>
                  </a:cubicBezTo>
                  <a:cubicBezTo>
                    <a:pt x="5762742" y="4058813"/>
                    <a:pt x="5775162" y="4053466"/>
                    <a:pt x="5776715" y="4038113"/>
                  </a:cubicBezTo>
                  <a:cubicBezTo>
                    <a:pt x="5776715" y="4035698"/>
                    <a:pt x="5776370" y="4033801"/>
                    <a:pt x="5775680" y="4032076"/>
                  </a:cubicBezTo>
                  <a:cubicBezTo>
                    <a:pt x="5778612" y="4030868"/>
                    <a:pt x="5785685" y="4029143"/>
                    <a:pt x="5794655" y="4029316"/>
                  </a:cubicBezTo>
                  <a:cubicBezTo>
                    <a:pt x="5808455" y="4029316"/>
                    <a:pt x="5826568" y="4032248"/>
                    <a:pt x="5843818" y="4038631"/>
                  </a:cubicBezTo>
                  <a:cubicBezTo>
                    <a:pt x="5855893" y="4043116"/>
                    <a:pt x="5868831" y="4045013"/>
                    <a:pt x="5881251" y="4045013"/>
                  </a:cubicBezTo>
                  <a:cubicBezTo>
                    <a:pt x="5915751" y="4044668"/>
                    <a:pt x="5948181" y="4032076"/>
                    <a:pt x="5960429" y="4011721"/>
                  </a:cubicBezTo>
                  <a:cubicBezTo>
                    <a:pt x="5960429" y="4007580"/>
                    <a:pt x="5989064" y="3998783"/>
                    <a:pt x="6014766" y="3997230"/>
                  </a:cubicBezTo>
                  <a:cubicBezTo>
                    <a:pt x="6034087" y="3995333"/>
                    <a:pt x="6052717" y="3994643"/>
                    <a:pt x="6060997" y="3994470"/>
                  </a:cubicBezTo>
                  <a:cubicBezTo>
                    <a:pt x="6059444" y="3992745"/>
                    <a:pt x="6058237" y="3990503"/>
                    <a:pt x="6057374" y="3985673"/>
                  </a:cubicBezTo>
                  <a:cubicBezTo>
                    <a:pt x="6057374" y="3983948"/>
                    <a:pt x="6057374" y="3980843"/>
                    <a:pt x="6057374" y="3977220"/>
                  </a:cubicBezTo>
                  <a:cubicBezTo>
                    <a:pt x="6047714" y="3977393"/>
                    <a:pt x="6030982" y="3978083"/>
                    <a:pt x="6013041" y="3979980"/>
                  </a:cubicBezTo>
                  <a:cubicBezTo>
                    <a:pt x="5985959" y="3983603"/>
                    <a:pt x="5958013" y="3985500"/>
                    <a:pt x="5946111" y="4002750"/>
                  </a:cubicBezTo>
                  <a:cubicBezTo>
                    <a:pt x="5940936" y="4013445"/>
                    <a:pt x="5911093" y="4027936"/>
                    <a:pt x="5881078" y="4027418"/>
                  </a:cubicBezTo>
                  <a:cubicBezTo>
                    <a:pt x="5870038" y="4027418"/>
                    <a:pt x="5859171" y="4025693"/>
                    <a:pt x="5849165" y="4022070"/>
                  </a:cubicBezTo>
                  <a:cubicBezTo>
                    <a:pt x="5830018" y="4014825"/>
                    <a:pt x="5810180" y="4011893"/>
                    <a:pt x="5794483" y="4011893"/>
                  </a:cubicBezTo>
                  <a:cubicBezTo>
                    <a:pt x="5785512" y="4011893"/>
                    <a:pt x="5778095" y="4012755"/>
                    <a:pt x="5771712" y="4014825"/>
                  </a:cubicBezTo>
                  <a:cubicBezTo>
                    <a:pt x="5766020" y="4016896"/>
                    <a:pt x="5758775" y="4021208"/>
                    <a:pt x="5758257" y="4030868"/>
                  </a:cubicBezTo>
                  <a:cubicBezTo>
                    <a:pt x="5758257" y="4033628"/>
                    <a:pt x="5759119" y="4036043"/>
                    <a:pt x="5760154" y="4038113"/>
                  </a:cubicBezTo>
                  <a:cubicBezTo>
                    <a:pt x="5760154" y="4038458"/>
                    <a:pt x="5759465" y="4039666"/>
                    <a:pt x="5756877" y="4041736"/>
                  </a:cubicBezTo>
                  <a:cubicBezTo>
                    <a:pt x="5747735" y="4050188"/>
                    <a:pt x="5724102" y="4059848"/>
                    <a:pt x="5711854" y="4067093"/>
                  </a:cubicBezTo>
                  <a:cubicBezTo>
                    <a:pt x="5711509" y="4067266"/>
                    <a:pt x="5710647" y="4067438"/>
                    <a:pt x="5708922" y="4067438"/>
                  </a:cubicBezTo>
                  <a:cubicBezTo>
                    <a:pt x="5695639" y="4068646"/>
                    <a:pt x="5658551" y="4040356"/>
                    <a:pt x="5652686" y="4017758"/>
                  </a:cubicBezTo>
                  <a:cubicBezTo>
                    <a:pt x="5647856" y="4002578"/>
                    <a:pt x="5633366" y="3997230"/>
                    <a:pt x="5620429" y="3997575"/>
                  </a:cubicBezTo>
                  <a:cubicBezTo>
                    <a:pt x="5594036" y="3998610"/>
                    <a:pt x="5564193" y="4011893"/>
                    <a:pt x="5554188" y="4027936"/>
                  </a:cubicBezTo>
                  <a:cubicBezTo>
                    <a:pt x="5550911" y="4035353"/>
                    <a:pt x="5534178" y="4047601"/>
                    <a:pt x="5524173" y="4046911"/>
                  </a:cubicBezTo>
                  <a:cubicBezTo>
                    <a:pt x="5519860" y="4046738"/>
                    <a:pt x="5517273" y="4045703"/>
                    <a:pt x="5514858" y="4042253"/>
                  </a:cubicBezTo>
                  <a:cubicBezTo>
                    <a:pt x="5503818" y="4029661"/>
                    <a:pt x="5512098" y="3992400"/>
                    <a:pt x="5475700" y="3934612"/>
                  </a:cubicBezTo>
                  <a:cubicBezTo>
                    <a:pt x="5469318" y="3924607"/>
                    <a:pt x="5460865" y="3918225"/>
                    <a:pt x="5451377" y="3918225"/>
                  </a:cubicBezTo>
                  <a:cubicBezTo>
                    <a:pt x="5426710" y="3920295"/>
                    <a:pt x="5412565" y="3949793"/>
                    <a:pt x="5399109" y="3976703"/>
                  </a:cubicBezTo>
                  <a:cubicBezTo>
                    <a:pt x="5390312" y="3995678"/>
                    <a:pt x="5383584" y="4014481"/>
                    <a:pt x="5380134" y="4024313"/>
                  </a:cubicBezTo>
                  <a:cubicBezTo>
                    <a:pt x="5369612" y="4022588"/>
                    <a:pt x="5348567" y="4019655"/>
                    <a:pt x="5324244" y="4019655"/>
                  </a:cubicBezTo>
                  <a:cubicBezTo>
                    <a:pt x="5308201" y="4019655"/>
                    <a:pt x="5281981" y="4017758"/>
                    <a:pt x="5261108" y="4006718"/>
                  </a:cubicBezTo>
                  <a:cubicBezTo>
                    <a:pt x="5240236" y="3995333"/>
                    <a:pt x="5224021" y="3977048"/>
                    <a:pt x="5223848" y="3939097"/>
                  </a:cubicBezTo>
                  <a:cubicBezTo>
                    <a:pt x="5223848" y="3938235"/>
                    <a:pt x="5223848" y="3937200"/>
                    <a:pt x="5223848" y="3936337"/>
                  </a:cubicBezTo>
                  <a:cubicBezTo>
                    <a:pt x="5224021" y="3919777"/>
                    <a:pt x="5224538" y="3903735"/>
                    <a:pt x="5224538" y="3888727"/>
                  </a:cubicBezTo>
                  <a:cubicBezTo>
                    <a:pt x="5224538" y="3870442"/>
                    <a:pt x="5224193" y="3854399"/>
                    <a:pt x="5223331" y="3842497"/>
                  </a:cubicBezTo>
                  <a:cubicBezTo>
                    <a:pt x="5222986" y="3836459"/>
                    <a:pt x="5222296" y="3831802"/>
                    <a:pt x="5221433" y="3827834"/>
                  </a:cubicBezTo>
                  <a:cubicBezTo>
                    <a:pt x="5219708" y="3824902"/>
                    <a:pt x="5221433" y="3818692"/>
                    <a:pt x="5210566" y="3816277"/>
                  </a:cubicBezTo>
                  <a:cubicBezTo>
                    <a:pt x="5203493" y="3817139"/>
                    <a:pt x="5202458" y="3821107"/>
                    <a:pt x="5200906" y="3823177"/>
                  </a:cubicBezTo>
                  <a:cubicBezTo>
                    <a:pt x="5197283" y="3830594"/>
                    <a:pt x="5194006" y="3843187"/>
                    <a:pt x="5189693" y="3866647"/>
                  </a:cubicBezTo>
                  <a:cubicBezTo>
                    <a:pt x="5177100" y="3932197"/>
                    <a:pt x="5146913" y="3944445"/>
                    <a:pt x="5134148" y="3944790"/>
                  </a:cubicBezTo>
                  <a:cubicBezTo>
                    <a:pt x="5132595" y="3944790"/>
                    <a:pt x="5131560" y="3944618"/>
                    <a:pt x="5130698" y="3944445"/>
                  </a:cubicBezTo>
                  <a:cubicBezTo>
                    <a:pt x="5128972" y="3925642"/>
                    <a:pt x="5116898" y="3868889"/>
                    <a:pt x="5115173" y="3837149"/>
                  </a:cubicBezTo>
                  <a:cubicBezTo>
                    <a:pt x="5113275" y="3802649"/>
                    <a:pt x="5113103" y="3775911"/>
                    <a:pt x="5113103" y="3754521"/>
                  </a:cubicBezTo>
                  <a:cubicBezTo>
                    <a:pt x="5113103" y="3733476"/>
                    <a:pt x="5113103" y="3711568"/>
                    <a:pt x="5111205" y="3680518"/>
                  </a:cubicBezTo>
                  <a:cubicBezTo>
                    <a:pt x="5111205" y="3679828"/>
                    <a:pt x="5111033" y="3679483"/>
                    <a:pt x="5111033" y="3678621"/>
                  </a:cubicBezTo>
                  <a:cubicBezTo>
                    <a:pt x="5110687" y="3647915"/>
                    <a:pt x="5146568" y="3537687"/>
                    <a:pt x="5146913" y="3482659"/>
                  </a:cubicBezTo>
                  <a:cubicBezTo>
                    <a:pt x="5147258" y="3430219"/>
                    <a:pt x="5156918" y="3428839"/>
                    <a:pt x="5177618" y="3388301"/>
                  </a:cubicBezTo>
                  <a:cubicBezTo>
                    <a:pt x="5197283" y="3350178"/>
                    <a:pt x="5198663" y="3352938"/>
                    <a:pt x="5220916" y="3317403"/>
                  </a:cubicBezTo>
                  <a:cubicBezTo>
                    <a:pt x="5241961" y="3284973"/>
                    <a:pt x="5244721" y="3283248"/>
                    <a:pt x="5243858" y="3252715"/>
                  </a:cubicBezTo>
                  <a:cubicBezTo>
                    <a:pt x="5243686" y="3225460"/>
                    <a:pt x="5260073" y="3201655"/>
                    <a:pt x="5268354" y="3187854"/>
                  </a:cubicBezTo>
                  <a:cubicBezTo>
                    <a:pt x="5274391" y="3176814"/>
                    <a:pt x="5323726" y="3121096"/>
                    <a:pt x="5342357" y="3111954"/>
                  </a:cubicBezTo>
                  <a:cubicBezTo>
                    <a:pt x="5367714" y="3097809"/>
                    <a:pt x="5404630" y="3049509"/>
                    <a:pt x="5425502" y="2991375"/>
                  </a:cubicBezTo>
                  <a:cubicBezTo>
                    <a:pt x="5437405" y="2954288"/>
                    <a:pt x="5465005" y="2949630"/>
                    <a:pt x="5466385" y="2910128"/>
                  </a:cubicBezTo>
                  <a:cubicBezTo>
                    <a:pt x="5466385" y="2896327"/>
                    <a:pt x="5462418" y="2879422"/>
                    <a:pt x="5453102" y="2855789"/>
                  </a:cubicBezTo>
                  <a:cubicBezTo>
                    <a:pt x="5434817" y="2810422"/>
                    <a:pt x="5425675" y="2788342"/>
                    <a:pt x="5426020" y="2781269"/>
                  </a:cubicBezTo>
                  <a:cubicBezTo>
                    <a:pt x="5425847" y="2777646"/>
                    <a:pt x="5427055" y="2776611"/>
                    <a:pt x="5442925" y="2768677"/>
                  </a:cubicBezTo>
                  <a:cubicBezTo>
                    <a:pt x="5455863" y="2762984"/>
                    <a:pt x="5462590" y="2750909"/>
                    <a:pt x="5461900" y="2739696"/>
                  </a:cubicBezTo>
                  <a:cubicBezTo>
                    <a:pt x="5461555" y="2720549"/>
                    <a:pt x="5451032" y="2701228"/>
                    <a:pt x="5451205" y="2678113"/>
                  </a:cubicBezTo>
                  <a:cubicBezTo>
                    <a:pt x="5451205" y="2675698"/>
                    <a:pt x="5451377" y="2673456"/>
                    <a:pt x="5451550" y="2671041"/>
                  </a:cubicBezTo>
                  <a:cubicBezTo>
                    <a:pt x="5451550" y="2656723"/>
                    <a:pt x="5475700" y="2642751"/>
                    <a:pt x="5503991" y="2631538"/>
                  </a:cubicBezTo>
                  <a:cubicBezTo>
                    <a:pt x="5531418" y="2619118"/>
                    <a:pt x="5561261" y="2612390"/>
                    <a:pt x="5568161" y="2587033"/>
                  </a:cubicBezTo>
                  <a:cubicBezTo>
                    <a:pt x="5571439" y="2572888"/>
                    <a:pt x="5574198" y="2572370"/>
                    <a:pt x="5582306" y="2567885"/>
                  </a:cubicBezTo>
                  <a:cubicBezTo>
                    <a:pt x="5590586" y="2563917"/>
                    <a:pt x="5603868" y="2558915"/>
                    <a:pt x="5615944" y="2542700"/>
                  </a:cubicBezTo>
                  <a:cubicBezTo>
                    <a:pt x="5624224" y="2531660"/>
                    <a:pt x="5627674" y="2523725"/>
                    <a:pt x="5627674" y="2515790"/>
                  </a:cubicBezTo>
                  <a:cubicBezTo>
                    <a:pt x="5627329" y="2506647"/>
                    <a:pt x="5624396" y="2503370"/>
                    <a:pt x="5624741" y="2500609"/>
                  </a:cubicBezTo>
                  <a:cubicBezTo>
                    <a:pt x="5624741" y="2499057"/>
                    <a:pt x="5625086" y="2496814"/>
                    <a:pt x="5626811" y="2492675"/>
                  </a:cubicBezTo>
                  <a:cubicBezTo>
                    <a:pt x="5629744" y="2485430"/>
                    <a:pt x="5636816" y="2480772"/>
                    <a:pt x="5644234" y="2477322"/>
                  </a:cubicBezTo>
                  <a:cubicBezTo>
                    <a:pt x="5647856" y="2475597"/>
                    <a:pt x="5651479" y="2474389"/>
                    <a:pt x="5654756" y="2473009"/>
                  </a:cubicBezTo>
                  <a:cubicBezTo>
                    <a:pt x="5657172" y="2470594"/>
                    <a:pt x="5662002" y="2473009"/>
                    <a:pt x="5664589" y="2461624"/>
                  </a:cubicBezTo>
                  <a:cubicBezTo>
                    <a:pt x="5664416" y="2456449"/>
                    <a:pt x="5661312" y="2453862"/>
                    <a:pt x="5659931" y="2452827"/>
                  </a:cubicBezTo>
                  <a:cubicBezTo>
                    <a:pt x="5656999" y="2450067"/>
                    <a:pt x="5657861" y="2451964"/>
                    <a:pt x="5657344" y="2448514"/>
                  </a:cubicBezTo>
                  <a:cubicBezTo>
                    <a:pt x="5657172" y="2443684"/>
                    <a:pt x="5661139" y="2428849"/>
                    <a:pt x="5674594" y="2399869"/>
                  </a:cubicBezTo>
                  <a:cubicBezTo>
                    <a:pt x="5678906" y="2390554"/>
                    <a:pt x="5680976" y="2382101"/>
                    <a:pt x="5680976" y="2374339"/>
                  </a:cubicBezTo>
                  <a:cubicBezTo>
                    <a:pt x="5680976" y="2352948"/>
                    <a:pt x="5664589" y="2341218"/>
                    <a:pt x="5646822" y="2335008"/>
                  </a:cubicBezTo>
                  <a:cubicBezTo>
                    <a:pt x="5628536" y="2328453"/>
                    <a:pt x="5605766" y="2325003"/>
                    <a:pt x="5583513" y="2320001"/>
                  </a:cubicBezTo>
                  <a:cubicBezTo>
                    <a:pt x="5580236" y="2319311"/>
                    <a:pt x="5577821" y="2318448"/>
                    <a:pt x="5576096" y="2317931"/>
                  </a:cubicBezTo>
                  <a:cubicBezTo>
                    <a:pt x="5580581" y="2314481"/>
                    <a:pt x="5591448" y="2308098"/>
                    <a:pt x="5601626" y="2304303"/>
                  </a:cubicBezTo>
                  <a:cubicBezTo>
                    <a:pt x="5610596" y="2300508"/>
                    <a:pt x="5618876" y="2297748"/>
                    <a:pt x="5623534" y="2296023"/>
                  </a:cubicBezTo>
                  <a:cubicBezTo>
                    <a:pt x="5624051" y="2296196"/>
                    <a:pt x="5624569" y="2296540"/>
                    <a:pt x="5625259" y="2296713"/>
                  </a:cubicBezTo>
                  <a:cubicBezTo>
                    <a:pt x="5625604" y="2296540"/>
                    <a:pt x="5625776" y="2296540"/>
                    <a:pt x="5626121" y="2296368"/>
                  </a:cubicBezTo>
                  <a:cubicBezTo>
                    <a:pt x="5638196" y="2301026"/>
                    <a:pt x="5654412" y="2304993"/>
                    <a:pt x="5675802" y="2305856"/>
                  </a:cubicBezTo>
                  <a:cubicBezTo>
                    <a:pt x="5734969" y="2309133"/>
                    <a:pt x="5761880" y="2313791"/>
                    <a:pt x="5773782" y="2348808"/>
                  </a:cubicBezTo>
                  <a:cubicBezTo>
                    <a:pt x="5783442" y="2375029"/>
                    <a:pt x="5805522" y="2372096"/>
                    <a:pt x="5815873" y="2379686"/>
                  </a:cubicBezTo>
                  <a:cubicBezTo>
                    <a:pt x="5826913" y="2386586"/>
                    <a:pt x="5840023" y="2404699"/>
                    <a:pt x="5840023" y="2475597"/>
                  </a:cubicBezTo>
                  <a:cubicBezTo>
                    <a:pt x="5840023" y="2547012"/>
                    <a:pt x="5837953" y="2583928"/>
                    <a:pt x="5834848" y="2603593"/>
                  </a:cubicBezTo>
                  <a:cubicBezTo>
                    <a:pt x="5831398" y="2623603"/>
                    <a:pt x="5829500" y="2623603"/>
                    <a:pt x="5825188" y="2629640"/>
                  </a:cubicBezTo>
                  <a:cubicBezTo>
                    <a:pt x="5815873" y="2643786"/>
                    <a:pt x="5815355" y="2672593"/>
                    <a:pt x="5815182" y="2684323"/>
                  </a:cubicBezTo>
                  <a:cubicBezTo>
                    <a:pt x="5811043" y="2686911"/>
                    <a:pt x="5804487" y="2691568"/>
                    <a:pt x="5797932" y="2697261"/>
                  </a:cubicBezTo>
                  <a:cubicBezTo>
                    <a:pt x="5787410" y="2706576"/>
                    <a:pt x="5775507" y="2716753"/>
                    <a:pt x="5774472" y="2732451"/>
                  </a:cubicBezTo>
                  <a:cubicBezTo>
                    <a:pt x="5774300" y="2739869"/>
                    <a:pt x="5778958" y="2747114"/>
                    <a:pt x="5786030" y="2751081"/>
                  </a:cubicBezTo>
                  <a:cubicBezTo>
                    <a:pt x="5797587" y="2757636"/>
                    <a:pt x="5805005" y="2770057"/>
                    <a:pt x="5809490" y="2781441"/>
                  </a:cubicBezTo>
                  <a:cubicBezTo>
                    <a:pt x="5813975" y="2792482"/>
                    <a:pt x="5815010" y="2801624"/>
                    <a:pt x="5815182" y="2801624"/>
                  </a:cubicBezTo>
                  <a:lnTo>
                    <a:pt x="5815528" y="2804212"/>
                  </a:lnTo>
                  <a:lnTo>
                    <a:pt x="5817253" y="2806109"/>
                  </a:lnTo>
                  <a:cubicBezTo>
                    <a:pt x="5817253" y="2806109"/>
                    <a:pt x="5830190" y="2821462"/>
                    <a:pt x="5843646" y="2838367"/>
                  </a:cubicBezTo>
                  <a:cubicBezTo>
                    <a:pt x="5856928" y="2854410"/>
                    <a:pt x="5871418" y="2875110"/>
                    <a:pt x="5870900" y="2875455"/>
                  </a:cubicBezTo>
                  <a:cubicBezTo>
                    <a:pt x="5873316" y="2883907"/>
                    <a:pt x="5880733" y="2894602"/>
                    <a:pt x="5890393" y="2906160"/>
                  </a:cubicBezTo>
                  <a:cubicBezTo>
                    <a:pt x="5900226" y="2916855"/>
                    <a:pt x="5910058" y="2927550"/>
                    <a:pt x="5923341" y="2928413"/>
                  </a:cubicBezTo>
                  <a:cubicBezTo>
                    <a:pt x="5925238" y="2928413"/>
                    <a:pt x="5926963" y="2928068"/>
                    <a:pt x="5928688" y="2927550"/>
                  </a:cubicBezTo>
                  <a:cubicBezTo>
                    <a:pt x="5943696" y="2921513"/>
                    <a:pt x="5968364" y="2908747"/>
                    <a:pt x="5984406" y="2908920"/>
                  </a:cubicBezTo>
                  <a:cubicBezTo>
                    <a:pt x="5998206" y="2909955"/>
                    <a:pt x="6018389" y="2913060"/>
                    <a:pt x="6018734" y="2944283"/>
                  </a:cubicBezTo>
                  <a:cubicBezTo>
                    <a:pt x="6018734" y="2953080"/>
                    <a:pt x="6017009" y="2964293"/>
                    <a:pt x="6012524" y="2978611"/>
                  </a:cubicBezTo>
                  <a:cubicBezTo>
                    <a:pt x="6001829" y="3010868"/>
                    <a:pt x="5987339" y="3014491"/>
                    <a:pt x="5970606" y="3019493"/>
                  </a:cubicBezTo>
                  <a:cubicBezTo>
                    <a:pt x="5955081" y="3022771"/>
                    <a:pt x="5932138" y="3030188"/>
                    <a:pt x="5931621" y="3061929"/>
                  </a:cubicBezTo>
                  <a:cubicBezTo>
                    <a:pt x="5930068" y="3089184"/>
                    <a:pt x="5930758" y="3106089"/>
                    <a:pt x="5929896" y="3114197"/>
                  </a:cubicBezTo>
                  <a:cubicBezTo>
                    <a:pt x="5929551" y="3117646"/>
                    <a:pt x="5929033" y="3118164"/>
                    <a:pt x="5929033" y="3118509"/>
                  </a:cubicBezTo>
                  <a:cubicBezTo>
                    <a:pt x="5928343" y="3118681"/>
                    <a:pt x="5927481" y="3118681"/>
                    <a:pt x="5925756" y="3118681"/>
                  </a:cubicBezTo>
                  <a:cubicBezTo>
                    <a:pt x="5923686" y="3118681"/>
                    <a:pt x="5921271" y="3118854"/>
                    <a:pt x="5918511" y="3120407"/>
                  </a:cubicBezTo>
                  <a:cubicBezTo>
                    <a:pt x="5915578" y="3121959"/>
                    <a:pt x="5912991" y="3126617"/>
                    <a:pt x="5913336" y="3129722"/>
                  </a:cubicBezTo>
                  <a:cubicBezTo>
                    <a:pt x="5915061" y="3141624"/>
                    <a:pt x="5922133" y="3145074"/>
                    <a:pt x="5928343" y="3154734"/>
                  </a:cubicBezTo>
                  <a:cubicBezTo>
                    <a:pt x="5934726" y="3163014"/>
                    <a:pt x="5940074" y="3172847"/>
                    <a:pt x="5939901" y="3178884"/>
                  </a:cubicBezTo>
                  <a:cubicBezTo>
                    <a:pt x="5941109" y="3198722"/>
                    <a:pt x="5958876" y="3210280"/>
                    <a:pt x="5974401" y="3222355"/>
                  </a:cubicBezTo>
                  <a:cubicBezTo>
                    <a:pt x="5982336" y="3228047"/>
                    <a:pt x="5990272" y="3233740"/>
                    <a:pt x="5995964" y="3238225"/>
                  </a:cubicBezTo>
                  <a:cubicBezTo>
                    <a:pt x="5998724" y="3240640"/>
                    <a:pt x="6001139" y="3242537"/>
                    <a:pt x="6002519" y="3244262"/>
                  </a:cubicBezTo>
                  <a:cubicBezTo>
                    <a:pt x="6003209" y="3244953"/>
                    <a:pt x="6003727" y="3245815"/>
                    <a:pt x="6003727" y="3245987"/>
                  </a:cubicBezTo>
                  <a:lnTo>
                    <a:pt x="6003727" y="3246332"/>
                  </a:lnTo>
                  <a:cubicBezTo>
                    <a:pt x="6004071" y="3249265"/>
                    <a:pt x="6000104" y="3258752"/>
                    <a:pt x="5995446" y="3265825"/>
                  </a:cubicBezTo>
                  <a:cubicBezTo>
                    <a:pt x="5990789" y="3273070"/>
                    <a:pt x="5986304" y="3278590"/>
                    <a:pt x="5986304" y="3278590"/>
                  </a:cubicBezTo>
                  <a:lnTo>
                    <a:pt x="5982164" y="3283420"/>
                  </a:lnTo>
                  <a:lnTo>
                    <a:pt x="6027877" y="3360356"/>
                  </a:lnTo>
                  <a:lnTo>
                    <a:pt x="6029084" y="3361391"/>
                  </a:lnTo>
                  <a:cubicBezTo>
                    <a:pt x="6029256" y="3361391"/>
                    <a:pt x="6076694" y="3400031"/>
                    <a:pt x="6085665" y="3413659"/>
                  </a:cubicBezTo>
                  <a:cubicBezTo>
                    <a:pt x="6097395" y="3428666"/>
                    <a:pt x="6118095" y="3428149"/>
                    <a:pt x="6133447" y="3428839"/>
                  </a:cubicBezTo>
                  <a:cubicBezTo>
                    <a:pt x="6143625" y="3428839"/>
                    <a:pt x="6151560" y="3427976"/>
                    <a:pt x="6151560" y="3427976"/>
                  </a:cubicBezTo>
                  <a:lnTo>
                    <a:pt x="6155183" y="3427631"/>
                  </a:lnTo>
                  <a:lnTo>
                    <a:pt x="6155183" y="3426769"/>
                  </a:lnTo>
                  <a:lnTo>
                    <a:pt x="6156045" y="3426769"/>
                  </a:lnTo>
                  <a:lnTo>
                    <a:pt x="6156390" y="3433669"/>
                  </a:lnTo>
                  <a:cubicBezTo>
                    <a:pt x="6156735" y="3433669"/>
                    <a:pt x="6160013" y="3433496"/>
                    <a:pt x="6164497" y="3433496"/>
                  </a:cubicBezTo>
                  <a:cubicBezTo>
                    <a:pt x="6171398" y="3433496"/>
                    <a:pt x="6181403" y="3433841"/>
                    <a:pt x="6189338" y="3435911"/>
                  </a:cubicBezTo>
                  <a:cubicBezTo>
                    <a:pt x="6189510" y="3435911"/>
                    <a:pt x="6189683" y="3435911"/>
                    <a:pt x="6189683" y="3435911"/>
                  </a:cubicBezTo>
                  <a:cubicBezTo>
                    <a:pt x="6189338" y="3435911"/>
                    <a:pt x="6189165" y="3436084"/>
                    <a:pt x="6188993" y="3436084"/>
                  </a:cubicBezTo>
                  <a:cubicBezTo>
                    <a:pt x="6197273" y="3437809"/>
                    <a:pt x="6201240" y="3441431"/>
                    <a:pt x="6201068" y="3441776"/>
                  </a:cubicBezTo>
                  <a:cubicBezTo>
                    <a:pt x="6201930" y="3444364"/>
                    <a:pt x="6203310" y="3447124"/>
                    <a:pt x="6204863" y="3449539"/>
                  </a:cubicBezTo>
                  <a:cubicBezTo>
                    <a:pt x="6208830" y="3448331"/>
                    <a:pt x="6211418" y="3447641"/>
                    <a:pt x="6211590" y="3447641"/>
                  </a:cubicBezTo>
                  <a:lnTo>
                    <a:pt x="6211590" y="3447641"/>
                  </a:lnTo>
                  <a:cubicBezTo>
                    <a:pt x="6211590" y="3447641"/>
                    <a:pt x="6209003" y="3448504"/>
                    <a:pt x="6205208" y="3449539"/>
                  </a:cubicBezTo>
                  <a:cubicBezTo>
                    <a:pt x="6216420" y="3471274"/>
                    <a:pt x="6244538" y="3497667"/>
                    <a:pt x="6244883" y="3498357"/>
                  </a:cubicBezTo>
                  <a:cubicBezTo>
                    <a:pt x="6243848" y="3497149"/>
                    <a:pt x="6255578" y="3514572"/>
                    <a:pt x="6270931" y="3532167"/>
                  </a:cubicBezTo>
                  <a:cubicBezTo>
                    <a:pt x="6286629" y="3549762"/>
                    <a:pt x="6304396" y="3568392"/>
                    <a:pt x="6324406" y="3569600"/>
                  </a:cubicBezTo>
                  <a:cubicBezTo>
                    <a:pt x="6329236" y="3569600"/>
                    <a:pt x="6334411" y="3569600"/>
                    <a:pt x="6339241" y="3569600"/>
                  </a:cubicBezTo>
                  <a:cubicBezTo>
                    <a:pt x="6361149" y="3569255"/>
                    <a:pt x="6382539" y="3569600"/>
                    <a:pt x="6396167" y="3553557"/>
                  </a:cubicBezTo>
                  <a:cubicBezTo>
                    <a:pt x="6403757" y="3541655"/>
                    <a:pt x="6466720" y="3498529"/>
                    <a:pt x="6471550" y="3500599"/>
                  </a:cubicBezTo>
                  <a:cubicBezTo>
                    <a:pt x="6474310" y="3500944"/>
                    <a:pt x="6472240" y="3500254"/>
                    <a:pt x="6476035" y="3503359"/>
                  </a:cubicBezTo>
                  <a:cubicBezTo>
                    <a:pt x="6479485" y="3506809"/>
                    <a:pt x="6486557" y="3510604"/>
                    <a:pt x="6496735" y="3510259"/>
                  </a:cubicBezTo>
                  <a:cubicBezTo>
                    <a:pt x="6501392" y="3510259"/>
                    <a:pt x="6506912" y="3509569"/>
                    <a:pt x="6513812" y="3508534"/>
                  </a:cubicBezTo>
                  <a:cubicBezTo>
                    <a:pt x="6553143" y="3501462"/>
                    <a:pt x="6579191" y="3472309"/>
                    <a:pt x="6598856" y="3449884"/>
                  </a:cubicBezTo>
                  <a:cubicBezTo>
                    <a:pt x="6616796" y="3428666"/>
                    <a:pt x="6639739" y="3379158"/>
                    <a:pt x="6640256" y="3345521"/>
                  </a:cubicBezTo>
                  <a:cubicBezTo>
                    <a:pt x="6640256" y="3338448"/>
                    <a:pt x="6639221" y="3331721"/>
                    <a:pt x="6635771" y="3325855"/>
                  </a:cubicBezTo>
                  <a:cubicBezTo>
                    <a:pt x="6624041" y="3307053"/>
                    <a:pt x="6611621" y="3284800"/>
                    <a:pt x="6610586" y="3281005"/>
                  </a:cubicBezTo>
                  <a:cubicBezTo>
                    <a:pt x="6612311" y="3274623"/>
                    <a:pt x="6626284" y="3238742"/>
                    <a:pt x="6654746" y="3239777"/>
                  </a:cubicBezTo>
                  <a:cubicBezTo>
                    <a:pt x="6660439" y="3239777"/>
                    <a:pt x="6667166" y="3240985"/>
                    <a:pt x="6674756" y="3244262"/>
                  </a:cubicBezTo>
                  <a:cubicBezTo>
                    <a:pt x="6720987" y="3263238"/>
                    <a:pt x="6767907" y="3276520"/>
                    <a:pt x="6789814" y="3276693"/>
                  </a:cubicBezTo>
                  <a:cubicBezTo>
                    <a:pt x="6793437" y="3276693"/>
                    <a:pt x="6796715" y="3276693"/>
                    <a:pt x="6799992" y="3274968"/>
                  </a:cubicBezTo>
                  <a:cubicBezTo>
                    <a:pt x="6807065" y="3277900"/>
                    <a:pt x="6825695" y="3297220"/>
                    <a:pt x="6848983" y="3297565"/>
                  </a:cubicBezTo>
                  <a:cubicBezTo>
                    <a:pt x="6856573" y="3297565"/>
                    <a:pt x="6864680" y="3295150"/>
                    <a:pt x="6872443" y="3289803"/>
                  </a:cubicBezTo>
                  <a:cubicBezTo>
                    <a:pt x="6903148" y="3267723"/>
                    <a:pt x="6927126" y="3257717"/>
                    <a:pt x="6956106" y="3257717"/>
                  </a:cubicBezTo>
                  <a:cubicBezTo>
                    <a:pt x="6973356" y="3257717"/>
                    <a:pt x="6999404" y="3252370"/>
                    <a:pt x="7022174" y="3244262"/>
                  </a:cubicBezTo>
                  <a:cubicBezTo>
                    <a:pt x="7044254" y="3235120"/>
                    <a:pt x="7065127" y="3228220"/>
                    <a:pt x="7067714" y="3207347"/>
                  </a:cubicBezTo>
                  <a:cubicBezTo>
                    <a:pt x="7068404" y="3198377"/>
                    <a:pt x="7068577" y="3199585"/>
                    <a:pt x="7071682" y="3197170"/>
                  </a:cubicBezTo>
                  <a:cubicBezTo>
                    <a:pt x="7075476" y="3194755"/>
                    <a:pt x="7084274" y="3192512"/>
                    <a:pt x="7095832" y="3186475"/>
                  </a:cubicBezTo>
                  <a:cubicBezTo>
                    <a:pt x="7119637" y="3172157"/>
                    <a:pt x="7131022" y="3136794"/>
                    <a:pt x="7162072" y="3118509"/>
                  </a:cubicBezTo>
                  <a:cubicBezTo>
                    <a:pt x="7159485" y="3115231"/>
                    <a:pt x="7157242" y="3111954"/>
                    <a:pt x="7155517" y="3109194"/>
                  </a:cubicBezTo>
                  <a:cubicBezTo>
                    <a:pt x="7154482" y="3107469"/>
                    <a:pt x="7153965" y="3105571"/>
                    <a:pt x="7153792" y="3103846"/>
                  </a:cubicBezTo>
                  <a:cubicBezTo>
                    <a:pt x="7118257" y="3126099"/>
                    <a:pt x="7103940" y="3165429"/>
                    <a:pt x="7089450" y="3171294"/>
                  </a:cubicBezTo>
                  <a:cubicBezTo>
                    <a:pt x="7079617" y="3176469"/>
                    <a:pt x="7072199" y="3178194"/>
                    <a:pt x="7064781" y="3182162"/>
                  </a:cubicBezTo>
                  <a:cubicBezTo>
                    <a:pt x="7056847" y="3185957"/>
                    <a:pt x="7051326" y="3195962"/>
                    <a:pt x="7052017" y="3207865"/>
                  </a:cubicBezTo>
                  <a:cubicBezTo>
                    <a:pt x="7052189" y="3208037"/>
                    <a:pt x="7050809" y="3211660"/>
                    <a:pt x="7044082" y="3215800"/>
                  </a:cubicBezTo>
                  <a:cubicBezTo>
                    <a:pt x="7024934" y="3229082"/>
                    <a:pt x="6978013" y="3240985"/>
                    <a:pt x="6956968" y="3240812"/>
                  </a:cubicBezTo>
                  <a:cubicBezTo>
                    <a:pt x="6924020" y="3240812"/>
                    <a:pt x="6895558" y="3253060"/>
                    <a:pt x="6863818" y="3276003"/>
                  </a:cubicBezTo>
                  <a:cubicBezTo>
                    <a:pt x="6858643" y="3279453"/>
                    <a:pt x="6854158" y="3280660"/>
                    <a:pt x="6849672" y="3280660"/>
                  </a:cubicBezTo>
                  <a:cubicBezTo>
                    <a:pt x="6841565" y="3280660"/>
                    <a:pt x="6832250" y="3276175"/>
                    <a:pt x="6824143" y="3270483"/>
                  </a:cubicBezTo>
                  <a:cubicBezTo>
                    <a:pt x="6815172" y="3265135"/>
                    <a:pt x="6810342" y="3258752"/>
                    <a:pt x="6799992" y="3257717"/>
                  </a:cubicBezTo>
                  <a:cubicBezTo>
                    <a:pt x="6798095" y="3257717"/>
                    <a:pt x="6795680" y="3258408"/>
                    <a:pt x="6793782" y="3259615"/>
                  </a:cubicBezTo>
                  <a:cubicBezTo>
                    <a:pt x="6793437" y="3259615"/>
                    <a:pt x="6792057" y="3259788"/>
                    <a:pt x="6790332" y="3259788"/>
                  </a:cubicBezTo>
                  <a:cubicBezTo>
                    <a:pt x="6773945" y="3259960"/>
                    <a:pt x="6725817" y="3247022"/>
                    <a:pt x="6681484" y="3228392"/>
                  </a:cubicBezTo>
                  <a:cubicBezTo>
                    <a:pt x="6672169" y="3224597"/>
                    <a:pt x="6663371" y="3222700"/>
                    <a:pt x="6655264" y="3222700"/>
                  </a:cubicBezTo>
                  <a:cubicBezTo>
                    <a:pt x="6612483" y="3223735"/>
                    <a:pt x="6597821" y="3268240"/>
                    <a:pt x="6595233" y="3276693"/>
                  </a:cubicBezTo>
                  <a:cubicBezTo>
                    <a:pt x="6594371" y="3279108"/>
                    <a:pt x="6594543" y="3280315"/>
                    <a:pt x="6594543" y="3280833"/>
                  </a:cubicBezTo>
                  <a:cubicBezTo>
                    <a:pt x="6595751" y="3295495"/>
                    <a:pt x="6609723" y="3313263"/>
                    <a:pt x="6621971" y="3335516"/>
                  </a:cubicBezTo>
                  <a:cubicBezTo>
                    <a:pt x="6623006" y="3337241"/>
                    <a:pt x="6623868" y="3341036"/>
                    <a:pt x="6623868" y="3346211"/>
                  </a:cubicBezTo>
                  <a:cubicBezTo>
                    <a:pt x="6624558" y="3371396"/>
                    <a:pt x="6601271" y="3422801"/>
                    <a:pt x="6586781" y="3438671"/>
                  </a:cubicBezTo>
                  <a:cubicBezTo>
                    <a:pt x="6567116" y="3461097"/>
                    <a:pt x="6543828" y="3486282"/>
                    <a:pt x="6511225" y="3491802"/>
                  </a:cubicBezTo>
                  <a:cubicBezTo>
                    <a:pt x="6505015" y="3492837"/>
                    <a:pt x="6500357" y="3493354"/>
                    <a:pt x="6496908" y="3493354"/>
                  </a:cubicBezTo>
                  <a:cubicBezTo>
                    <a:pt x="6488972" y="3493182"/>
                    <a:pt x="6488800" y="3492147"/>
                    <a:pt x="6486902" y="3490594"/>
                  </a:cubicBezTo>
                  <a:cubicBezTo>
                    <a:pt x="6485350" y="3489042"/>
                    <a:pt x="6479658" y="3483349"/>
                    <a:pt x="6471550" y="3483694"/>
                  </a:cubicBezTo>
                  <a:cubicBezTo>
                    <a:pt x="6450505" y="3485764"/>
                    <a:pt x="6398409" y="3525785"/>
                    <a:pt x="6383402" y="3542862"/>
                  </a:cubicBezTo>
                  <a:cubicBezTo>
                    <a:pt x="6378227" y="3550280"/>
                    <a:pt x="6360977" y="3552867"/>
                    <a:pt x="6339241" y="3552522"/>
                  </a:cubicBezTo>
                  <a:cubicBezTo>
                    <a:pt x="6334411" y="3552522"/>
                    <a:pt x="6329236" y="3552522"/>
                    <a:pt x="6324406" y="3552522"/>
                  </a:cubicBezTo>
                  <a:cubicBezTo>
                    <a:pt x="6316471" y="3553385"/>
                    <a:pt x="6297324" y="3538032"/>
                    <a:pt x="6283351" y="3520955"/>
                  </a:cubicBezTo>
                  <a:cubicBezTo>
                    <a:pt x="6268861" y="3504222"/>
                    <a:pt x="6257649" y="3487489"/>
                    <a:pt x="6257649" y="3487489"/>
                  </a:cubicBezTo>
                  <a:cubicBezTo>
                    <a:pt x="6256441" y="3485937"/>
                    <a:pt x="6247643" y="3477484"/>
                    <a:pt x="6238328" y="3466789"/>
                  </a:cubicBezTo>
                  <a:cubicBezTo>
                    <a:pt x="6229013" y="3456267"/>
                    <a:pt x="6219181" y="3442639"/>
                    <a:pt x="6217801" y="3437291"/>
                  </a:cubicBezTo>
                  <a:cubicBezTo>
                    <a:pt x="6213488" y="3424871"/>
                    <a:pt x="6202621" y="3421421"/>
                    <a:pt x="6192961" y="3419179"/>
                  </a:cubicBezTo>
                  <a:cubicBezTo>
                    <a:pt x="6182955" y="3416764"/>
                    <a:pt x="6172088" y="3416591"/>
                    <a:pt x="6164670" y="3416419"/>
                  </a:cubicBezTo>
                  <a:cubicBezTo>
                    <a:pt x="6162945" y="3416419"/>
                    <a:pt x="6161738" y="3416419"/>
                    <a:pt x="6160358" y="3416419"/>
                  </a:cubicBezTo>
                  <a:cubicBezTo>
                    <a:pt x="6160013" y="3418489"/>
                    <a:pt x="6159667" y="3420041"/>
                    <a:pt x="6159667" y="3420041"/>
                  </a:cubicBezTo>
                  <a:lnTo>
                    <a:pt x="6158632" y="3426596"/>
                  </a:lnTo>
                  <a:lnTo>
                    <a:pt x="6157943" y="3426596"/>
                  </a:lnTo>
                  <a:lnTo>
                    <a:pt x="6159495" y="3420214"/>
                  </a:lnTo>
                  <a:cubicBezTo>
                    <a:pt x="6159495" y="3420214"/>
                    <a:pt x="6159667" y="3418834"/>
                    <a:pt x="6160013" y="3416764"/>
                  </a:cubicBezTo>
                  <a:cubicBezTo>
                    <a:pt x="6159840" y="3416764"/>
                    <a:pt x="6159840" y="3416764"/>
                    <a:pt x="6159667" y="3416764"/>
                  </a:cubicBezTo>
                  <a:cubicBezTo>
                    <a:pt x="6161220" y="3406758"/>
                    <a:pt x="6164670" y="3379848"/>
                    <a:pt x="6164670" y="3365531"/>
                  </a:cubicBezTo>
                  <a:cubicBezTo>
                    <a:pt x="6164670" y="3355008"/>
                    <a:pt x="6165878" y="3316195"/>
                    <a:pt x="6165878" y="3277383"/>
                  </a:cubicBezTo>
                  <a:cubicBezTo>
                    <a:pt x="6165878" y="3257717"/>
                    <a:pt x="6165532" y="3238052"/>
                    <a:pt x="6164670" y="3221837"/>
                  </a:cubicBezTo>
                  <a:cubicBezTo>
                    <a:pt x="6163808" y="3206830"/>
                    <a:pt x="6163118" y="3190614"/>
                    <a:pt x="6163118" y="3174227"/>
                  </a:cubicBezTo>
                  <a:cubicBezTo>
                    <a:pt x="6163118" y="3137829"/>
                    <a:pt x="6166050" y="3100051"/>
                    <a:pt x="6175365" y="3073831"/>
                  </a:cubicBezTo>
                  <a:cubicBezTo>
                    <a:pt x="6188820" y="3034328"/>
                    <a:pt x="6222113" y="2969468"/>
                    <a:pt x="6233153" y="2944973"/>
                  </a:cubicBezTo>
                  <a:cubicBezTo>
                    <a:pt x="6246781" y="2912370"/>
                    <a:pt x="6224701" y="2871142"/>
                    <a:pt x="6300256" y="2846820"/>
                  </a:cubicBezTo>
                  <a:cubicBezTo>
                    <a:pt x="6381159" y="2822324"/>
                    <a:pt x="6420317" y="2806454"/>
                    <a:pt x="6439292" y="2791274"/>
                  </a:cubicBezTo>
                  <a:cubicBezTo>
                    <a:pt x="6446537" y="2785237"/>
                    <a:pt x="6486040" y="2759189"/>
                    <a:pt x="6523990" y="2733659"/>
                  </a:cubicBezTo>
                  <a:cubicBezTo>
                    <a:pt x="6562631" y="2707439"/>
                    <a:pt x="6598683" y="2683288"/>
                    <a:pt x="6606964" y="2673973"/>
                  </a:cubicBezTo>
                  <a:cubicBezTo>
                    <a:pt x="6606964" y="2673801"/>
                    <a:pt x="6611621" y="2671386"/>
                    <a:pt x="6620246" y="2671558"/>
                  </a:cubicBezTo>
                  <a:cubicBezTo>
                    <a:pt x="6641118" y="2671386"/>
                    <a:pt x="6676309" y="2679666"/>
                    <a:pt x="6703564" y="2679666"/>
                  </a:cubicBezTo>
                  <a:cubicBezTo>
                    <a:pt x="6724782" y="2679493"/>
                    <a:pt x="6752209" y="2687083"/>
                    <a:pt x="6776532" y="2687428"/>
                  </a:cubicBezTo>
                  <a:cubicBezTo>
                    <a:pt x="6790332" y="2687428"/>
                    <a:pt x="6804132" y="2684841"/>
                    <a:pt x="6814483" y="2674663"/>
                  </a:cubicBezTo>
                  <a:cubicBezTo>
                    <a:pt x="6828282" y="2661381"/>
                    <a:pt x="6841737" y="2638438"/>
                    <a:pt x="6841737" y="2605490"/>
                  </a:cubicBezTo>
                  <a:cubicBezTo>
                    <a:pt x="6841737" y="2579098"/>
                    <a:pt x="6833285" y="2546322"/>
                    <a:pt x="6810342" y="2506992"/>
                  </a:cubicBezTo>
                  <a:cubicBezTo>
                    <a:pt x="6800682" y="2490432"/>
                    <a:pt x="6797405" y="2477322"/>
                    <a:pt x="6797405" y="2466454"/>
                  </a:cubicBezTo>
                  <a:cubicBezTo>
                    <a:pt x="6794990" y="2424019"/>
                    <a:pt x="6858470" y="2398489"/>
                    <a:pt x="6867268" y="2325866"/>
                  </a:cubicBezTo>
                  <a:cubicBezTo>
                    <a:pt x="6868303" y="2314826"/>
                    <a:pt x="6868820" y="2304993"/>
                    <a:pt x="6868820" y="2296196"/>
                  </a:cubicBezTo>
                  <a:cubicBezTo>
                    <a:pt x="6868475" y="2236855"/>
                    <a:pt x="6847430" y="2231335"/>
                    <a:pt x="6847948" y="2173547"/>
                  </a:cubicBezTo>
                  <a:cubicBezTo>
                    <a:pt x="6847948" y="2130077"/>
                    <a:pt x="6836907" y="2116967"/>
                    <a:pt x="6837770" y="2111447"/>
                  </a:cubicBezTo>
                  <a:cubicBezTo>
                    <a:pt x="6837598" y="2107824"/>
                    <a:pt x="6840530" y="2099544"/>
                    <a:pt x="6854848" y="2078671"/>
                  </a:cubicBezTo>
                  <a:cubicBezTo>
                    <a:pt x="6888658" y="2026576"/>
                    <a:pt x="6924366" y="2018468"/>
                    <a:pt x="6925918" y="1970858"/>
                  </a:cubicBezTo>
                  <a:cubicBezTo>
                    <a:pt x="6926263" y="1963613"/>
                    <a:pt x="6927126" y="1963613"/>
                    <a:pt x="6932473" y="1961026"/>
                  </a:cubicBezTo>
                  <a:cubicBezTo>
                    <a:pt x="6937821" y="1958956"/>
                    <a:pt x="6947826" y="1958438"/>
                    <a:pt x="6959211" y="1958610"/>
                  </a:cubicBezTo>
                  <a:cubicBezTo>
                    <a:pt x="6960936" y="1958610"/>
                    <a:pt x="6962661" y="1958610"/>
                    <a:pt x="6964041" y="1958610"/>
                  </a:cubicBezTo>
                  <a:cubicBezTo>
                    <a:pt x="6985776" y="1958438"/>
                    <a:pt x="7012686" y="1958783"/>
                    <a:pt x="7031662" y="1939118"/>
                  </a:cubicBezTo>
                  <a:cubicBezTo>
                    <a:pt x="7055812" y="1913415"/>
                    <a:pt x="7099454" y="1862527"/>
                    <a:pt x="7124122" y="1811984"/>
                  </a:cubicBezTo>
                  <a:cubicBezTo>
                    <a:pt x="7133782" y="1811294"/>
                    <a:pt x="7141890" y="1810949"/>
                    <a:pt x="7148272" y="1810777"/>
                  </a:cubicBezTo>
                  <a:cubicBezTo>
                    <a:pt x="7159140" y="1817332"/>
                    <a:pt x="7172595" y="1829925"/>
                    <a:pt x="7183635" y="1840275"/>
                  </a:cubicBezTo>
                  <a:cubicBezTo>
                    <a:pt x="7195710" y="1851487"/>
                    <a:pt x="7204508" y="1859250"/>
                    <a:pt x="7212443" y="1863907"/>
                  </a:cubicBezTo>
                  <a:cubicBezTo>
                    <a:pt x="7197952" y="1880812"/>
                    <a:pt x="7185705" y="1894095"/>
                    <a:pt x="7179495" y="1898580"/>
                  </a:cubicBezTo>
                  <a:cubicBezTo>
                    <a:pt x="7159140" y="1914278"/>
                    <a:pt x="7145512" y="1945673"/>
                    <a:pt x="7145340" y="1974136"/>
                  </a:cubicBezTo>
                  <a:cubicBezTo>
                    <a:pt x="7145340" y="1986556"/>
                    <a:pt x="7148100" y="1998803"/>
                    <a:pt x="7155862" y="2008463"/>
                  </a:cubicBezTo>
                  <a:cubicBezTo>
                    <a:pt x="7172423" y="2028301"/>
                    <a:pt x="7222793" y="2118692"/>
                    <a:pt x="7221930" y="2152330"/>
                  </a:cubicBezTo>
                  <a:cubicBezTo>
                    <a:pt x="7221930" y="2155262"/>
                    <a:pt x="7221585" y="2157677"/>
                    <a:pt x="7221068" y="2159402"/>
                  </a:cubicBezTo>
                  <a:cubicBezTo>
                    <a:pt x="7214685" y="2179067"/>
                    <a:pt x="7203817" y="2184760"/>
                    <a:pt x="7203645" y="2213395"/>
                  </a:cubicBezTo>
                  <a:cubicBezTo>
                    <a:pt x="7203645" y="2225298"/>
                    <a:pt x="7205370" y="2240823"/>
                    <a:pt x="7209683" y="2263938"/>
                  </a:cubicBezTo>
                  <a:cubicBezTo>
                    <a:pt x="7224000" y="2340701"/>
                    <a:pt x="7257293" y="2407286"/>
                    <a:pt x="7256775" y="2440751"/>
                  </a:cubicBezTo>
                  <a:cubicBezTo>
                    <a:pt x="7256775" y="2478702"/>
                    <a:pt x="7256775" y="2562365"/>
                    <a:pt x="7259536" y="2595485"/>
                  </a:cubicBezTo>
                  <a:cubicBezTo>
                    <a:pt x="7261433" y="2615150"/>
                    <a:pt x="7274543" y="2641716"/>
                    <a:pt x="7289551" y="2666038"/>
                  </a:cubicBezTo>
                  <a:cubicBezTo>
                    <a:pt x="7305766" y="2689843"/>
                    <a:pt x="7321119" y="2710543"/>
                    <a:pt x="7338886" y="2713994"/>
                  </a:cubicBezTo>
                  <a:cubicBezTo>
                    <a:pt x="7341474" y="2714166"/>
                    <a:pt x="7341818" y="2714856"/>
                    <a:pt x="7341818" y="2714856"/>
                  </a:cubicBezTo>
                  <a:cubicBezTo>
                    <a:pt x="7341818" y="2714856"/>
                    <a:pt x="7341991" y="2714856"/>
                    <a:pt x="7341818" y="2715719"/>
                  </a:cubicBezTo>
                  <a:cubicBezTo>
                    <a:pt x="7342509" y="2722791"/>
                    <a:pt x="7329916" y="2747286"/>
                    <a:pt x="7313011" y="2779544"/>
                  </a:cubicBezTo>
                  <a:cubicBezTo>
                    <a:pt x="7304559" y="2796104"/>
                    <a:pt x="7300246" y="2809042"/>
                    <a:pt x="7300246" y="2820254"/>
                  </a:cubicBezTo>
                  <a:cubicBezTo>
                    <a:pt x="7300073" y="2823877"/>
                    <a:pt x="7300764" y="2827327"/>
                    <a:pt x="7302143" y="2830432"/>
                  </a:cubicBezTo>
                  <a:cubicBezTo>
                    <a:pt x="7301626" y="2830604"/>
                    <a:pt x="7301108" y="2830604"/>
                    <a:pt x="7300591" y="2830950"/>
                  </a:cubicBezTo>
                  <a:cubicBezTo>
                    <a:pt x="7300591" y="2830950"/>
                    <a:pt x="7300591" y="2831122"/>
                    <a:pt x="7300591" y="2831122"/>
                  </a:cubicBezTo>
                  <a:cubicBezTo>
                    <a:pt x="7300073" y="2831294"/>
                    <a:pt x="7299556" y="2831294"/>
                    <a:pt x="7299038" y="2831812"/>
                  </a:cubicBezTo>
                  <a:cubicBezTo>
                    <a:pt x="7293346" y="2834745"/>
                    <a:pt x="7288343" y="2842507"/>
                    <a:pt x="7288516" y="2851650"/>
                  </a:cubicBezTo>
                  <a:cubicBezTo>
                    <a:pt x="7288516" y="2854582"/>
                    <a:pt x="7288861" y="2857687"/>
                    <a:pt x="7289723" y="2861137"/>
                  </a:cubicBezTo>
                  <a:cubicBezTo>
                    <a:pt x="7290586" y="2864587"/>
                    <a:pt x="7290758" y="2868900"/>
                    <a:pt x="7290758" y="2873730"/>
                  </a:cubicBezTo>
                  <a:cubicBezTo>
                    <a:pt x="7290758" y="2885632"/>
                    <a:pt x="7288688" y="2899777"/>
                    <a:pt x="7288343" y="2911508"/>
                  </a:cubicBezTo>
                  <a:cubicBezTo>
                    <a:pt x="7288171" y="2919615"/>
                    <a:pt x="7289206" y="2932035"/>
                    <a:pt x="7301626" y="2935313"/>
                  </a:cubicBezTo>
                  <a:lnTo>
                    <a:pt x="7301799" y="2935485"/>
                  </a:lnTo>
                  <a:cubicBezTo>
                    <a:pt x="7307318" y="2939108"/>
                    <a:pt x="7318876" y="2965155"/>
                    <a:pt x="7318186" y="2979473"/>
                  </a:cubicBezTo>
                  <a:cubicBezTo>
                    <a:pt x="7317841" y="2987408"/>
                    <a:pt x="7316289" y="2988443"/>
                    <a:pt x="7315254" y="2988616"/>
                  </a:cubicBezTo>
                  <a:cubicBezTo>
                    <a:pt x="7289206" y="2995516"/>
                    <a:pt x="7232108" y="3041573"/>
                    <a:pt x="7210890" y="3051406"/>
                  </a:cubicBezTo>
                  <a:cubicBezTo>
                    <a:pt x="7200022" y="3056754"/>
                    <a:pt x="7186913" y="3064861"/>
                    <a:pt x="7176390" y="3073486"/>
                  </a:cubicBezTo>
                  <a:cubicBezTo>
                    <a:pt x="7165867" y="3082629"/>
                    <a:pt x="7156725" y="3089529"/>
                    <a:pt x="7155517" y="3102811"/>
                  </a:cubicBezTo>
                  <a:cubicBezTo>
                    <a:pt x="7155517" y="3103156"/>
                    <a:pt x="7155690" y="3103846"/>
                    <a:pt x="7155690" y="3104536"/>
                  </a:cubicBezTo>
                  <a:cubicBezTo>
                    <a:pt x="7157587" y="3103329"/>
                    <a:pt x="7159657" y="3102466"/>
                    <a:pt x="7161727" y="3101259"/>
                  </a:cubicBezTo>
                  <a:cubicBezTo>
                    <a:pt x="7159657" y="3102466"/>
                    <a:pt x="7157415" y="3103501"/>
                    <a:pt x="7155517" y="3104709"/>
                  </a:cubicBezTo>
                  <a:cubicBezTo>
                    <a:pt x="7155690" y="3106434"/>
                    <a:pt x="7156207" y="3108504"/>
                    <a:pt x="7157242" y="3110401"/>
                  </a:cubicBezTo>
                  <a:cubicBezTo>
                    <a:pt x="7158795" y="3113506"/>
                    <a:pt x="7161210" y="3116956"/>
                    <a:pt x="7163798" y="3120579"/>
                  </a:cubicBezTo>
                  <a:cubicBezTo>
                    <a:pt x="7163970" y="3120407"/>
                    <a:pt x="7164315" y="3120407"/>
                    <a:pt x="7164487" y="3120234"/>
                  </a:cubicBezTo>
                  <a:cubicBezTo>
                    <a:pt x="7174320" y="3132309"/>
                    <a:pt x="7188638" y="3145247"/>
                    <a:pt x="7203128" y="3146972"/>
                  </a:cubicBezTo>
                  <a:cubicBezTo>
                    <a:pt x="7210028" y="3146972"/>
                    <a:pt x="7236420" y="3157667"/>
                    <a:pt x="7236420" y="3189752"/>
                  </a:cubicBezTo>
                  <a:cubicBezTo>
                    <a:pt x="7236420" y="3209762"/>
                    <a:pt x="7240043" y="3227185"/>
                    <a:pt x="7244873" y="3239777"/>
                  </a:cubicBezTo>
                  <a:cubicBezTo>
                    <a:pt x="7249013" y="3248575"/>
                    <a:pt x="7251945" y="3255820"/>
                    <a:pt x="7257810" y="3260132"/>
                  </a:cubicBezTo>
                  <a:cubicBezTo>
                    <a:pt x="7255396" y="3265480"/>
                    <a:pt x="7251773" y="3274105"/>
                    <a:pt x="7251773" y="3282730"/>
                  </a:cubicBezTo>
                  <a:cubicBezTo>
                    <a:pt x="7251601" y="3287905"/>
                    <a:pt x="7253498" y="3294460"/>
                    <a:pt x="7258845" y="3298773"/>
                  </a:cubicBezTo>
                  <a:cubicBezTo>
                    <a:pt x="7264021" y="3302913"/>
                    <a:pt x="7270403" y="3304293"/>
                    <a:pt x="7278683" y="3304293"/>
                  </a:cubicBezTo>
                  <a:cubicBezTo>
                    <a:pt x="7281271" y="3304293"/>
                    <a:pt x="7284031" y="3304293"/>
                    <a:pt x="7287136" y="3303948"/>
                  </a:cubicBezTo>
                  <a:cubicBezTo>
                    <a:pt x="7312148" y="3301188"/>
                    <a:pt x="7331469" y="3300153"/>
                    <a:pt x="7346821" y="3294288"/>
                  </a:cubicBezTo>
                  <a:cubicBezTo>
                    <a:pt x="7362174" y="3289113"/>
                    <a:pt x="7373041" y="3274623"/>
                    <a:pt x="7372351" y="3254613"/>
                  </a:cubicBezTo>
                  <a:cubicBezTo>
                    <a:pt x="7372351" y="3242020"/>
                    <a:pt x="7370282" y="3233395"/>
                    <a:pt x="7369936" y="3230635"/>
                  </a:cubicBezTo>
                  <a:cubicBezTo>
                    <a:pt x="7370109" y="3230635"/>
                    <a:pt x="7370282" y="3230462"/>
                    <a:pt x="7370626" y="3230290"/>
                  </a:cubicBezTo>
                  <a:cubicBezTo>
                    <a:pt x="7374421" y="3228392"/>
                    <a:pt x="7385634" y="3225460"/>
                    <a:pt x="7405127" y="3219767"/>
                  </a:cubicBezTo>
                  <a:cubicBezTo>
                    <a:pt x="7458947" y="3204587"/>
                    <a:pt x="7476370" y="3202000"/>
                    <a:pt x="7488272" y="3168534"/>
                  </a:cubicBezTo>
                  <a:cubicBezTo>
                    <a:pt x="7501210" y="3139209"/>
                    <a:pt x="7497587" y="3143349"/>
                    <a:pt x="7519495" y="3141624"/>
                  </a:cubicBezTo>
                  <a:cubicBezTo>
                    <a:pt x="7531742" y="3141452"/>
                    <a:pt x="7537780" y="3131964"/>
                    <a:pt x="7542093" y="3126617"/>
                  </a:cubicBezTo>
                  <a:cubicBezTo>
                    <a:pt x="7546750" y="3120407"/>
                    <a:pt x="7549165" y="3117992"/>
                    <a:pt x="7552615" y="3118336"/>
                  </a:cubicBezTo>
                  <a:cubicBezTo>
                    <a:pt x="7556410" y="3117992"/>
                    <a:pt x="7567623" y="3122649"/>
                    <a:pt x="7586080" y="3141797"/>
                  </a:cubicBezTo>
                  <a:cubicBezTo>
                    <a:pt x="7616958" y="3173709"/>
                    <a:pt x="7645421" y="3181989"/>
                    <a:pt x="7665086" y="3181989"/>
                  </a:cubicBezTo>
                  <a:cubicBezTo>
                    <a:pt x="7677851" y="3181989"/>
                    <a:pt x="7686994" y="3178539"/>
                    <a:pt x="7690961" y="3176814"/>
                  </a:cubicBezTo>
                  <a:cubicBezTo>
                    <a:pt x="7694411" y="3176987"/>
                    <a:pt x="7702519" y="3177159"/>
                    <a:pt x="7710626" y="3178539"/>
                  </a:cubicBezTo>
                  <a:cubicBezTo>
                    <a:pt x="7715974" y="3179402"/>
                    <a:pt x="7721321" y="3180437"/>
                    <a:pt x="7724771" y="3181989"/>
                  </a:cubicBezTo>
                  <a:cubicBezTo>
                    <a:pt x="7726497" y="3182680"/>
                    <a:pt x="7727704" y="3183542"/>
                    <a:pt x="7728222" y="3183887"/>
                  </a:cubicBezTo>
                  <a:lnTo>
                    <a:pt x="7728394" y="3183715"/>
                  </a:lnTo>
                  <a:cubicBezTo>
                    <a:pt x="7732879" y="3197687"/>
                    <a:pt x="7747024" y="3205450"/>
                    <a:pt x="7760824" y="3215627"/>
                  </a:cubicBezTo>
                  <a:cubicBezTo>
                    <a:pt x="7769794" y="3221837"/>
                    <a:pt x="7778592" y="3227185"/>
                    <a:pt x="7783594" y="3230117"/>
                  </a:cubicBezTo>
                  <a:cubicBezTo>
                    <a:pt x="7783594" y="3235637"/>
                    <a:pt x="7784285" y="3244262"/>
                    <a:pt x="7787217" y="3252542"/>
                  </a:cubicBezTo>
                  <a:cubicBezTo>
                    <a:pt x="7789115" y="3258235"/>
                    <a:pt x="7793254" y="3263927"/>
                    <a:pt x="7799292" y="3267550"/>
                  </a:cubicBezTo>
                  <a:cubicBezTo>
                    <a:pt x="7799292" y="3267723"/>
                    <a:pt x="7799119" y="3267895"/>
                    <a:pt x="7799119" y="3268240"/>
                  </a:cubicBezTo>
                  <a:cubicBezTo>
                    <a:pt x="7798775" y="3268068"/>
                    <a:pt x="7798429" y="3268068"/>
                    <a:pt x="7798257" y="3267895"/>
                  </a:cubicBezTo>
                  <a:cubicBezTo>
                    <a:pt x="7795669" y="3274968"/>
                    <a:pt x="7792910" y="3284800"/>
                    <a:pt x="7792737" y="3294288"/>
                  </a:cubicBezTo>
                  <a:cubicBezTo>
                    <a:pt x="7792564" y="3300670"/>
                    <a:pt x="7794807" y="3310330"/>
                    <a:pt x="7803949" y="3313953"/>
                  </a:cubicBezTo>
                  <a:cubicBezTo>
                    <a:pt x="7810677" y="3316023"/>
                    <a:pt x="7828790" y="3324476"/>
                    <a:pt x="7845522" y="3333791"/>
                  </a:cubicBezTo>
                  <a:cubicBezTo>
                    <a:pt x="7845695" y="3329478"/>
                    <a:pt x="7845867" y="3326891"/>
                    <a:pt x="7845867" y="3326718"/>
                  </a:cubicBezTo>
                  <a:lnTo>
                    <a:pt x="7862600" y="3327926"/>
                  </a:lnTo>
                  <a:cubicBezTo>
                    <a:pt x="7862600" y="3327926"/>
                    <a:pt x="7862600" y="3328270"/>
                    <a:pt x="7862600" y="3328961"/>
                  </a:cubicBezTo>
                  <a:lnTo>
                    <a:pt x="7847075" y="3327753"/>
                  </a:lnTo>
                  <a:cubicBezTo>
                    <a:pt x="7847075" y="3327753"/>
                    <a:pt x="7846902" y="3330168"/>
                    <a:pt x="7846730" y="3334308"/>
                  </a:cubicBezTo>
                  <a:cubicBezTo>
                    <a:pt x="7846557" y="3334136"/>
                    <a:pt x="7846385" y="3334136"/>
                    <a:pt x="7846212" y="3333963"/>
                  </a:cubicBezTo>
                  <a:cubicBezTo>
                    <a:pt x="7845867" y="3340863"/>
                    <a:pt x="7845350" y="3351903"/>
                    <a:pt x="7845350" y="3364496"/>
                  </a:cubicBezTo>
                  <a:cubicBezTo>
                    <a:pt x="7845350" y="3374673"/>
                    <a:pt x="7845522" y="3385886"/>
                    <a:pt x="7846557" y="3396064"/>
                  </a:cubicBezTo>
                  <a:cubicBezTo>
                    <a:pt x="7848627" y="3410036"/>
                    <a:pt x="7855355" y="3420731"/>
                    <a:pt x="7862772" y="3429701"/>
                  </a:cubicBezTo>
                  <a:cubicBezTo>
                    <a:pt x="7860530" y="3431599"/>
                    <a:pt x="7858460" y="3433841"/>
                    <a:pt x="7856735" y="3436429"/>
                  </a:cubicBezTo>
                  <a:cubicBezTo>
                    <a:pt x="7853112" y="3442121"/>
                    <a:pt x="7851215" y="3448159"/>
                    <a:pt x="7851215" y="3454886"/>
                  </a:cubicBezTo>
                  <a:cubicBezTo>
                    <a:pt x="7851215" y="3460924"/>
                    <a:pt x="7852940" y="3466271"/>
                    <a:pt x="7855872" y="3471102"/>
                  </a:cubicBezTo>
                  <a:cubicBezTo>
                    <a:pt x="7858805" y="3475759"/>
                    <a:pt x="7863463" y="3479899"/>
                    <a:pt x="7869672" y="3483004"/>
                  </a:cubicBezTo>
                  <a:cubicBezTo>
                    <a:pt x="7873123" y="3484902"/>
                    <a:pt x="7878470" y="3486799"/>
                    <a:pt x="7885543" y="3488869"/>
                  </a:cubicBezTo>
                  <a:cubicBezTo>
                    <a:pt x="7882438" y="3501979"/>
                    <a:pt x="7877780" y="3516642"/>
                    <a:pt x="7875537" y="3531132"/>
                  </a:cubicBezTo>
                  <a:cubicBezTo>
                    <a:pt x="7872432" y="3529062"/>
                    <a:pt x="7869672" y="3526992"/>
                    <a:pt x="7867947" y="3524059"/>
                  </a:cubicBezTo>
                  <a:cubicBezTo>
                    <a:pt x="7865188" y="3519747"/>
                    <a:pt x="7863463" y="3514399"/>
                    <a:pt x="7862600" y="3508017"/>
                  </a:cubicBezTo>
                  <a:lnTo>
                    <a:pt x="7846557" y="3509569"/>
                  </a:lnTo>
                  <a:cubicBezTo>
                    <a:pt x="7846730" y="3518194"/>
                    <a:pt x="7849145" y="3526129"/>
                    <a:pt x="7852940" y="3532857"/>
                  </a:cubicBezTo>
                  <a:cubicBezTo>
                    <a:pt x="7857425" y="3539757"/>
                    <a:pt x="7863463" y="3544759"/>
                    <a:pt x="7871397" y="3548209"/>
                  </a:cubicBezTo>
                  <a:cubicBezTo>
                    <a:pt x="7872260" y="3548555"/>
                    <a:pt x="7873467" y="3548727"/>
                    <a:pt x="7874502" y="3549072"/>
                  </a:cubicBezTo>
                  <a:cubicBezTo>
                    <a:pt x="7874675" y="3556835"/>
                    <a:pt x="7875020" y="3567357"/>
                    <a:pt x="7875020" y="3578397"/>
                  </a:cubicBezTo>
                  <a:cubicBezTo>
                    <a:pt x="7875020" y="3590990"/>
                    <a:pt x="7874330" y="3603928"/>
                    <a:pt x="7872950" y="3613415"/>
                  </a:cubicBezTo>
                  <a:cubicBezTo>
                    <a:pt x="7872260" y="3617555"/>
                    <a:pt x="7871225" y="3620833"/>
                    <a:pt x="7870363" y="3622730"/>
                  </a:cubicBezTo>
                  <a:cubicBezTo>
                    <a:pt x="7870018" y="3622385"/>
                    <a:pt x="7869500" y="3622040"/>
                    <a:pt x="7869155" y="3621523"/>
                  </a:cubicBezTo>
                  <a:cubicBezTo>
                    <a:pt x="7851905" y="3605308"/>
                    <a:pt x="7821027" y="3578915"/>
                    <a:pt x="7794462" y="3578052"/>
                  </a:cubicBezTo>
                  <a:cubicBezTo>
                    <a:pt x="7786699" y="3577880"/>
                    <a:pt x="7778419" y="3580985"/>
                    <a:pt x="7773244" y="3588230"/>
                  </a:cubicBezTo>
                  <a:cubicBezTo>
                    <a:pt x="7768069" y="3595303"/>
                    <a:pt x="7765999" y="3604790"/>
                    <a:pt x="7765999" y="3617038"/>
                  </a:cubicBezTo>
                  <a:cubicBezTo>
                    <a:pt x="7765309" y="3649640"/>
                    <a:pt x="7776867" y="3664648"/>
                    <a:pt x="7787562" y="3672928"/>
                  </a:cubicBezTo>
                  <a:cubicBezTo>
                    <a:pt x="7798084" y="3681898"/>
                    <a:pt x="7803087" y="3682760"/>
                    <a:pt x="7804812" y="3701563"/>
                  </a:cubicBezTo>
                  <a:cubicBezTo>
                    <a:pt x="7806537" y="3743826"/>
                    <a:pt x="7814817" y="3793679"/>
                    <a:pt x="7871570" y="3793506"/>
                  </a:cubicBezTo>
                  <a:cubicBezTo>
                    <a:pt x="7896583" y="3793506"/>
                    <a:pt x="7934878" y="3792816"/>
                    <a:pt x="7969723" y="3792816"/>
                  </a:cubicBezTo>
                  <a:cubicBezTo>
                    <a:pt x="7976106" y="3792816"/>
                    <a:pt x="7981971" y="3792816"/>
                    <a:pt x="7988181" y="3792989"/>
                  </a:cubicBezTo>
                  <a:cubicBezTo>
                    <a:pt x="7974208" y="3823349"/>
                    <a:pt x="7951956" y="3871649"/>
                    <a:pt x="7930393" y="3916845"/>
                  </a:cubicBezTo>
                  <a:close/>
                  <a:moveTo>
                    <a:pt x="6691316" y="6024293"/>
                  </a:moveTo>
                  <a:cubicBezTo>
                    <a:pt x="6690799" y="6026707"/>
                    <a:pt x="6689937" y="6029123"/>
                    <a:pt x="6688556" y="6031365"/>
                  </a:cubicBezTo>
                  <a:cubicBezTo>
                    <a:pt x="6686142" y="6034815"/>
                    <a:pt x="6683036" y="6037575"/>
                    <a:pt x="6678551" y="6038955"/>
                  </a:cubicBezTo>
                  <a:cubicBezTo>
                    <a:pt x="6674066" y="6040508"/>
                    <a:pt x="6668201" y="6041198"/>
                    <a:pt x="6660266" y="6041198"/>
                  </a:cubicBezTo>
                  <a:lnTo>
                    <a:pt x="6646639" y="6041198"/>
                  </a:lnTo>
                  <a:cubicBezTo>
                    <a:pt x="6662509" y="6035678"/>
                    <a:pt x="6677516" y="6029813"/>
                    <a:pt x="6691316" y="6024293"/>
                  </a:cubicBezTo>
                  <a:close/>
                  <a:moveTo>
                    <a:pt x="6625938" y="6030330"/>
                  </a:moveTo>
                  <a:cubicBezTo>
                    <a:pt x="6625076" y="6030675"/>
                    <a:pt x="6624386" y="6030675"/>
                    <a:pt x="6623524" y="6031020"/>
                  </a:cubicBezTo>
                  <a:lnTo>
                    <a:pt x="6623524" y="5999108"/>
                  </a:lnTo>
                  <a:lnTo>
                    <a:pt x="6664406" y="5999108"/>
                  </a:lnTo>
                  <a:cubicBezTo>
                    <a:pt x="6674066" y="5999108"/>
                    <a:pt x="6680966" y="6001178"/>
                    <a:pt x="6685451" y="6004973"/>
                  </a:cubicBezTo>
                  <a:cubicBezTo>
                    <a:pt x="6686142" y="6005663"/>
                    <a:pt x="6686486" y="6006525"/>
                    <a:pt x="6687177" y="6007215"/>
                  </a:cubicBezTo>
                  <a:cubicBezTo>
                    <a:pt x="6668546" y="6014805"/>
                    <a:pt x="6647501" y="6022913"/>
                    <a:pt x="6625938" y="6030330"/>
                  </a:cubicBezTo>
                  <a:close/>
                  <a:moveTo>
                    <a:pt x="3499353" y="2751081"/>
                  </a:moveTo>
                  <a:lnTo>
                    <a:pt x="3505563" y="2755221"/>
                  </a:lnTo>
                  <a:cubicBezTo>
                    <a:pt x="3505563" y="2755221"/>
                    <a:pt x="3505563" y="2755221"/>
                    <a:pt x="3505563" y="2755221"/>
                  </a:cubicBezTo>
                  <a:lnTo>
                    <a:pt x="3499353" y="2751081"/>
                  </a:lnTo>
                  <a:close/>
                  <a:moveTo>
                    <a:pt x="6199860" y="3432116"/>
                  </a:moveTo>
                  <a:cubicBezTo>
                    <a:pt x="6204000" y="3430909"/>
                    <a:pt x="6206933" y="3430219"/>
                    <a:pt x="6206933" y="3430046"/>
                  </a:cubicBezTo>
                  <a:lnTo>
                    <a:pt x="6209865" y="3442121"/>
                  </a:lnTo>
                  <a:lnTo>
                    <a:pt x="6206760" y="3430219"/>
                  </a:lnTo>
                  <a:cubicBezTo>
                    <a:pt x="6206588" y="3430391"/>
                    <a:pt x="6204000" y="3431081"/>
                    <a:pt x="6199860" y="3432116"/>
                  </a:cubicBezTo>
                  <a:close/>
                  <a:moveTo>
                    <a:pt x="7173630" y="3113334"/>
                  </a:moveTo>
                  <a:cubicBezTo>
                    <a:pt x="7173630" y="3113334"/>
                    <a:pt x="7173458" y="3113334"/>
                    <a:pt x="7173458" y="3113506"/>
                  </a:cubicBezTo>
                  <a:lnTo>
                    <a:pt x="7168110" y="3098326"/>
                  </a:lnTo>
                  <a:lnTo>
                    <a:pt x="7173630" y="3113334"/>
                  </a:lnTo>
                  <a:close/>
                  <a:moveTo>
                    <a:pt x="7867258" y="3452644"/>
                  </a:moveTo>
                  <a:cubicBezTo>
                    <a:pt x="7867258" y="3447814"/>
                    <a:pt x="7869328" y="3443846"/>
                    <a:pt x="7873123" y="3440224"/>
                  </a:cubicBezTo>
                  <a:cubicBezTo>
                    <a:pt x="7881402" y="3448676"/>
                    <a:pt x="7888130" y="3455576"/>
                    <a:pt x="7887957" y="3462821"/>
                  </a:cubicBezTo>
                  <a:cubicBezTo>
                    <a:pt x="7888130" y="3464374"/>
                    <a:pt x="7888130" y="3465754"/>
                    <a:pt x="7888130" y="3467479"/>
                  </a:cubicBezTo>
                  <a:cubicBezTo>
                    <a:pt x="7888130" y="3468514"/>
                    <a:pt x="7887957" y="3469722"/>
                    <a:pt x="7887957" y="3470929"/>
                  </a:cubicBezTo>
                  <a:cubicBezTo>
                    <a:pt x="7879850" y="3468687"/>
                    <a:pt x="7874675" y="3466271"/>
                    <a:pt x="7872088" y="3464201"/>
                  </a:cubicBezTo>
                  <a:cubicBezTo>
                    <a:pt x="7868982" y="3461269"/>
                    <a:pt x="7867258" y="3457302"/>
                    <a:pt x="7867258" y="3452644"/>
                  </a:cubicBezTo>
                  <a:close/>
                  <a:moveTo>
                    <a:pt x="8085989" y="3653090"/>
                  </a:moveTo>
                  <a:cubicBezTo>
                    <a:pt x="8082712" y="3657403"/>
                    <a:pt x="8073051" y="3665855"/>
                    <a:pt x="8066496" y="3671376"/>
                  </a:cubicBezTo>
                  <a:lnTo>
                    <a:pt x="8064599" y="3673100"/>
                  </a:lnTo>
                  <a:cubicBezTo>
                    <a:pt x="8051662" y="3684658"/>
                    <a:pt x="8044589" y="3691041"/>
                    <a:pt x="8042864" y="3697078"/>
                  </a:cubicBezTo>
                  <a:cubicBezTo>
                    <a:pt x="8041829" y="3699493"/>
                    <a:pt x="8034756" y="3708463"/>
                    <a:pt x="8028546" y="3716053"/>
                  </a:cubicBezTo>
                  <a:cubicBezTo>
                    <a:pt x="8013021" y="3735719"/>
                    <a:pt x="8002499" y="3749174"/>
                    <a:pt x="8000773" y="3759006"/>
                  </a:cubicBezTo>
                  <a:cubicBezTo>
                    <a:pt x="8000429" y="3761076"/>
                    <a:pt x="7998358" y="3766596"/>
                    <a:pt x="7995081" y="3774704"/>
                  </a:cubicBezTo>
                  <a:cubicBezTo>
                    <a:pt x="7986801" y="3774704"/>
                    <a:pt x="7978348" y="3774531"/>
                    <a:pt x="7969378" y="3774531"/>
                  </a:cubicBezTo>
                  <a:cubicBezTo>
                    <a:pt x="7934016" y="3774186"/>
                    <a:pt x="7896065" y="3774704"/>
                    <a:pt x="7871225" y="3774704"/>
                  </a:cubicBezTo>
                  <a:cubicBezTo>
                    <a:pt x="7827755" y="3774531"/>
                    <a:pt x="7824822" y="3743309"/>
                    <a:pt x="7821200" y="3699148"/>
                  </a:cubicBezTo>
                  <a:cubicBezTo>
                    <a:pt x="7820165" y="3674653"/>
                    <a:pt x="7806019" y="3664648"/>
                    <a:pt x="7797740" y="3658265"/>
                  </a:cubicBezTo>
                  <a:cubicBezTo>
                    <a:pt x="7789632" y="3650848"/>
                    <a:pt x="7782904" y="3645673"/>
                    <a:pt x="7782387" y="3616003"/>
                  </a:cubicBezTo>
                  <a:cubicBezTo>
                    <a:pt x="7783594" y="3595303"/>
                    <a:pt x="7787044" y="3595303"/>
                    <a:pt x="7794117" y="3594268"/>
                  </a:cubicBezTo>
                  <a:cubicBezTo>
                    <a:pt x="7809297" y="3593405"/>
                    <a:pt x="7842417" y="3617900"/>
                    <a:pt x="7857425" y="3633080"/>
                  </a:cubicBezTo>
                  <a:cubicBezTo>
                    <a:pt x="7861220" y="3636703"/>
                    <a:pt x="7865533" y="3639635"/>
                    <a:pt x="7871053" y="3639635"/>
                  </a:cubicBezTo>
                  <a:cubicBezTo>
                    <a:pt x="7885197" y="3637910"/>
                    <a:pt x="7886922" y="3625318"/>
                    <a:pt x="7888992" y="3615140"/>
                  </a:cubicBezTo>
                  <a:cubicBezTo>
                    <a:pt x="7890890" y="3604100"/>
                    <a:pt x="7891408" y="3590127"/>
                    <a:pt x="7891408" y="3577190"/>
                  </a:cubicBezTo>
                  <a:cubicBezTo>
                    <a:pt x="7891408" y="3567702"/>
                    <a:pt x="7891063" y="3558732"/>
                    <a:pt x="7890890" y="3551660"/>
                  </a:cubicBezTo>
                  <a:cubicBezTo>
                    <a:pt x="7893995" y="3552005"/>
                    <a:pt x="7896928" y="3552350"/>
                    <a:pt x="7900205" y="3552350"/>
                  </a:cubicBezTo>
                  <a:cubicBezTo>
                    <a:pt x="7909348" y="3552350"/>
                    <a:pt x="7917456" y="3550625"/>
                    <a:pt x="7924873" y="3547175"/>
                  </a:cubicBezTo>
                  <a:cubicBezTo>
                    <a:pt x="7932290" y="3543725"/>
                    <a:pt x="7937811" y="3539067"/>
                    <a:pt x="7941778" y="3532857"/>
                  </a:cubicBezTo>
                  <a:cubicBezTo>
                    <a:pt x="7945745" y="3526819"/>
                    <a:pt x="7947643" y="3520264"/>
                    <a:pt x="7947643" y="3513364"/>
                  </a:cubicBezTo>
                  <a:cubicBezTo>
                    <a:pt x="7947643" y="3506464"/>
                    <a:pt x="7945918" y="3500254"/>
                    <a:pt x="7942295" y="3494907"/>
                  </a:cubicBezTo>
                  <a:cubicBezTo>
                    <a:pt x="7938673" y="3489559"/>
                    <a:pt x="7933153" y="3485074"/>
                    <a:pt x="7925735" y="3481624"/>
                  </a:cubicBezTo>
                  <a:cubicBezTo>
                    <a:pt x="7921595" y="3479727"/>
                    <a:pt x="7914178" y="3477484"/>
                    <a:pt x="7904000" y="3474896"/>
                  </a:cubicBezTo>
                  <a:cubicBezTo>
                    <a:pt x="7904173" y="3472309"/>
                    <a:pt x="7904518" y="3469722"/>
                    <a:pt x="7904518" y="3467134"/>
                  </a:cubicBezTo>
                  <a:cubicBezTo>
                    <a:pt x="7904518" y="3465064"/>
                    <a:pt x="7904518" y="3462649"/>
                    <a:pt x="7904345" y="3460579"/>
                  </a:cubicBezTo>
                  <a:cubicBezTo>
                    <a:pt x="7902275" y="3449539"/>
                    <a:pt x="7896583" y="3440914"/>
                    <a:pt x="7890200" y="3433324"/>
                  </a:cubicBezTo>
                  <a:cubicBezTo>
                    <a:pt x="7892098" y="3433151"/>
                    <a:pt x="7894168" y="3432979"/>
                    <a:pt x="7896238" y="3432979"/>
                  </a:cubicBezTo>
                  <a:cubicBezTo>
                    <a:pt x="7906243" y="3432979"/>
                    <a:pt x="7913488" y="3434876"/>
                    <a:pt x="7918663" y="3439189"/>
                  </a:cubicBezTo>
                  <a:cubicBezTo>
                    <a:pt x="7923665" y="3443501"/>
                    <a:pt x="7926770" y="3449539"/>
                    <a:pt x="7927460" y="3457819"/>
                  </a:cubicBezTo>
                  <a:lnTo>
                    <a:pt x="7943676" y="3456611"/>
                  </a:lnTo>
                  <a:cubicBezTo>
                    <a:pt x="7943503" y="3448849"/>
                    <a:pt x="7941433" y="3442121"/>
                    <a:pt x="7937293" y="3436084"/>
                  </a:cubicBezTo>
                  <a:cubicBezTo>
                    <a:pt x="7933498" y="3430046"/>
                    <a:pt x="7927805" y="3425389"/>
                    <a:pt x="7920560" y="3422456"/>
                  </a:cubicBezTo>
                  <a:cubicBezTo>
                    <a:pt x="7913315" y="3419179"/>
                    <a:pt x="7904863" y="3417799"/>
                    <a:pt x="7895375" y="3417799"/>
                  </a:cubicBezTo>
                  <a:cubicBezTo>
                    <a:pt x="7889165" y="3417799"/>
                    <a:pt x="7883473" y="3418834"/>
                    <a:pt x="7877953" y="3420386"/>
                  </a:cubicBezTo>
                  <a:cubicBezTo>
                    <a:pt x="7869500" y="3411589"/>
                    <a:pt x="7862255" y="3403481"/>
                    <a:pt x="7862255" y="3393303"/>
                  </a:cubicBezTo>
                  <a:cubicBezTo>
                    <a:pt x="7861393" y="3383643"/>
                    <a:pt x="7861047" y="3373293"/>
                    <a:pt x="7861047" y="3363461"/>
                  </a:cubicBezTo>
                  <a:cubicBezTo>
                    <a:pt x="7861047" y="3355871"/>
                    <a:pt x="7861220" y="3348971"/>
                    <a:pt x="7861393" y="3343278"/>
                  </a:cubicBezTo>
                  <a:cubicBezTo>
                    <a:pt x="7861393" y="3343278"/>
                    <a:pt x="7861393" y="3343278"/>
                    <a:pt x="7861393" y="3343278"/>
                  </a:cubicBezTo>
                  <a:cubicBezTo>
                    <a:pt x="7861393" y="3343105"/>
                    <a:pt x="7861393" y="3342933"/>
                    <a:pt x="7861393" y="3342933"/>
                  </a:cubicBezTo>
                  <a:cubicBezTo>
                    <a:pt x="7869500" y="3348281"/>
                    <a:pt x="7875365" y="3353283"/>
                    <a:pt x="7876400" y="3357078"/>
                  </a:cubicBezTo>
                  <a:cubicBezTo>
                    <a:pt x="7891408" y="3384333"/>
                    <a:pt x="7941260" y="3385196"/>
                    <a:pt x="7961098" y="3389164"/>
                  </a:cubicBezTo>
                  <a:cubicBezTo>
                    <a:pt x="7963858" y="3388301"/>
                    <a:pt x="7976106" y="3402274"/>
                    <a:pt x="7986456" y="3418489"/>
                  </a:cubicBezTo>
                  <a:cubicBezTo>
                    <a:pt x="7987318" y="3419696"/>
                    <a:pt x="7988009" y="3420731"/>
                    <a:pt x="7988871" y="3421939"/>
                  </a:cubicBezTo>
                  <a:lnTo>
                    <a:pt x="7971965" y="3421939"/>
                  </a:lnTo>
                  <a:lnTo>
                    <a:pt x="7971965" y="3550280"/>
                  </a:lnTo>
                  <a:lnTo>
                    <a:pt x="8069256" y="3550280"/>
                  </a:lnTo>
                  <a:lnTo>
                    <a:pt x="8069256" y="3535099"/>
                  </a:lnTo>
                  <a:lnTo>
                    <a:pt x="7989216" y="3535099"/>
                  </a:lnTo>
                  <a:lnTo>
                    <a:pt x="7989216" y="3491629"/>
                  </a:lnTo>
                  <a:lnTo>
                    <a:pt x="8061322" y="3491629"/>
                  </a:lnTo>
                  <a:lnTo>
                    <a:pt x="8061322" y="3481452"/>
                  </a:lnTo>
                  <a:cubicBezTo>
                    <a:pt x="8078054" y="3494044"/>
                    <a:pt x="8098237" y="3510259"/>
                    <a:pt x="8117902" y="3527165"/>
                  </a:cubicBezTo>
                  <a:cubicBezTo>
                    <a:pt x="8141362" y="3547175"/>
                    <a:pt x="8164822" y="3568565"/>
                    <a:pt x="8183452" y="3586677"/>
                  </a:cubicBezTo>
                  <a:cubicBezTo>
                    <a:pt x="8141190" y="3612035"/>
                    <a:pt x="8092199" y="3644465"/>
                    <a:pt x="8085989" y="3653090"/>
                  </a:cubicBezTo>
                  <a:close/>
                  <a:moveTo>
                    <a:pt x="7891235" y="3536134"/>
                  </a:moveTo>
                  <a:cubicBezTo>
                    <a:pt x="7892615" y="3523542"/>
                    <a:pt x="7897963" y="3508017"/>
                    <a:pt x="7901585" y="3491974"/>
                  </a:cubicBezTo>
                  <a:cubicBezTo>
                    <a:pt x="7909175" y="3493872"/>
                    <a:pt x="7914350" y="3495252"/>
                    <a:pt x="7916938" y="3496459"/>
                  </a:cubicBezTo>
                  <a:cubicBezTo>
                    <a:pt x="7922286" y="3498529"/>
                    <a:pt x="7926081" y="3501117"/>
                    <a:pt x="7928323" y="3504222"/>
                  </a:cubicBezTo>
                  <a:cubicBezTo>
                    <a:pt x="7930911" y="3507154"/>
                    <a:pt x="7931946" y="3510777"/>
                    <a:pt x="7931946" y="3514917"/>
                  </a:cubicBezTo>
                  <a:cubicBezTo>
                    <a:pt x="7931946" y="3519057"/>
                    <a:pt x="7930738" y="3522679"/>
                    <a:pt x="7928323" y="3525957"/>
                  </a:cubicBezTo>
                  <a:cubicBezTo>
                    <a:pt x="7926081" y="3529234"/>
                    <a:pt x="7922113" y="3531995"/>
                    <a:pt x="7917283" y="3533892"/>
                  </a:cubicBezTo>
                  <a:cubicBezTo>
                    <a:pt x="7912453" y="3535790"/>
                    <a:pt x="7906760" y="3536825"/>
                    <a:pt x="7900205" y="3536825"/>
                  </a:cubicBezTo>
                  <a:cubicBezTo>
                    <a:pt x="7897100" y="3536997"/>
                    <a:pt x="7894168" y="3536652"/>
                    <a:pt x="7891235" y="3536134"/>
                  </a:cubicBezTo>
                  <a:close/>
                  <a:moveTo>
                    <a:pt x="7989906" y="3476276"/>
                  </a:moveTo>
                  <a:lnTo>
                    <a:pt x="7989906" y="3436946"/>
                  </a:lnTo>
                  <a:lnTo>
                    <a:pt x="8000429" y="3436946"/>
                  </a:lnTo>
                  <a:cubicBezTo>
                    <a:pt x="8007501" y="3446089"/>
                    <a:pt x="8015091" y="3453679"/>
                    <a:pt x="8025269" y="3456784"/>
                  </a:cubicBezTo>
                  <a:cubicBezTo>
                    <a:pt x="8028201" y="3457129"/>
                    <a:pt x="8039759" y="3464719"/>
                    <a:pt x="8055284" y="3476276"/>
                  </a:cubicBezTo>
                  <a:lnTo>
                    <a:pt x="7989906" y="3476276"/>
                  </a:lnTo>
                  <a:close/>
                  <a:moveTo>
                    <a:pt x="8458074" y="3327580"/>
                  </a:moveTo>
                  <a:cubicBezTo>
                    <a:pt x="8437029" y="3350178"/>
                    <a:pt x="8411154" y="3379158"/>
                    <a:pt x="8379759" y="3414694"/>
                  </a:cubicBezTo>
                  <a:cubicBezTo>
                    <a:pt x="8332321" y="3468514"/>
                    <a:pt x="8260560" y="3549590"/>
                    <a:pt x="8246588" y="3553557"/>
                  </a:cubicBezTo>
                  <a:cubicBezTo>
                    <a:pt x="8239170" y="3555455"/>
                    <a:pt x="8220885" y="3565115"/>
                    <a:pt x="8199150" y="3577707"/>
                  </a:cubicBezTo>
                  <a:cubicBezTo>
                    <a:pt x="8179312" y="3558042"/>
                    <a:pt x="8154299" y="3535272"/>
                    <a:pt x="8128770" y="3513364"/>
                  </a:cubicBezTo>
                  <a:cubicBezTo>
                    <a:pt x="8084781" y="3476276"/>
                    <a:pt x="8044761" y="3444364"/>
                    <a:pt x="8028719" y="3439706"/>
                  </a:cubicBezTo>
                  <a:cubicBezTo>
                    <a:pt x="8027339" y="3439534"/>
                    <a:pt x="8025614" y="3438671"/>
                    <a:pt x="8023716" y="3436946"/>
                  </a:cubicBezTo>
                  <a:lnTo>
                    <a:pt x="8067014" y="3436946"/>
                  </a:lnTo>
                  <a:lnTo>
                    <a:pt x="8067014" y="3421939"/>
                  </a:lnTo>
                  <a:lnTo>
                    <a:pt x="8010261" y="3421939"/>
                  </a:lnTo>
                  <a:cubicBezTo>
                    <a:pt x="8006983" y="3417626"/>
                    <a:pt x="8003706" y="3412969"/>
                    <a:pt x="8000773" y="3408139"/>
                  </a:cubicBezTo>
                  <a:cubicBezTo>
                    <a:pt x="7989388" y="3392441"/>
                    <a:pt x="7980591" y="3375363"/>
                    <a:pt x="7963858" y="3371568"/>
                  </a:cubicBezTo>
                  <a:cubicBezTo>
                    <a:pt x="7944538" y="3370361"/>
                    <a:pt x="7893995" y="3360183"/>
                    <a:pt x="7892270" y="3349488"/>
                  </a:cubicBezTo>
                  <a:cubicBezTo>
                    <a:pt x="7879160" y="3323785"/>
                    <a:pt x="7824995" y="3303085"/>
                    <a:pt x="7809814" y="3296185"/>
                  </a:cubicBezTo>
                  <a:cubicBezTo>
                    <a:pt x="7809642" y="3295840"/>
                    <a:pt x="7809470" y="3294460"/>
                    <a:pt x="7809470" y="3292735"/>
                  </a:cubicBezTo>
                  <a:cubicBezTo>
                    <a:pt x="7809297" y="3286180"/>
                    <a:pt x="7812747" y="3276003"/>
                    <a:pt x="7814990" y="3269792"/>
                  </a:cubicBezTo>
                  <a:cubicBezTo>
                    <a:pt x="7815335" y="3269792"/>
                    <a:pt x="7815679" y="3269620"/>
                    <a:pt x="7816025" y="3269620"/>
                  </a:cubicBezTo>
                  <a:cubicBezTo>
                    <a:pt x="7816887" y="3267205"/>
                    <a:pt x="7817750" y="3265480"/>
                    <a:pt x="7817577" y="3265480"/>
                  </a:cubicBezTo>
                  <a:lnTo>
                    <a:pt x="7803605" y="3258752"/>
                  </a:lnTo>
                  <a:cubicBezTo>
                    <a:pt x="7803777" y="3258063"/>
                    <a:pt x="7803949" y="3257717"/>
                    <a:pt x="7803949" y="3257717"/>
                  </a:cubicBezTo>
                  <a:lnTo>
                    <a:pt x="7819130" y="3264962"/>
                  </a:lnTo>
                  <a:cubicBezTo>
                    <a:pt x="7819130" y="3264962"/>
                    <a:pt x="7818439" y="3266688"/>
                    <a:pt x="7817577" y="3269275"/>
                  </a:cubicBezTo>
                  <a:cubicBezTo>
                    <a:pt x="7845350" y="3264962"/>
                    <a:pt x="7885370" y="3238570"/>
                    <a:pt x="7899688" y="3227875"/>
                  </a:cubicBezTo>
                  <a:cubicBezTo>
                    <a:pt x="7903138" y="3224942"/>
                    <a:pt x="7912108" y="3223045"/>
                    <a:pt x="7921595" y="3223045"/>
                  </a:cubicBezTo>
                  <a:cubicBezTo>
                    <a:pt x="7933153" y="3223045"/>
                    <a:pt x="7945573" y="3225115"/>
                    <a:pt x="7951093" y="3226667"/>
                  </a:cubicBezTo>
                  <a:cubicBezTo>
                    <a:pt x="7952301" y="3226495"/>
                    <a:pt x="7971103" y="3239087"/>
                    <a:pt x="7988009" y="3250817"/>
                  </a:cubicBezTo>
                  <a:cubicBezTo>
                    <a:pt x="8006121" y="3262720"/>
                    <a:pt x="8022336" y="3274795"/>
                    <a:pt x="8036309" y="3275658"/>
                  </a:cubicBezTo>
                  <a:cubicBezTo>
                    <a:pt x="8039931" y="3274623"/>
                    <a:pt x="8049764" y="3282213"/>
                    <a:pt x="8067531" y="3289803"/>
                  </a:cubicBezTo>
                  <a:cubicBezTo>
                    <a:pt x="8084091" y="3296875"/>
                    <a:pt x="8107897" y="3304120"/>
                    <a:pt x="8140154" y="3304120"/>
                  </a:cubicBezTo>
                  <a:cubicBezTo>
                    <a:pt x="8147917" y="3304120"/>
                    <a:pt x="8156197" y="3303775"/>
                    <a:pt x="8165167" y="3302913"/>
                  </a:cubicBezTo>
                  <a:cubicBezTo>
                    <a:pt x="8208292" y="3298773"/>
                    <a:pt x="8230890" y="3283938"/>
                    <a:pt x="8247623" y="3269275"/>
                  </a:cubicBezTo>
                  <a:cubicBezTo>
                    <a:pt x="8264183" y="3254613"/>
                    <a:pt x="8274360" y="3242365"/>
                    <a:pt x="8296786" y="3237707"/>
                  </a:cubicBezTo>
                  <a:cubicBezTo>
                    <a:pt x="8337496" y="3228737"/>
                    <a:pt x="8380794" y="3223562"/>
                    <a:pt x="8399941" y="3223562"/>
                  </a:cubicBezTo>
                  <a:cubicBezTo>
                    <a:pt x="8403736" y="3223562"/>
                    <a:pt x="8406496" y="3223907"/>
                    <a:pt x="8407186" y="3223907"/>
                  </a:cubicBezTo>
                  <a:cubicBezTo>
                    <a:pt x="8414259" y="3225460"/>
                    <a:pt x="8457729" y="3235292"/>
                    <a:pt x="8502752" y="3262893"/>
                  </a:cubicBezTo>
                  <a:cubicBezTo>
                    <a:pt x="8488952" y="3287733"/>
                    <a:pt x="8473944" y="3310503"/>
                    <a:pt x="8458074" y="3327580"/>
                  </a:cubicBezTo>
                  <a:close/>
                  <a:moveTo>
                    <a:pt x="8586415" y="3022426"/>
                  </a:moveTo>
                  <a:cubicBezTo>
                    <a:pt x="8583827" y="3043988"/>
                    <a:pt x="8582447" y="3058134"/>
                    <a:pt x="8572615" y="3079524"/>
                  </a:cubicBezTo>
                  <a:cubicBezTo>
                    <a:pt x="8568992" y="3092289"/>
                    <a:pt x="8545877" y="3175089"/>
                    <a:pt x="8510169" y="3247195"/>
                  </a:cubicBezTo>
                  <a:cubicBezTo>
                    <a:pt x="8462559" y="3218215"/>
                    <a:pt x="8417536" y="3208555"/>
                    <a:pt x="8410464" y="3207002"/>
                  </a:cubicBezTo>
                  <a:cubicBezTo>
                    <a:pt x="8406324" y="3206657"/>
                    <a:pt x="8403046" y="3206657"/>
                    <a:pt x="8398561" y="3206657"/>
                  </a:cubicBezTo>
                  <a:cubicBezTo>
                    <a:pt x="8377516" y="3206657"/>
                    <a:pt x="8334046" y="3212005"/>
                    <a:pt x="8292300" y="3221147"/>
                  </a:cubicBezTo>
                  <a:cubicBezTo>
                    <a:pt x="8264700" y="3227185"/>
                    <a:pt x="8251073" y="3243400"/>
                    <a:pt x="8235893" y="3256337"/>
                  </a:cubicBezTo>
                  <a:cubicBezTo>
                    <a:pt x="8220540" y="3269620"/>
                    <a:pt x="8202945" y="3281695"/>
                    <a:pt x="8162752" y="3285835"/>
                  </a:cubicBezTo>
                  <a:cubicBezTo>
                    <a:pt x="8154299" y="3286698"/>
                    <a:pt x="8146537" y="3286870"/>
                    <a:pt x="8139465" y="3286870"/>
                  </a:cubicBezTo>
                  <a:cubicBezTo>
                    <a:pt x="8076156" y="3286870"/>
                    <a:pt x="8058561" y="3260650"/>
                    <a:pt x="8035964" y="3258580"/>
                  </a:cubicBezTo>
                  <a:cubicBezTo>
                    <a:pt x="8033204" y="3259443"/>
                    <a:pt x="8013366" y="3248402"/>
                    <a:pt x="7996978" y="3236500"/>
                  </a:cubicBezTo>
                  <a:cubicBezTo>
                    <a:pt x="7979038" y="3224597"/>
                    <a:pt x="7964376" y="3212695"/>
                    <a:pt x="7954715" y="3209935"/>
                  </a:cubicBezTo>
                  <a:cubicBezTo>
                    <a:pt x="7948161" y="3208210"/>
                    <a:pt x="7935050" y="3205795"/>
                    <a:pt x="7921595" y="3205795"/>
                  </a:cubicBezTo>
                  <a:cubicBezTo>
                    <a:pt x="7910555" y="3205967"/>
                    <a:pt x="7898825" y="3207002"/>
                    <a:pt x="7889510" y="3214075"/>
                  </a:cubicBezTo>
                  <a:cubicBezTo>
                    <a:pt x="7877262" y="3224252"/>
                    <a:pt x="7828100" y="3253750"/>
                    <a:pt x="7811195" y="3252887"/>
                  </a:cubicBezTo>
                  <a:cubicBezTo>
                    <a:pt x="7806537" y="3252715"/>
                    <a:pt x="7804984" y="3250817"/>
                    <a:pt x="7802397" y="3245125"/>
                  </a:cubicBezTo>
                  <a:cubicBezTo>
                    <a:pt x="7800500" y="3239605"/>
                    <a:pt x="7799810" y="3231842"/>
                    <a:pt x="7799810" y="3227530"/>
                  </a:cubicBezTo>
                  <a:cubicBezTo>
                    <a:pt x="7799810" y="3225460"/>
                    <a:pt x="7799982" y="3224597"/>
                    <a:pt x="7799810" y="3224597"/>
                  </a:cubicBezTo>
                  <a:lnTo>
                    <a:pt x="7800154" y="3218905"/>
                  </a:lnTo>
                  <a:lnTo>
                    <a:pt x="7795497" y="3216145"/>
                  </a:lnTo>
                  <a:cubicBezTo>
                    <a:pt x="7795497" y="3216145"/>
                    <a:pt x="7782559" y="3208900"/>
                    <a:pt x="7769277" y="3199930"/>
                  </a:cubicBezTo>
                  <a:cubicBezTo>
                    <a:pt x="7762722" y="3195444"/>
                    <a:pt x="7755994" y="3190787"/>
                    <a:pt x="7751164" y="3186302"/>
                  </a:cubicBezTo>
                  <a:cubicBezTo>
                    <a:pt x="7748577" y="3184232"/>
                    <a:pt x="7746679" y="3181989"/>
                    <a:pt x="7745472" y="3180609"/>
                  </a:cubicBezTo>
                  <a:cubicBezTo>
                    <a:pt x="7744264" y="3179057"/>
                    <a:pt x="7744437" y="3178712"/>
                    <a:pt x="7744264" y="3178712"/>
                  </a:cubicBezTo>
                  <a:cubicBezTo>
                    <a:pt x="7738744" y="3162842"/>
                    <a:pt x="7724427" y="3162842"/>
                    <a:pt x="7712696" y="3160082"/>
                  </a:cubicBezTo>
                  <a:cubicBezTo>
                    <a:pt x="7700449" y="3158184"/>
                    <a:pt x="7689236" y="3158357"/>
                    <a:pt x="7689064" y="3158357"/>
                  </a:cubicBezTo>
                  <a:lnTo>
                    <a:pt x="7686994" y="3158357"/>
                  </a:lnTo>
                  <a:lnTo>
                    <a:pt x="7685096" y="3159392"/>
                  </a:lnTo>
                  <a:cubicBezTo>
                    <a:pt x="7685096" y="3159392"/>
                    <a:pt x="7683889" y="3160254"/>
                    <a:pt x="7680438" y="3161289"/>
                  </a:cubicBezTo>
                  <a:cubicBezTo>
                    <a:pt x="7676989" y="3162324"/>
                    <a:pt x="7671986" y="3163359"/>
                    <a:pt x="7665258" y="3163359"/>
                  </a:cubicBezTo>
                  <a:cubicBezTo>
                    <a:pt x="7650079" y="3163359"/>
                    <a:pt x="7626618" y="3157667"/>
                    <a:pt x="7597811" y="3128169"/>
                  </a:cubicBezTo>
                  <a:cubicBezTo>
                    <a:pt x="7577973" y="3108331"/>
                    <a:pt x="7565380" y="3099879"/>
                    <a:pt x="7552788" y="3099534"/>
                  </a:cubicBezTo>
                  <a:cubicBezTo>
                    <a:pt x="7540368" y="3099706"/>
                    <a:pt x="7533640" y="3109021"/>
                    <a:pt x="7529328" y="3114541"/>
                  </a:cubicBezTo>
                  <a:cubicBezTo>
                    <a:pt x="7524670" y="3120924"/>
                    <a:pt x="7522082" y="3123166"/>
                    <a:pt x="7519667" y="3122822"/>
                  </a:cubicBezTo>
                  <a:cubicBezTo>
                    <a:pt x="7496897" y="3121096"/>
                    <a:pt x="7482235" y="3130584"/>
                    <a:pt x="7472919" y="3160944"/>
                  </a:cubicBezTo>
                  <a:cubicBezTo>
                    <a:pt x="7462742" y="3186992"/>
                    <a:pt x="7458257" y="3184404"/>
                    <a:pt x="7400641" y="3201827"/>
                  </a:cubicBezTo>
                  <a:cubicBezTo>
                    <a:pt x="7383391" y="3207002"/>
                    <a:pt x="7373386" y="3209590"/>
                    <a:pt x="7366314" y="3212350"/>
                  </a:cubicBezTo>
                  <a:cubicBezTo>
                    <a:pt x="7359931" y="3213902"/>
                    <a:pt x="7352686" y="3221320"/>
                    <a:pt x="7353549" y="3228737"/>
                  </a:cubicBezTo>
                  <a:cubicBezTo>
                    <a:pt x="7353721" y="3235982"/>
                    <a:pt x="7355964" y="3241330"/>
                    <a:pt x="7355964" y="3253578"/>
                  </a:cubicBezTo>
                  <a:cubicBezTo>
                    <a:pt x="7355274" y="3268757"/>
                    <a:pt x="7352169" y="3272035"/>
                    <a:pt x="7341301" y="3276865"/>
                  </a:cubicBezTo>
                  <a:cubicBezTo>
                    <a:pt x="7330261" y="3281350"/>
                    <a:pt x="7310768" y="3282903"/>
                    <a:pt x="7285583" y="3285663"/>
                  </a:cubicBezTo>
                  <a:cubicBezTo>
                    <a:pt x="7282996" y="3285835"/>
                    <a:pt x="7280926" y="3286008"/>
                    <a:pt x="7278683" y="3286008"/>
                  </a:cubicBezTo>
                  <a:cubicBezTo>
                    <a:pt x="7265918" y="3284455"/>
                    <a:pt x="7269540" y="3284455"/>
                    <a:pt x="7268505" y="3281695"/>
                  </a:cubicBezTo>
                  <a:cubicBezTo>
                    <a:pt x="7268161" y="3275140"/>
                    <a:pt x="7275061" y="3265480"/>
                    <a:pt x="7276441" y="3254957"/>
                  </a:cubicBezTo>
                  <a:cubicBezTo>
                    <a:pt x="7276441" y="3253405"/>
                    <a:pt x="7276268" y="3250817"/>
                    <a:pt x="7274026" y="3248057"/>
                  </a:cubicBezTo>
                  <a:cubicBezTo>
                    <a:pt x="7272300" y="3245987"/>
                    <a:pt x="7269540" y="3244780"/>
                    <a:pt x="7267643" y="3244780"/>
                  </a:cubicBezTo>
                  <a:cubicBezTo>
                    <a:pt x="7263848" y="3242192"/>
                    <a:pt x="7252290" y="3218560"/>
                    <a:pt x="7252980" y="3188372"/>
                  </a:cubicBezTo>
                  <a:cubicBezTo>
                    <a:pt x="7252636" y="3144557"/>
                    <a:pt x="7218480" y="3128169"/>
                    <a:pt x="7202955" y="3128169"/>
                  </a:cubicBezTo>
                  <a:cubicBezTo>
                    <a:pt x="7199505" y="3129894"/>
                    <a:pt x="7176045" y="3109711"/>
                    <a:pt x="7171732" y="3101259"/>
                  </a:cubicBezTo>
                  <a:cubicBezTo>
                    <a:pt x="7171905" y="3100569"/>
                    <a:pt x="7172767" y="3099189"/>
                    <a:pt x="7174665" y="3096946"/>
                  </a:cubicBezTo>
                  <a:cubicBezTo>
                    <a:pt x="7182427" y="3087286"/>
                    <a:pt x="7203128" y="3072969"/>
                    <a:pt x="7217618" y="3066241"/>
                  </a:cubicBezTo>
                  <a:cubicBezTo>
                    <a:pt x="7241078" y="3054511"/>
                    <a:pt x="7300591" y="3008453"/>
                    <a:pt x="7318703" y="3004486"/>
                  </a:cubicBezTo>
                  <a:cubicBezTo>
                    <a:pt x="7331123" y="3001208"/>
                    <a:pt x="7334918" y="2988443"/>
                    <a:pt x="7334574" y="2978438"/>
                  </a:cubicBezTo>
                  <a:cubicBezTo>
                    <a:pt x="7334574" y="2966190"/>
                    <a:pt x="7330779" y="2953080"/>
                    <a:pt x="7325776" y="2941523"/>
                  </a:cubicBezTo>
                  <a:cubicBezTo>
                    <a:pt x="7320256" y="2930655"/>
                    <a:pt x="7316116" y="2921168"/>
                    <a:pt x="7305421" y="2917373"/>
                  </a:cubicBezTo>
                  <a:cubicBezTo>
                    <a:pt x="7305248" y="2916338"/>
                    <a:pt x="7304731" y="2913750"/>
                    <a:pt x="7304731" y="2910300"/>
                  </a:cubicBezTo>
                  <a:cubicBezTo>
                    <a:pt x="7304559" y="2901157"/>
                    <a:pt x="7306801" y="2886495"/>
                    <a:pt x="7306801" y="2872522"/>
                  </a:cubicBezTo>
                  <a:cubicBezTo>
                    <a:pt x="7306801" y="2866830"/>
                    <a:pt x="7306629" y="2861137"/>
                    <a:pt x="7305076" y="2855617"/>
                  </a:cubicBezTo>
                  <a:cubicBezTo>
                    <a:pt x="7304731" y="2853202"/>
                    <a:pt x="7304386" y="2851822"/>
                    <a:pt x="7304386" y="2850442"/>
                  </a:cubicBezTo>
                  <a:cubicBezTo>
                    <a:pt x="7304559" y="2844405"/>
                    <a:pt x="7307664" y="2845267"/>
                    <a:pt x="7311803" y="2844749"/>
                  </a:cubicBezTo>
                  <a:cubicBezTo>
                    <a:pt x="7312494" y="2844749"/>
                    <a:pt x="7312666" y="2844749"/>
                    <a:pt x="7312666" y="2844749"/>
                  </a:cubicBezTo>
                  <a:lnTo>
                    <a:pt x="7312838" y="2843714"/>
                  </a:lnTo>
                  <a:cubicBezTo>
                    <a:pt x="7312666" y="2843542"/>
                    <a:pt x="7312494" y="2843370"/>
                    <a:pt x="7312148" y="2843197"/>
                  </a:cubicBezTo>
                  <a:lnTo>
                    <a:pt x="7314219" y="2828017"/>
                  </a:lnTo>
                  <a:cubicBezTo>
                    <a:pt x="7314736" y="2828017"/>
                    <a:pt x="7315081" y="2828189"/>
                    <a:pt x="7315254" y="2828189"/>
                  </a:cubicBezTo>
                  <a:lnTo>
                    <a:pt x="7313184" y="2844232"/>
                  </a:lnTo>
                  <a:cubicBezTo>
                    <a:pt x="7313873" y="2844577"/>
                    <a:pt x="7314219" y="2845094"/>
                    <a:pt x="7314908" y="2845267"/>
                  </a:cubicBezTo>
                  <a:cubicBezTo>
                    <a:pt x="7323879" y="2849752"/>
                    <a:pt x="7334746" y="2850787"/>
                    <a:pt x="7347511" y="2850787"/>
                  </a:cubicBezTo>
                  <a:cubicBezTo>
                    <a:pt x="7372869" y="2850787"/>
                    <a:pt x="7423757" y="2842507"/>
                    <a:pt x="7459120" y="2842507"/>
                  </a:cubicBezTo>
                  <a:cubicBezTo>
                    <a:pt x="7476542" y="2842162"/>
                    <a:pt x="7490515" y="2845785"/>
                    <a:pt x="7491377" y="2848027"/>
                  </a:cubicBezTo>
                  <a:cubicBezTo>
                    <a:pt x="7501382" y="2859067"/>
                    <a:pt x="7523117" y="2874075"/>
                    <a:pt x="7544335" y="2888910"/>
                  </a:cubicBezTo>
                  <a:cubicBezTo>
                    <a:pt x="7554858" y="2896155"/>
                    <a:pt x="7564863" y="2903227"/>
                    <a:pt x="7572453" y="2908920"/>
                  </a:cubicBezTo>
                  <a:cubicBezTo>
                    <a:pt x="7576248" y="2911852"/>
                    <a:pt x="7579525" y="2914267"/>
                    <a:pt x="7581596" y="2916338"/>
                  </a:cubicBezTo>
                  <a:cubicBezTo>
                    <a:pt x="7582631" y="2917373"/>
                    <a:pt x="7583493" y="2918235"/>
                    <a:pt x="7584183" y="2918753"/>
                  </a:cubicBezTo>
                  <a:cubicBezTo>
                    <a:pt x="7584528" y="2919098"/>
                    <a:pt x="7584355" y="2919442"/>
                    <a:pt x="7584528" y="2919098"/>
                  </a:cubicBezTo>
                  <a:cubicBezTo>
                    <a:pt x="7591945" y="2931518"/>
                    <a:pt x="7621098" y="2954978"/>
                    <a:pt x="7653701" y="2956013"/>
                  </a:cubicBezTo>
                  <a:lnTo>
                    <a:pt x="7654046" y="2956013"/>
                  </a:lnTo>
                  <a:cubicBezTo>
                    <a:pt x="7666466" y="2956013"/>
                    <a:pt x="7679576" y="2951355"/>
                    <a:pt x="7689754" y="2939798"/>
                  </a:cubicBezTo>
                  <a:cubicBezTo>
                    <a:pt x="7703381" y="2924445"/>
                    <a:pt x="7715974" y="2922892"/>
                    <a:pt x="7728566" y="2920650"/>
                  </a:cubicBezTo>
                  <a:cubicBezTo>
                    <a:pt x="7729601" y="2920650"/>
                    <a:pt x="7730464" y="2920305"/>
                    <a:pt x="7731499" y="2920133"/>
                  </a:cubicBezTo>
                  <a:cubicBezTo>
                    <a:pt x="7731671" y="2920477"/>
                    <a:pt x="7731844" y="2920477"/>
                    <a:pt x="7732017" y="2920823"/>
                  </a:cubicBezTo>
                  <a:cubicBezTo>
                    <a:pt x="7732362" y="2920650"/>
                    <a:pt x="7732879" y="2920477"/>
                    <a:pt x="7733224" y="2920305"/>
                  </a:cubicBezTo>
                  <a:cubicBezTo>
                    <a:pt x="7740124" y="2928585"/>
                    <a:pt x="7753579" y="2943248"/>
                    <a:pt x="7768587" y="2945145"/>
                  </a:cubicBezTo>
                  <a:cubicBezTo>
                    <a:pt x="7772899" y="2945318"/>
                    <a:pt x="7777902" y="2942558"/>
                    <a:pt x="7780490" y="2938418"/>
                  </a:cubicBezTo>
                  <a:cubicBezTo>
                    <a:pt x="7780834" y="2938245"/>
                    <a:pt x="7780662" y="2938245"/>
                    <a:pt x="7782042" y="2938073"/>
                  </a:cubicBezTo>
                  <a:cubicBezTo>
                    <a:pt x="7784802" y="2937900"/>
                    <a:pt x="7791702" y="2940660"/>
                    <a:pt x="7796532" y="2945145"/>
                  </a:cubicBezTo>
                  <a:cubicBezTo>
                    <a:pt x="7801880" y="2949113"/>
                    <a:pt x="7804467" y="2954978"/>
                    <a:pt x="7804294" y="2955323"/>
                  </a:cubicBezTo>
                  <a:cubicBezTo>
                    <a:pt x="7806192" y="2972746"/>
                    <a:pt x="7822580" y="2978955"/>
                    <a:pt x="7840520" y="2979473"/>
                  </a:cubicBezTo>
                  <a:cubicBezTo>
                    <a:pt x="7854147" y="2979473"/>
                    <a:pt x="7870018" y="2974643"/>
                    <a:pt x="7884508" y="2961878"/>
                  </a:cubicBezTo>
                  <a:cubicBezTo>
                    <a:pt x="7915213" y="2934968"/>
                    <a:pt x="7920560" y="2929620"/>
                    <a:pt x="7942813" y="2910817"/>
                  </a:cubicBezTo>
                  <a:cubicBezTo>
                    <a:pt x="7965583" y="2891670"/>
                    <a:pt x="7976795" y="2880457"/>
                    <a:pt x="8004913" y="2877697"/>
                  </a:cubicBezTo>
                  <a:cubicBezTo>
                    <a:pt x="8026821" y="2875282"/>
                    <a:pt x="8050109" y="2863380"/>
                    <a:pt x="8059424" y="2863897"/>
                  </a:cubicBezTo>
                  <a:cubicBezTo>
                    <a:pt x="8061839" y="2864070"/>
                    <a:pt x="8061839" y="2864242"/>
                    <a:pt x="8061839" y="2864242"/>
                  </a:cubicBezTo>
                  <a:cubicBezTo>
                    <a:pt x="8061839" y="2864242"/>
                    <a:pt x="8062701" y="2864932"/>
                    <a:pt x="8062701" y="2868900"/>
                  </a:cubicBezTo>
                  <a:cubicBezTo>
                    <a:pt x="8062874" y="2890807"/>
                    <a:pt x="8071154" y="2901502"/>
                    <a:pt x="8069947" y="2903055"/>
                  </a:cubicBezTo>
                  <a:cubicBezTo>
                    <a:pt x="8069947" y="2903745"/>
                    <a:pt x="8069774" y="2905815"/>
                    <a:pt x="8064771" y="2911508"/>
                  </a:cubicBezTo>
                  <a:cubicBezTo>
                    <a:pt x="8047349" y="2931345"/>
                    <a:pt x="8043209" y="2944628"/>
                    <a:pt x="8035274" y="2968260"/>
                  </a:cubicBezTo>
                  <a:cubicBezTo>
                    <a:pt x="8030961" y="2984476"/>
                    <a:pt x="8011296" y="2990513"/>
                    <a:pt x="8008881" y="3012421"/>
                  </a:cubicBezTo>
                  <a:cubicBezTo>
                    <a:pt x="8008881" y="3017768"/>
                    <a:pt x="8010951" y="3023116"/>
                    <a:pt x="8014401" y="3027773"/>
                  </a:cubicBezTo>
                  <a:cubicBezTo>
                    <a:pt x="8019576" y="3034501"/>
                    <a:pt x="8021301" y="3045368"/>
                    <a:pt x="8024923" y="3056926"/>
                  </a:cubicBezTo>
                  <a:cubicBezTo>
                    <a:pt x="8028201" y="3068484"/>
                    <a:pt x="8038206" y="3081076"/>
                    <a:pt x="8056319" y="3082284"/>
                  </a:cubicBezTo>
                  <a:cubicBezTo>
                    <a:pt x="8064426" y="3082974"/>
                    <a:pt x="8074949" y="3084354"/>
                    <a:pt x="8086334" y="3084354"/>
                  </a:cubicBezTo>
                  <a:cubicBezTo>
                    <a:pt x="8087024" y="3084354"/>
                    <a:pt x="8087542" y="3084354"/>
                    <a:pt x="8088232" y="3084354"/>
                  </a:cubicBezTo>
                  <a:cubicBezTo>
                    <a:pt x="8118074" y="3084354"/>
                    <a:pt x="8156197" y="3071416"/>
                    <a:pt x="8178450" y="3015008"/>
                  </a:cubicBezTo>
                  <a:cubicBezTo>
                    <a:pt x="8191042" y="2984993"/>
                    <a:pt x="8201910" y="2979645"/>
                    <a:pt x="8213813" y="2979473"/>
                  </a:cubicBezTo>
                  <a:cubicBezTo>
                    <a:pt x="8231580" y="2978783"/>
                    <a:pt x="8256248" y="2997241"/>
                    <a:pt x="8283675" y="3001553"/>
                  </a:cubicBezTo>
                  <a:cubicBezTo>
                    <a:pt x="8296441" y="3003278"/>
                    <a:pt x="8308860" y="3004141"/>
                    <a:pt x="8320246" y="3004141"/>
                  </a:cubicBezTo>
                  <a:cubicBezTo>
                    <a:pt x="8346293" y="3004141"/>
                    <a:pt x="8368546" y="2999483"/>
                    <a:pt x="8384589" y="2986373"/>
                  </a:cubicBezTo>
                  <a:cubicBezTo>
                    <a:pt x="8389763" y="2982406"/>
                    <a:pt x="8392351" y="2981888"/>
                    <a:pt x="8394593" y="2981888"/>
                  </a:cubicBezTo>
                  <a:cubicBezTo>
                    <a:pt x="8397526" y="2981715"/>
                    <a:pt x="8400113" y="2983613"/>
                    <a:pt x="8406324" y="2983958"/>
                  </a:cubicBezTo>
                  <a:cubicBezTo>
                    <a:pt x="8412706" y="2984648"/>
                    <a:pt x="8419089" y="2978093"/>
                    <a:pt x="8420468" y="2972055"/>
                  </a:cubicBezTo>
                  <a:cubicBezTo>
                    <a:pt x="8427886" y="2950320"/>
                    <a:pt x="8418916" y="2921685"/>
                    <a:pt x="8472047" y="2912888"/>
                  </a:cubicBezTo>
                  <a:cubicBezTo>
                    <a:pt x="8476531" y="2912197"/>
                    <a:pt x="8481189" y="2911852"/>
                    <a:pt x="8485847" y="2911852"/>
                  </a:cubicBezTo>
                  <a:cubicBezTo>
                    <a:pt x="8518622" y="2911852"/>
                    <a:pt x="8555192" y="2928413"/>
                    <a:pt x="8593487" y="2971366"/>
                  </a:cubicBezTo>
                  <a:cubicBezTo>
                    <a:pt x="8589693" y="2993446"/>
                    <a:pt x="8587795" y="3009661"/>
                    <a:pt x="8586415" y="3022426"/>
                  </a:cubicBezTo>
                  <a:close/>
                  <a:moveTo>
                    <a:pt x="8598490" y="2948250"/>
                  </a:moveTo>
                  <a:cubicBezTo>
                    <a:pt x="8598318" y="2949285"/>
                    <a:pt x="8598145" y="2950320"/>
                    <a:pt x="8597800" y="2951355"/>
                  </a:cubicBezTo>
                  <a:cubicBezTo>
                    <a:pt x="8559332" y="2912025"/>
                    <a:pt x="8521727" y="2894947"/>
                    <a:pt x="8485502" y="2894947"/>
                  </a:cubicBezTo>
                  <a:cubicBezTo>
                    <a:pt x="8479982" y="2894947"/>
                    <a:pt x="8474634" y="2895292"/>
                    <a:pt x="8469287" y="2895982"/>
                  </a:cubicBezTo>
                  <a:cubicBezTo>
                    <a:pt x="8405634" y="2903400"/>
                    <a:pt x="8407876" y="2955495"/>
                    <a:pt x="8404254" y="2966363"/>
                  </a:cubicBezTo>
                  <a:cubicBezTo>
                    <a:pt x="8404254" y="2966535"/>
                    <a:pt x="8404254" y="2966535"/>
                    <a:pt x="8404254" y="2966535"/>
                  </a:cubicBezTo>
                  <a:cubicBezTo>
                    <a:pt x="8402356" y="2965845"/>
                    <a:pt x="8398561" y="2964983"/>
                    <a:pt x="8394076" y="2964810"/>
                  </a:cubicBezTo>
                  <a:cubicBezTo>
                    <a:pt x="8388039" y="2964810"/>
                    <a:pt x="8380794" y="2967225"/>
                    <a:pt x="8373721" y="2973090"/>
                  </a:cubicBezTo>
                  <a:cubicBezTo>
                    <a:pt x="8362681" y="2982406"/>
                    <a:pt x="8344051" y="2987063"/>
                    <a:pt x="8319901" y="2987063"/>
                  </a:cubicBezTo>
                  <a:cubicBezTo>
                    <a:pt x="8309378" y="2987063"/>
                    <a:pt x="8297993" y="2986201"/>
                    <a:pt x="8285573" y="2984476"/>
                  </a:cubicBezTo>
                  <a:cubicBezTo>
                    <a:pt x="8264183" y="2982406"/>
                    <a:pt x="8240033" y="2963085"/>
                    <a:pt x="8213813" y="2962395"/>
                  </a:cubicBezTo>
                  <a:cubicBezTo>
                    <a:pt x="8194147" y="2962223"/>
                    <a:pt x="8175862" y="2975850"/>
                    <a:pt x="8162924" y="3008453"/>
                  </a:cubicBezTo>
                  <a:cubicBezTo>
                    <a:pt x="8141362" y="3060031"/>
                    <a:pt x="8112899" y="3066414"/>
                    <a:pt x="8085989" y="3067103"/>
                  </a:cubicBezTo>
                  <a:cubicBezTo>
                    <a:pt x="8075812" y="3067103"/>
                    <a:pt x="8066152" y="3065896"/>
                    <a:pt x="8057354" y="3065034"/>
                  </a:cubicBezTo>
                  <a:cubicBezTo>
                    <a:pt x="8044934" y="3063309"/>
                    <a:pt x="8043899" y="3059858"/>
                    <a:pt x="8040276" y="3051233"/>
                  </a:cubicBezTo>
                  <a:cubicBezTo>
                    <a:pt x="8036999" y="3042436"/>
                    <a:pt x="8035791" y="3029153"/>
                    <a:pt x="8027339" y="3017251"/>
                  </a:cubicBezTo>
                  <a:cubicBezTo>
                    <a:pt x="8025441" y="3014491"/>
                    <a:pt x="8025269" y="3013456"/>
                    <a:pt x="8025269" y="3012593"/>
                  </a:cubicBezTo>
                  <a:cubicBezTo>
                    <a:pt x="8022681" y="3009143"/>
                    <a:pt x="8041656" y="2997068"/>
                    <a:pt x="8050799" y="2974298"/>
                  </a:cubicBezTo>
                  <a:cubicBezTo>
                    <a:pt x="8059596" y="2949458"/>
                    <a:pt x="8060976" y="2941350"/>
                    <a:pt x="8076847" y="2923238"/>
                  </a:cubicBezTo>
                  <a:cubicBezTo>
                    <a:pt x="8082884" y="2916510"/>
                    <a:pt x="8086507" y="2910128"/>
                    <a:pt x="8086507" y="2903055"/>
                  </a:cubicBezTo>
                  <a:cubicBezTo>
                    <a:pt x="8085472" y="2889082"/>
                    <a:pt x="8079089" y="2886667"/>
                    <a:pt x="8079089" y="2868900"/>
                  </a:cubicBezTo>
                  <a:cubicBezTo>
                    <a:pt x="8079089" y="2862517"/>
                    <a:pt x="8077882" y="2856652"/>
                    <a:pt x="8073742" y="2852167"/>
                  </a:cubicBezTo>
                  <a:cubicBezTo>
                    <a:pt x="8069601" y="2847682"/>
                    <a:pt x="8063909" y="2846475"/>
                    <a:pt x="8059424" y="2846475"/>
                  </a:cubicBezTo>
                  <a:cubicBezTo>
                    <a:pt x="8042346" y="2846820"/>
                    <a:pt x="8021474" y="2859067"/>
                    <a:pt x="8003534" y="2860275"/>
                  </a:cubicBezTo>
                  <a:cubicBezTo>
                    <a:pt x="7970586" y="2863035"/>
                    <a:pt x="7954026" y="2878732"/>
                    <a:pt x="7932290" y="2897190"/>
                  </a:cubicBezTo>
                  <a:cubicBezTo>
                    <a:pt x="7909865" y="2916165"/>
                    <a:pt x="7904345" y="2921685"/>
                    <a:pt x="7873813" y="2948423"/>
                  </a:cubicBezTo>
                  <a:cubicBezTo>
                    <a:pt x="7862255" y="2958428"/>
                    <a:pt x="7850525" y="2961878"/>
                    <a:pt x="7840692" y="2961878"/>
                  </a:cubicBezTo>
                  <a:cubicBezTo>
                    <a:pt x="7833792" y="2961878"/>
                    <a:pt x="7828100" y="2960153"/>
                    <a:pt x="7824650" y="2958255"/>
                  </a:cubicBezTo>
                  <a:cubicBezTo>
                    <a:pt x="7822925" y="2957220"/>
                    <a:pt x="7821717" y="2956185"/>
                    <a:pt x="7821200" y="2955495"/>
                  </a:cubicBezTo>
                  <a:cubicBezTo>
                    <a:pt x="7820855" y="2955323"/>
                    <a:pt x="7821027" y="2955323"/>
                    <a:pt x="7820855" y="2955323"/>
                  </a:cubicBezTo>
                  <a:cubicBezTo>
                    <a:pt x="7818439" y="2936003"/>
                    <a:pt x="7799637" y="2922548"/>
                    <a:pt x="7782042" y="2920650"/>
                  </a:cubicBezTo>
                  <a:cubicBezTo>
                    <a:pt x="7777212" y="2920477"/>
                    <a:pt x="7771174" y="2922720"/>
                    <a:pt x="7767552" y="2927723"/>
                  </a:cubicBezTo>
                  <a:cubicBezTo>
                    <a:pt x="7764964" y="2926687"/>
                    <a:pt x="7757892" y="2922203"/>
                    <a:pt x="7753062" y="2916683"/>
                  </a:cubicBezTo>
                  <a:cubicBezTo>
                    <a:pt x="7750991" y="2914612"/>
                    <a:pt x="7748921" y="2912370"/>
                    <a:pt x="7747369" y="2910473"/>
                  </a:cubicBezTo>
                  <a:cubicBezTo>
                    <a:pt x="7747196" y="2910645"/>
                    <a:pt x="7746852" y="2910817"/>
                    <a:pt x="7746679" y="2911162"/>
                  </a:cubicBezTo>
                  <a:cubicBezTo>
                    <a:pt x="7744609" y="2908575"/>
                    <a:pt x="7742884" y="2906505"/>
                    <a:pt x="7742022" y="2905470"/>
                  </a:cubicBezTo>
                  <a:lnTo>
                    <a:pt x="7743229" y="2904435"/>
                  </a:lnTo>
                  <a:cubicBezTo>
                    <a:pt x="7743229" y="2904435"/>
                    <a:pt x="7745817" y="2907367"/>
                    <a:pt x="7749267" y="2911335"/>
                  </a:cubicBezTo>
                  <a:cubicBezTo>
                    <a:pt x="7753924" y="2906160"/>
                    <a:pt x="7757029" y="2898742"/>
                    <a:pt x="7756512" y="2888565"/>
                  </a:cubicBezTo>
                  <a:cubicBezTo>
                    <a:pt x="7756339" y="2855272"/>
                    <a:pt x="7742194" y="2824739"/>
                    <a:pt x="7742194" y="2770401"/>
                  </a:cubicBezTo>
                  <a:cubicBezTo>
                    <a:pt x="7742194" y="2756774"/>
                    <a:pt x="7743057" y="2741594"/>
                    <a:pt x="7745126" y="2724689"/>
                  </a:cubicBezTo>
                  <a:cubicBezTo>
                    <a:pt x="7750474" y="2684151"/>
                    <a:pt x="7759616" y="2667763"/>
                    <a:pt x="7766517" y="2659656"/>
                  </a:cubicBezTo>
                  <a:cubicBezTo>
                    <a:pt x="7770139" y="2655343"/>
                    <a:pt x="7773072" y="2653273"/>
                    <a:pt x="7776349" y="2650685"/>
                  </a:cubicBezTo>
                  <a:cubicBezTo>
                    <a:pt x="7777384" y="2649823"/>
                    <a:pt x="7778419" y="2648616"/>
                    <a:pt x="7779627" y="2647408"/>
                  </a:cubicBezTo>
                  <a:cubicBezTo>
                    <a:pt x="7797222" y="2657931"/>
                    <a:pt x="7834482" y="2678286"/>
                    <a:pt x="7863463" y="2678803"/>
                  </a:cubicBezTo>
                  <a:cubicBezTo>
                    <a:pt x="7872260" y="2678803"/>
                    <a:pt x="7881230" y="2676733"/>
                    <a:pt x="7887785" y="2670178"/>
                  </a:cubicBezTo>
                  <a:cubicBezTo>
                    <a:pt x="7911418" y="2646373"/>
                    <a:pt x="7939708" y="2633608"/>
                    <a:pt x="7953336" y="2608250"/>
                  </a:cubicBezTo>
                  <a:cubicBezTo>
                    <a:pt x="7955406" y="2599453"/>
                    <a:pt x="8001636" y="2583410"/>
                    <a:pt x="8024751" y="2584445"/>
                  </a:cubicBezTo>
                  <a:cubicBezTo>
                    <a:pt x="8029236" y="2584445"/>
                    <a:pt x="8033031" y="2584790"/>
                    <a:pt x="8034756" y="2585480"/>
                  </a:cubicBezTo>
                  <a:cubicBezTo>
                    <a:pt x="8034929" y="2585480"/>
                    <a:pt x="8035101" y="2585653"/>
                    <a:pt x="8035101" y="2585653"/>
                  </a:cubicBezTo>
                  <a:cubicBezTo>
                    <a:pt x="8037861" y="2597210"/>
                    <a:pt x="8044071" y="2608595"/>
                    <a:pt x="8043554" y="2615323"/>
                  </a:cubicBezTo>
                  <a:cubicBezTo>
                    <a:pt x="8043209" y="2619463"/>
                    <a:pt x="8043381" y="2621360"/>
                    <a:pt x="8034239" y="2625500"/>
                  </a:cubicBezTo>
                  <a:cubicBezTo>
                    <a:pt x="8004396" y="2636195"/>
                    <a:pt x="7989216" y="2659138"/>
                    <a:pt x="7990078" y="2696053"/>
                  </a:cubicBezTo>
                  <a:cubicBezTo>
                    <a:pt x="7990078" y="2735384"/>
                    <a:pt x="8016471" y="2758844"/>
                    <a:pt x="8045624" y="2758844"/>
                  </a:cubicBezTo>
                  <a:cubicBezTo>
                    <a:pt x="8066496" y="2758499"/>
                    <a:pt x="8096857" y="2743491"/>
                    <a:pt x="8111692" y="2743836"/>
                  </a:cubicBezTo>
                  <a:cubicBezTo>
                    <a:pt x="8117902" y="2744526"/>
                    <a:pt x="8117039" y="2744526"/>
                    <a:pt x="8118074" y="2746769"/>
                  </a:cubicBezTo>
                  <a:cubicBezTo>
                    <a:pt x="8124457" y="2768504"/>
                    <a:pt x="8151712" y="2810422"/>
                    <a:pt x="8182072" y="2813009"/>
                  </a:cubicBezTo>
                  <a:lnTo>
                    <a:pt x="8182417" y="2813009"/>
                  </a:lnTo>
                  <a:cubicBezTo>
                    <a:pt x="8195010" y="2813009"/>
                    <a:pt x="8205188" y="2801969"/>
                    <a:pt x="8209155" y="2785064"/>
                  </a:cubicBezTo>
                  <a:cubicBezTo>
                    <a:pt x="8222438" y="2726931"/>
                    <a:pt x="8214675" y="2695536"/>
                    <a:pt x="8220713" y="2694328"/>
                  </a:cubicBezTo>
                  <a:cubicBezTo>
                    <a:pt x="8229855" y="2685703"/>
                    <a:pt x="8229165" y="2680183"/>
                    <a:pt x="8251073" y="2679321"/>
                  </a:cubicBezTo>
                  <a:cubicBezTo>
                    <a:pt x="8262976" y="2679321"/>
                    <a:pt x="8281605" y="2682253"/>
                    <a:pt x="8309896" y="2690878"/>
                  </a:cubicBezTo>
                  <a:cubicBezTo>
                    <a:pt x="8353021" y="2703989"/>
                    <a:pt x="8376826" y="2707093"/>
                    <a:pt x="8392523" y="2707093"/>
                  </a:cubicBezTo>
                  <a:cubicBezTo>
                    <a:pt x="8406324" y="2707093"/>
                    <a:pt x="8413396" y="2704506"/>
                    <a:pt x="8417881" y="2704678"/>
                  </a:cubicBezTo>
                  <a:cubicBezTo>
                    <a:pt x="8425298" y="2704678"/>
                    <a:pt x="8494472" y="2707439"/>
                    <a:pt x="8556917" y="2708646"/>
                  </a:cubicBezTo>
                  <a:cubicBezTo>
                    <a:pt x="8557435" y="2712614"/>
                    <a:pt x="8557952" y="2716581"/>
                    <a:pt x="8558297" y="2720376"/>
                  </a:cubicBezTo>
                  <a:cubicBezTo>
                    <a:pt x="8561057" y="2747114"/>
                    <a:pt x="8569682" y="2775231"/>
                    <a:pt x="8578825" y="2805419"/>
                  </a:cubicBezTo>
                  <a:cubicBezTo>
                    <a:pt x="8593487" y="2854065"/>
                    <a:pt x="8608667" y="2903745"/>
                    <a:pt x="8598490" y="2948250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29" name="Gráfico 1344">
              <a:extLst>
                <a:ext uri="{FF2B5EF4-FFF2-40B4-BE49-F238E27FC236}">
                  <a16:creationId xmlns:a16="http://schemas.microsoft.com/office/drawing/2014/main" id="{E9FA5227-07E1-4723-A596-A9AF8E4725BB}"/>
                </a:ext>
              </a:extLst>
            </p:cNvPr>
            <p:cNvSpPr/>
            <p:nvPr/>
          </p:nvSpPr>
          <p:spPr>
            <a:xfrm>
              <a:off x="8629266" y="2908686"/>
              <a:ext cx="230634" cy="1012237"/>
            </a:xfrm>
            <a:custGeom>
              <a:avLst/>
              <a:gdLst>
                <a:gd name="connsiteX0" fmla="*/ 145591 w 230634"/>
                <a:gd name="connsiteY0" fmla="*/ 897524 h 1012237"/>
                <a:gd name="connsiteX1" fmla="*/ 124719 w 230634"/>
                <a:gd name="connsiteY1" fmla="*/ 855089 h 1012237"/>
                <a:gd name="connsiteX2" fmla="*/ 99361 w 230634"/>
                <a:gd name="connsiteY2" fmla="*/ 829041 h 1012237"/>
                <a:gd name="connsiteX3" fmla="*/ 87113 w 230634"/>
                <a:gd name="connsiteY3" fmla="*/ 768838 h 1012237"/>
                <a:gd name="connsiteX4" fmla="*/ 88665 w 230634"/>
                <a:gd name="connsiteY4" fmla="*/ 721745 h 1012237"/>
                <a:gd name="connsiteX5" fmla="*/ 119371 w 230634"/>
                <a:gd name="connsiteY5" fmla="*/ 623937 h 1012237"/>
                <a:gd name="connsiteX6" fmla="*/ 135758 w 230634"/>
                <a:gd name="connsiteY6" fmla="*/ 595992 h 1012237"/>
                <a:gd name="connsiteX7" fmla="*/ 115058 w 230634"/>
                <a:gd name="connsiteY7" fmla="*/ 559939 h 1012237"/>
                <a:gd name="connsiteX8" fmla="*/ 102638 w 230634"/>
                <a:gd name="connsiteY8" fmla="*/ 548899 h 1012237"/>
                <a:gd name="connsiteX9" fmla="*/ 99878 w 230634"/>
                <a:gd name="connsiteY9" fmla="*/ 546311 h 1012237"/>
                <a:gd name="connsiteX10" fmla="*/ 95048 w 230634"/>
                <a:gd name="connsiteY10" fmla="*/ 488179 h 1012237"/>
                <a:gd name="connsiteX11" fmla="*/ 71070 w 230634"/>
                <a:gd name="connsiteY11" fmla="*/ 454886 h 1012237"/>
                <a:gd name="connsiteX12" fmla="*/ 53993 w 230634"/>
                <a:gd name="connsiteY12" fmla="*/ 422456 h 1012237"/>
                <a:gd name="connsiteX13" fmla="*/ 74865 w 230634"/>
                <a:gd name="connsiteY13" fmla="*/ 394338 h 1012237"/>
                <a:gd name="connsiteX14" fmla="*/ 107986 w 230634"/>
                <a:gd name="connsiteY14" fmla="*/ 353628 h 1012237"/>
                <a:gd name="connsiteX15" fmla="*/ 97808 w 230634"/>
                <a:gd name="connsiteY15" fmla="*/ 332582 h 1012237"/>
                <a:gd name="connsiteX16" fmla="*/ 93151 w 230634"/>
                <a:gd name="connsiteY16" fmla="*/ 327063 h 1012237"/>
                <a:gd name="connsiteX17" fmla="*/ 92460 w 230634"/>
                <a:gd name="connsiteY17" fmla="*/ 326200 h 1012237"/>
                <a:gd name="connsiteX18" fmla="*/ 122303 w 230634"/>
                <a:gd name="connsiteY18" fmla="*/ 283592 h 1012237"/>
                <a:gd name="connsiteX19" fmla="*/ 123338 w 230634"/>
                <a:gd name="connsiteY19" fmla="*/ 276692 h 1012237"/>
                <a:gd name="connsiteX20" fmla="*/ 109883 w 230634"/>
                <a:gd name="connsiteY20" fmla="*/ 259442 h 1012237"/>
                <a:gd name="connsiteX21" fmla="*/ 90218 w 230634"/>
                <a:gd name="connsiteY21" fmla="*/ 256854 h 1012237"/>
                <a:gd name="connsiteX22" fmla="*/ 68656 w 230634"/>
                <a:gd name="connsiteY22" fmla="*/ 257717 h 1012237"/>
                <a:gd name="connsiteX23" fmla="*/ 16560 w 230634"/>
                <a:gd name="connsiteY23" fmla="*/ 209762 h 1012237"/>
                <a:gd name="connsiteX24" fmla="*/ 16215 w 230634"/>
                <a:gd name="connsiteY24" fmla="*/ 204414 h 1012237"/>
                <a:gd name="connsiteX25" fmla="*/ 67966 w 230634"/>
                <a:gd name="connsiteY25" fmla="*/ 163014 h 1012237"/>
                <a:gd name="connsiteX26" fmla="*/ 87803 w 230634"/>
                <a:gd name="connsiteY26" fmla="*/ 136794 h 1012237"/>
                <a:gd name="connsiteX27" fmla="*/ 90218 w 230634"/>
                <a:gd name="connsiteY27" fmla="*/ 94358 h 1012237"/>
                <a:gd name="connsiteX28" fmla="*/ 93151 w 230634"/>
                <a:gd name="connsiteY28" fmla="*/ 79696 h 1012237"/>
                <a:gd name="connsiteX29" fmla="*/ 93323 w 230634"/>
                <a:gd name="connsiteY29" fmla="*/ 79523 h 1012237"/>
                <a:gd name="connsiteX30" fmla="*/ 107123 w 230634"/>
                <a:gd name="connsiteY30" fmla="*/ 84181 h 1012237"/>
                <a:gd name="connsiteX31" fmla="*/ 115231 w 230634"/>
                <a:gd name="connsiteY31" fmla="*/ 80903 h 1012237"/>
                <a:gd name="connsiteX32" fmla="*/ 160426 w 230634"/>
                <a:gd name="connsiteY32" fmla="*/ 43125 h 1012237"/>
                <a:gd name="connsiteX33" fmla="*/ 230634 w 230634"/>
                <a:gd name="connsiteY33" fmla="*/ 13628 h 1012237"/>
                <a:gd name="connsiteX34" fmla="*/ 227012 w 230634"/>
                <a:gd name="connsiteY34" fmla="*/ 5693 h 1012237"/>
                <a:gd name="connsiteX35" fmla="*/ 215627 w 230634"/>
                <a:gd name="connsiteY35" fmla="*/ 0 h 1012237"/>
                <a:gd name="connsiteX36" fmla="*/ 150076 w 230634"/>
                <a:gd name="connsiteY36" fmla="*/ 29670 h 1012237"/>
                <a:gd name="connsiteX37" fmla="*/ 105915 w 230634"/>
                <a:gd name="connsiteY37" fmla="*/ 66413 h 1012237"/>
                <a:gd name="connsiteX38" fmla="*/ 92460 w 230634"/>
                <a:gd name="connsiteY38" fmla="*/ 62101 h 1012237"/>
                <a:gd name="connsiteX39" fmla="*/ 73658 w 230634"/>
                <a:gd name="connsiteY39" fmla="*/ 92978 h 1012237"/>
                <a:gd name="connsiteX40" fmla="*/ 71588 w 230634"/>
                <a:gd name="connsiteY40" fmla="*/ 133861 h 1012237"/>
                <a:gd name="connsiteX41" fmla="*/ 60031 w 230634"/>
                <a:gd name="connsiteY41" fmla="*/ 148006 h 1012237"/>
                <a:gd name="connsiteX42" fmla="*/ 0 w 230634"/>
                <a:gd name="connsiteY42" fmla="*/ 204587 h 1012237"/>
                <a:gd name="connsiteX43" fmla="*/ 345 w 230634"/>
                <a:gd name="connsiteY43" fmla="*/ 212522 h 1012237"/>
                <a:gd name="connsiteX44" fmla="*/ 68828 w 230634"/>
                <a:gd name="connsiteY44" fmla="*/ 275485 h 1012237"/>
                <a:gd name="connsiteX45" fmla="*/ 90390 w 230634"/>
                <a:gd name="connsiteY45" fmla="*/ 274450 h 1012237"/>
                <a:gd name="connsiteX46" fmla="*/ 104881 w 230634"/>
                <a:gd name="connsiteY46" fmla="*/ 276175 h 1012237"/>
                <a:gd name="connsiteX47" fmla="*/ 106778 w 230634"/>
                <a:gd name="connsiteY47" fmla="*/ 277210 h 1012237"/>
                <a:gd name="connsiteX48" fmla="*/ 106433 w 230634"/>
                <a:gd name="connsiteY48" fmla="*/ 278762 h 1012237"/>
                <a:gd name="connsiteX49" fmla="*/ 77970 w 230634"/>
                <a:gd name="connsiteY49" fmla="*/ 317920 h 1012237"/>
                <a:gd name="connsiteX50" fmla="*/ 75556 w 230634"/>
                <a:gd name="connsiteY50" fmla="*/ 326372 h 1012237"/>
                <a:gd name="connsiteX51" fmla="*/ 85733 w 230634"/>
                <a:gd name="connsiteY51" fmla="*/ 345003 h 1012237"/>
                <a:gd name="connsiteX52" fmla="*/ 91253 w 230634"/>
                <a:gd name="connsiteY52" fmla="*/ 353973 h 1012237"/>
                <a:gd name="connsiteX53" fmla="*/ 65896 w 230634"/>
                <a:gd name="connsiteY53" fmla="*/ 380020 h 1012237"/>
                <a:gd name="connsiteX54" fmla="*/ 37260 w 230634"/>
                <a:gd name="connsiteY54" fmla="*/ 422801 h 1012237"/>
                <a:gd name="connsiteX55" fmla="*/ 58650 w 230634"/>
                <a:gd name="connsiteY55" fmla="*/ 466961 h 1012237"/>
                <a:gd name="connsiteX56" fmla="*/ 78488 w 230634"/>
                <a:gd name="connsiteY56" fmla="*/ 492491 h 1012237"/>
                <a:gd name="connsiteX57" fmla="*/ 83146 w 230634"/>
                <a:gd name="connsiteY57" fmla="*/ 540619 h 1012237"/>
                <a:gd name="connsiteX58" fmla="*/ 89701 w 230634"/>
                <a:gd name="connsiteY58" fmla="*/ 540446 h 1012237"/>
                <a:gd name="connsiteX59" fmla="*/ 84526 w 230634"/>
                <a:gd name="connsiteY59" fmla="*/ 540619 h 1012237"/>
                <a:gd name="connsiteX60" fmla="*/ 84526 w 230634"/>
                <a:gd name="connsiteY60" fmla="*/ 548726 h 1012237"/>
                <a:gd name="connsiteX61" fmla="*/ 87976 w 230634"/>
                <a:gd name="connsiteY61" fmla="*/ 557007 h 1012237"/>
                <a:gd name="connsiteX62" fmla="*/ 91598 w 230634"/>
                <a:gd name="connsiteY62" fmla="*/ 557007 h 1012237"/>
                <a:gd name="connsiteX63" fmla="*/ 91598 w 230634"/>
                <a:gd name="connsiteY63" fmla="*/ 558042 h 1012237"/>
                <a:gd name="connsiteX64" fmla="*/ 86768 w 230634"/>
                <a:gd name="connsiteY64" fmla="*/ 558042 h 1012237"/>
                <a:gd name="connsiteX65" fmla="*/ 91598 w 230634"/>
                <a:gd name="connsiteY65" fmla="*/ 562699 h 1012237"/>
                <a:gd name="connsiteX66" fmla="*/ 118853 w 230634"/>
                <a:gd name="connsiteY66" fmla="*/ 596682 h 1012237"/>
                <a:gd name="connsiteX67" fmla="*/ 109538 w 230634"/>
                <a:gd name="connsiteY67" fmla="*/ 610310 h 1012237"/>
                <a:gd name="connsiteX68" fmla="*/ 71761 w 230634"/>
                <a:gd name="connsiteY68" fmla="*/ 721745 h 1012237"/>
                <a:gd name="connsiteX69" fmla="*/ 70208 w 230634"/>
                <a:gd name="connsiteY69" fmla="*/ 769356 h 1012237"/>
                <a:gd name="connsiteX70" fmla="*/ 83663 w 230634"/>
                <a:gd name="connsiteY70" fmla="*/ 836286 h 1012237"/>
                <a:gd name="connsiteX71" fmla="*/ 116094 w 230634"/>
                <a:gd name="connsiteY71" fmla="*/ 870614 h 1012237"/>
                <a:gd name="connsiteX72" fmla="*/ 128686 w 230634"/>
                <a:gd name="connsiteY72" fmla="*/ 898041 h 1012237"/>
                <a:gd name="connsiteX73" fmla="*/ 114368 w 230634"/>
                <a:gd name="connsiteY73" fmla="*/ 984120 h 1012237"/>
                <a:gd name="connsiteX74" fmla="*/ 115231 w 230634"/>
                <a:gd name="connsiteY74" fmla="*/ 983257 h 1012237"/>
                <a:gd name="connsiteX75" fmla="*/ 115231 w 230634"/>
                <a:gd name="connsiteY75" fmla="*/ 983430 h 1012237"/>
                <a:gd name="connsiteX76" fmla="*/ 115231 w 230634"/>
                <a:gd name="connsiteY76" fmla="*/ 983430 h 1012237"/>
                <a:gd name="connsiteX77" fmla="*/ 114541 w 230634"/>
                <a:gd name="connsiteY77" fmla="*/ 984120 h 1012237"/>
                <a:gd name="connsiteX78" fmla="*/ 114196 w 230634"/>
                <a:gd name="connsiteY78" fmla="*/ 984982 h 1012237"/>
                <a:gd name="connsiteX79" fmla="*/ 99016 w 230634"/>
                <a:gd name="connsiteY79" fmla="*/ 1012238 h 1012237"/>
                <a:gd name="connsiteX80" fmla="*/ 125926 w 230634"/>
                <a:gd name="connsiteY80" fmla="*/ 996195 h 1012237"/>
                <a:gd name="connsiteX81" fmla="*/ 122821 w 230634"/>
                <a:gd name="connsiteY81" fmla="*/ 992572 h 1012237"/>
                <a:gd name="connsiteX82" fmla="*/ 125926 w 230634"/>
                <a:gd name="connsiteY82" fmla="*/ 996367 h 1012237"/>
                <a:gd name="connsiteX83" fmla="*/ 127306 w 230634"/>
                <a:gd name="connsiteY83" fmla="*/ 994470 h 1012237"/>
                <a:gd name="connsiteX84" fmla="*/ 145591 w 230634"/>
                <a:gd name="connsiteY84" fmla="*/ 897524 h 10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30634" h="1012237">
                  <a:moveTo>
                    <a:pt x="145591" y="897524"/>
                  </a:moveTo>
                  <a:cubicBezTo>
                    <a:pt x="146453" y="872856"/>
                    <a:pt x="135068" y="860436"/>
                    <a:pt x="124719" y="855089"/>
                  </a:cubicBezTo>
                  <a:cubicBezTo>
                    <a:pt x="114541" y="848879"/>
                    <a:pt x="106778" y="846291"/>
                    <a:pt x="99361" y="829041"/>
                  </a:cubicBezTo>
                  <a:cubicBezTo>
                    <a:pt x="89356" y="804546"/>
                    <a:pt x="87113" y="790401"/>
                    <a:pt x="87113" y="768838"/>
                  </a:cubicBezTo>
                  <a:cubicBezTo>
                    <a:pt x="87113" y="756418"/>
                    <a:pt x="87976" y="741583"/>
                    <a:pt x="88665" y="721745"/>
                  </a:cubicBezTo>
                  <a:cubicBezTo>
                    <a:pt x="90736" y="665510"/>
                    <a:pt x="83491" y="650675"/>
                    <a:pt x="119371" y="623937"/>
                  </a:cubicBezTo>
                  <a:cubicBezTo>
                    <a:pt x="130066" y="616175"/>
                    <a:pt x="136103" y="606169"/>
                    <a:pt x="135758" y="595992"/>
                  </a:cubicBezTo>
                  <a:cubicBezTo>
                    <a:pt x="135414" y="579777"/>
                    <a:pt x="124201" y="568909"/>
                    <a:pt x="115058" y="559939"/>
                  </a:cubicBezTo>
                  <a:cubicBezTo>
                    <a:pt x="110401" y="555454"/>
                    <a:pt x="105743" y="551832"/>
                    <a:pt x="102638" y="548899"/>
                  </a:cubicBezTo>
                  <a:cubicBezTo>
                    <a:pt x="101603" y="547864"/>
                    <a:pt x="100568" y="547002"/>
                    <a:pt x="99878" y="546311"/>
                  </a:cubicBezTo>
                  <a:cubicBezTo>
                    <a:pt x="99878" y="535789"/>
                    <a:pt x="99706" y="509914"/>
                    <a:pt x="95048" y="488179"/>
                  </a:cubicBezTo>
                  <a:cubicBezTo>
                    <a:pt x="91425" y="475413"/>
                    <a:pt x="80730" y="466444"/>
                    <a:pt x="71070" y="454886"/>
                  </a:cubicBezTo>
                  <a:cubicBezTo>
                    <a:pt x="61410" y="443846"/>
                    <a:pt x="53820" y="431943"/>
                    <a:pt x="53993" y="422456"/>
                  </a:cubicBezTo>
                  <a:cubicBezTo>
                    <a:pt x="53993" y="414866"/>
                    <a:pt x="57788" y="405895"/>
                    <a:pt x="74865" y="394338"/>
                  </a:cubicBezTo>
                  <a:cubicBezTo>
                    <a:pt x="97636" y="378813"/>
                    <a:pt x="107468" y="367428"/>
                    <a:pt x="107986" y="353628"/>
                  </a:cubicBezTo>
                  <a:cubicBezTo>
                    <a:pt x="107813" y="343105"/>
                    <a:pt x="101603" y="337068"/>
                    <a:pt x="97808" y="332582"/>
                  </a:cubicBezTo>
                  <a:cubicBezTo>
                    <a:pt x="95911" y="330167"/>
                    <a:pt x="94013" y="328270"/>
                    <a:pt x="93151" y="327063"/>
                  </a:cubicBezTo>
                  <a:cubicBezTo>
                    <a:pt x="92806" y="326372"/>
                    <a:pt x="92460" y="326200"/>
                    <a:pt x="92460" y="326200"/>
                  </a:cubicBezTo>
                  <a:cubicBezTo>
                    <a:pt x="99878" y="311882"/>
                    <a:pt x="114196" y="307570"/>
                    <a:pt x="122303" y="283592"/>
                  </a:cubicBezTo>
                  <a:cubicBezTo>
                    <a:pt x="122993" y="281177"/>
                    <a:pt x="123338" y="278935"/>
                    <a:pt x="123338" y="276692"/>
                  </a:cubicBezTo>
                  <a:cubicBezTo>
                    <a:pt x="123511" y="267032"/>
                    <a:pt x="115921" y="261167"/>
                    <a:pt x="109883" y="259442"/>
                  </a:cubicBezTo>
                  <a:cubicBezTo>
                    <a:pt x="103501" y="257372"/>
                    <a:pt x="96773" y="256854"/>
                    <a:pt x="90218" y="256854"/>
                  </a:cubicBezTo>
                  <a:cubicBezTo>
                    <a:pt x="81248" y="256854"/>
                    <a:pt x="72105" y="257717"/>
                    <a:pt x="68656" y="257717"/>
                  </a:cubicBezTo>
                  <a:cubicBezTo>
                    <a:pt x="61238" y="258407"/>
                    <a:pt x="19147" y="242537"/>
                    <a:pt x="16560" y="209762"/>
                  </a:cubicBezTo>
                  <a:cubicBezTo>
                    <a:pt x="16388" y="207864"/>
                    <a:pt x="16215" y="206139"/>
                    <a:pt x="16215" y="204414"/>
                  </a:cubicBezTo>
                  <a:cubicBezTo>
                    <a:pt x="15008" y="179746"/>
                    <a:pt x="43988" y="176296"/>
                    <a:pt x="67966" y="163014"/>
                  </a:cubicBezTo>
                  <a:cubicBezTo>
                    <a:pt x="79523" y="156631"/>
                    <a:pt x="86251" y="147661"/>
                    <a:pt x="87803" y="136794"/>
                  </a:cubicBezTo>
                  <a:cubicBezTo>
                    <a:pt x="89528" y="126098"/>
                    <a:pt x="88493" y="114541"/>
                    <a:pt x="90218" y="94358"/>
                  </a:cubicBezTo>
                  <a:cubicBezTo>
                    <a:pt x="90908" y="85906"/>
                    <a:pt x="92288" y="81076"/>
                    <a:pt x="93151" y="79696"/>
                  </a:cubicBezTo>
                  <a:cubicBezTo>
                    <a:pt x="93151" y="79696"/>
                    <a:pt x="93323" y="79696"/>
                    <a:pt x="93323" y="79523"/>
                  </a:cubicBezTo>
                  <a:cubicBezTo>
                    <a:pt x="95048" y="80213"/>
                    <a:pt x="99533" y="83318"/>
                    <a:pt x="107123" y="84181"/>
                  </a:cubicBezTo>
                  <a:cubicBezTo>
                    <a:pt x="109538" y="84353"/>
                    <a:pt x="113161" y="83318"/>
                    <a:pt x="115231" y="80903"/>
                  </a:cubicBezTo>
                  <a:cubicBezTo>
                    <a:pt x="120924" y="75211"/>
                    <a:pt x="139381" y="60721"/>
                    <a:pt x="160426" y="43125"/>
                  </a:cubicBezTo>
                  <a:cubicBezTo>
                    <a:pt x="174744" y="31050"/>
                    <a:pt x="214592" y="18458"/>
                    <a:pt x="230634" y="13628"/>
                  </a:cubicBezTo>
                  <a:cubicBezTo>
                    <a:pt x="229082" y="10868"/>
                    <a:pt x="227874" y="8108"/>
                    <a:pt x="227012" y="5693"/>
                  </a:cubicBezTo>
                  <a:cubicBezTo>
                    <a:pt x="227184" y="5347"/>
                    <a:pt x="223389" y="1725"/>
                    <a:pt x="215627" y="0"/>
                  </a:cubicBezTo>
                  <a:cubicBezTo>
                    <a:pt x="196479" y="6038"/>
                    <a:pt x="166119" y="16560"/>
                    <a:pt x="150076" y="29670"/>
                  </a:cubicBezTo>
                  <a:cubicBezTo>
                    <a:pt x="130584" y="45713"/>
                    <a:pt x="114023" y="58823"/>
                    <a:pt x="105915" y="66413"/>
                  </a:cubicBezTo>
                  <a:cubicBezTo>
                    <a:pt x="103328" y="65378"/>
                    <a:pt x="99016" y="62446"/>
                    <a:pt x="92460" y="62101"/>
                  </a:cubicBezTo>
                  <a:cubicBezTo>
                    <a:pt x="80213" y="62446"/>
                    <a:pt x="74521" y="74693"/>
                    <a:pt x="73658" y="92978"/>
                  </a:cubicBezTo>
                  <a:cubicBezTo>
                    <a:pt x="71933" y="114023"/>
                    <a:pt x="72796" y="126961"/>
                    <a:pt x="71588" y="133861"/>
                  </a:cubicBezTo>
                  <a:cubicBezTo>
                    <a:pt x="70035" y="140244"/>
                    <a:pt x="69691" y="141796"/>
                    <a:pt x="60031" y="148006"/>
                  </a:cubicBezTo>
                  <a:cubicBezTo>
                    <a:pt x="44160" y="158701"/>
                    <a:pt x="1380" y="162151"/>
                    <a:pt x="0" y="204587"/>
                  </a:cubicBezTo>
                  <a:cubicBezTo>
                    <a:pt x="0" y="207002"/>
                    <a:pt x="0" y="209417"/>
                    <a:pt x="345" y="212522"/>
                  </a:cubicBezTo>
                  <a:cubicBezTo>
                    <a:pt x="7417" y="258925"/>
                    <a:pt x="53475" y="274795"/>
                    <a:pt x="68828" y="275485"/>
                  </a:cubicBezTo>
                  <a:cubicBezTo>
                    <a:pt x="74175" y="275485"/>
                    <a:pt x="82283" y="274450"/>
                    <a:pt x="90390" y="274450"/>
                  </a:cubicBezTo>
                  <a:cubicBezTo>
                    <a:pt x="96083" y="274450"/>
                    <a:pt x="101776" y="275139"/>
                    <a:pt x="104881" y="276175"/>
                  </a:cubicBezTo>
                  <a:cubicBezTo>
                    <a:pt x="105915" y="276519"/>
                    <a:pt x="106606" y="277037"/>
                    <a:pt x="106778" y="277210"/>
                  </a:cubicBezTo>
                  <a:cubicBezTo>
                    <a:pt x="106778" y="277382"/>
                    <a:pt x="106606" y="278072"/>
                    <a:pt x="106433" y="278762"/>
                  </a:cubicBezTo>
                  <a:cubicBezTo>
                    <a:pt x="101776" y="295322"/>
                    <a:pt x="90218" y="297565"/>
                    <a:pt x="77970" y="317920"/>
                  </a:cubicBezTo>
                  <a:cubicBezTo>
                    <a:pt x="76418" y="320335"/>
                    <a:pt x="75556" y="323440"/>
                    <a:pt x="75556" y="326372"/>
                  </a:cubicBezTo>
                  <a:cubicBezTo>
                    <a:pt x="76245" y="336550"/>
                    <a:pt x="82456" y="340863"/>
                    <a:pt x="85733" y="345003"/>
                  </a:cubicBezTo>
                  <a:cubicBezTo>
                    <a:pt x="89528" y="349315"/>
                    <a:pt x="91425" y="352248"/>
                    <a:pt x="91253" y="353973"/>
                  </a:cubicBezTo>
                  <a:cubicBezTo>
                    <a:pt x="91943" y="356043"/>
                    <a:pt x="87803" y="365530"/>
                    <a:pt x="65896" y="380020"/>
                  </a:cubicBezTo>
                  <a:cubicBezTo>
                    <a:pt x="46403" y="392613"/>
                    <a:pt x="37260" y="407448"/>
                    <a:pt x="37260" y="422801"/>
                  </a:cubicBezTo>
                  <a:cubicBezTo>
                    <a:pt x="37432" y="440913"/>
                    <a:pt x="48645" y="455058"/>
                    <a:pt x="58650" y="466961"/>
                  </a:cubicBezTo>
                  <a:cubicBezTo>
                    <a:pt x="68828" y="478346"/>
                    <a:pt x="78661" y="489559"/>
                    <a:pt x="78488" y="492491"/>
                  </a:cubicBezTo>
                  <a:cubicBezTo>
                    <a:pt x="82111" y="508534"/>
                    <a:pt x="82973" y="528544"/>
                    <a:pt x="83146" y="540619"/>
                  </a:cubicBezTo>
                  <a:cubicBezTo>
                    <a:pt x="86078" y="540446"/>
                    <a:pt x="88321" y="540446"/>
                    <a:pt x="89701" y="540446"/>
                  </a:cubicBezTo>
                  <a:cubicBezTo>
                    <a:pt x="88321" y="540446"/>
                    <a:pt x="86595" y="540446"/>
                    <a:pt x="84526" y="540619"/>
                  </a:cubicBezTo>
                  <a:cubicBezTo>
                    <a:pt x="84526" y="544069"/>
                    <a:pt x="84526" y="547002"/>
                    <a:pt x="84526" y="548726"/>
                  </a:cubicBezTo>
                  <a:cubicBezTo>
                    <a:pt x="85216" y="553212"/>
                    <a:pt x="86423" y="555454"/>
                    <a:pt x="87976" y="557007"/>
                  </a:cubicBezTo>
                  <a:cubicBezTo>
                    <a:pt x="89528" y="557007"/>
                    <a:pt x="90736" y="557007"/>
                    <a:pt x="91598" y="557007"/>
                  </a:cubicBezTo>
                  <a:lnTo>
                    <a:pt x="91598" y="558042"/>
                  </a:lnTo>
                  <a:cubicBezTo>
                    <a:pt x="91598" y="558042"/>
                    <a:pt x="89701" y="558042"/>
                    <a:pt x="86768" y="558042"/>
                  </a:cubicBezTo>
                  <a:cubicBezTo>
                    <a:pt x="88321" y="559767"/>
                    <a:pt x="90046" y="560802"/>
                    <a:pt x="91598" y="562699"/>
                  </a:cubicBezTo>
                  <a:cubicBezTo>
                    <a:pt x="102638" y="571669"/>
                    <a:pt x="120233" y="587884"/>
                    <a:pt x="118853" y="596682"/>
                  </a:cubicBezTo>
                  <a:cubicBezTo>
                    <a:pt x="118853" y="600132"/>
                    <a:pt x="117646" y="604099"/>
                    <a:pt x="109538" y="610310"/>
                  </a:cubicBezTo>
                  <a:cubicBezTo>
                    <a:pt x="67275" y="640670"/>
                    <a:pt x="72968" y="670167"/>
                    <a:pt x="71761" y="721745"/>
                  </a:cubicBezTo>
                  <a:cubicBezTo>
                    <a:pt x="71070" y="741410"/>
                    <a:pt x="70208" y="756073"/>
                    <a:pt x="70208" y="769356"/>
                  </a:cubicBezTo>
                  <a:cubicBezTo>
                    <a:pt x="70208" y="792126"/>
                    <a:pt x="72968" y="810583"/>
                    <a:pt x="83663" y="836286"/>
                  </a:cubicBezTo>
                  <a:cubicBezTo>
                    <a:pt x="92633" y="858711"/>
                    <a:pt x="107641" y="865784"/>
                    <a:pt x="116094" y="870614"/>
                  </a:cubicBezTo>
                  <a:cubicBezTo>
                    <a:pt x="124373" y="876306"/>
                    <a:pt x="127823" y="876824"/>
                    <a:pt x="128686" y="898041"/>
                  </a:cubicBezTo>
                  <a:cubicBezTo>
                    <a:pt x="128686" y="943064"/>
                    <a:pt x="125236" y="967905"/>
                    <a:pt x="114368" y="984120"/>
                  </a:cubicBezTo>
                  <a:cubicBezTo>
                    <a:pt x="114713" y="983775"/>
                    <a:pt x="115231" y="983257"/>
                    <a:pt x="115231" y="983257"/>
                  </a:cubicBezTo>
                  <a:lnTo>
                    <a:pt x="115231" y="983430"/>
                  </a:lnTo>
                  <a:lnTo>
                    <a:pt x="115231" y="983430"/>
                  </a:lnTo>
                  <a:cubicBezTo>
                    <a:pt x="115058" y="983602"/>
                    <a:pt x="114886" y="983775"/>
                    <a:pt x="114541" y="984120"/>
                  </a:cubicBezTo>
                  <a:cubicBezTo>
                    <a:pt x="114368" y="984292"/>
                    <a:pt x="114368" y="984465"/>
                    <a:pt x="114196" y="984982"/>
                  </a:cubicBezTo>
                  <a:cubicBezTo>
                    <a:pt x="110056" y="991537"/>
                    <a:pt x="104018" y="1001370"/>
                    <a:pt x="99016" y="1012238"/>
                  </a:cubicBezTo>
                  <a:cubicBezTo>
                    <a:pt x="114368" y="1007407"/>
                    <a:pt x="125581" y="996540"/>
                    <a:pt x="125926" y="996195"/>
                  </a:cubicBezTo>
                  <a:lnTo>
                    <a:pt x="122821" y="992572"/>
                  </a:lnTo>
                  <a:lnTo>
                    <a:pt x="125926" y="996367"/>
                  </a:lnTo>
                  <a:cubicBezTo>
                    <a:pt x="126271" y="995678"/>
                    <a:pt x="126789" y="994987"/>
                    <a:pt x="127306" y="994470"/>
                  </a:cubicBezTo>
                  <a:cubicBezTo>
                    <a:pt x="142831" y="972562"/>
                    <a:pt x="145591" y="943754"/>
                    <a:pt x="145591" y="897524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0" name="Gráfico 1344">
              <a:extLst>
                <a:ext uri="{FF2B5EF4-FFF2-40B4-BE49-F238E27FC236}">
                  <a16:creationId xmlns:a16="http://schemas.microsoft.com/office/drawing/2014/main" id="{D8F0498D-3BC9-4484-89E1-D0C625781861}"/>
                </a:ext>
              </a:extLst>
            </p:cNvPr>
            <p:cNvSpPr/>
            <p:nvPr/>
          </p:nvSpPr>
          <p:spPr>
            <a:xfrm>
              <a:off x="8755710" y="3905053"/>
              <a:ext cx="172" cy="17250"/>
            </a:xfrm>
            <a:custGeom>
              <a:avLst/>
              <a:gdLst>
                <a:gd name="connsiteX0" fmla="*/ 173 w 172"/>
                <a:gd name="connsiteY0" fmla="*/ 0 h 17250"/>
                <a:gd name="connsiteX1" fmla="*/ 0 w 172"/>
                <a:gd name="connsiteY1" fmla="*/ 0 h 17250"/>
                <a:gd name="connsiteX2" fmla="*/ 173 w 172"/>
                <a:gd name="connsiteY2" fmla="*/ 0 h 1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" h="17250">
                  <a:moveTo>
                    <a:pt x="173" y="0"/>
                  </a:moveTo>
                  <a:lnTo>
                    <a:pt x="0" y="0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1" name="Gráfico 1344">
              <a:extLst>
                <a:ext uri="{FF2B5EF4-FFF2-40B4-BE49-F238E27FC236}">
                  <a16:creationId xmlns:a16="http://schemas.microsoft.com/office/drawing/2014/main" id="{33677DF3-3B6B-4656-AD75-267B9B831606}"/>
                </a:ext>
              </a:extLst>
            </p:cNvPr>
            <p:cNvSpPr/>
            <p:nvPr/>
          </p:nvSpPr>
          <p:spPr>
            <a:xfrm>
              <a:off x="7865603" y="2755505"/>
              <a:ext cx="10349" cy="16559"/>
            </a:xfrm>
            <a:custGeom>
              <a:avLst/>
              <a:gdLst>
                <a:gd name="connsiteX0" fmla="*/ 10178 w 10349"/>
                <a:gd name="connsiteY0" fmla="*/ 0 h 16559"/>
                <a:gd name="connsiteX1" fmla="*/ 0 w 10349"/>
                <a:gd name="connsiteY1" fmla="*/ 16560 h 16559"/>
                <a:gd name="connsiteX2" fmla="*/ 10350 w 10349"/>
                <a:gd name="connsiteY2" fmla="*/ 16388 h 16559"/>
                <a:gd name="connsiteX3" fmla="*/ 10178 w 10349"/>
                <a:gd name="connsiteY3" fmla="*/ 0 h 1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49" h="16559">
                  <a:moveTo>
                    <a:pt x="10178" y="0"/>
                  </a:moveTo>
                  <a:cubicBezTo>
                    <a:pt x="8108" y="3450"/>
                    <a:pt x="4830" y="8625"/>
                    <a:pt x="0" y="16560"/>
                  </a:cubicBezTo>
                  <a:cubicBezTo>
                    <a:pt x="6382" y="16388"/>
                    <a:pt x="10350" y="16388"/>
                    <a:pt x="10350" y="16388"/>
                  </a:cubicBezTo>
                  <a:lnTo>
                    <a:pt x="10178" y="0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2" name="Gráfico 1344">
              <a:extLst>
                <a:ext uri="{FF2B5EF4-FFF2-40B4-BE49-F238E27FC236}">
                  <a16:creationId xmlns:a16="http://schemas.microsoft.com/office/drawing/2014/main" id="{45A97F33-D46D-4127-B7FD-4392FDEAC949}"/>
                </a:ext>
              </a:extLst>
            </p:cNvPr>
            <p:cNvSpPr/>
            <p:nvPr/>
          </p:nvSpPr>
          <p:spPr>
            <a:xfrm>
              <a:off x="8256836" y="4012004"/>
              <a:ext cx="209071" cy="146970"/>
            </a:xfrm>
            <a:custGeom>
              <a:avLst/>
              <a:gdLst>
                <a:gd name="connsiteX0" fmla="*/ 11903 w 209071"/>
                <a:gd name="connsiteY0" fmla="*/ 13628 h 146970"/>
                <a:gd name="connsiteX1" fmla="*/ 0 w 209071"/>
                <a:gd name="connsiteY1" fmla="*/ 146971 h 146970"/>
                <a:gd name="connsiteX2" fmla="*/ 205794 w 209071"/>
                <a:gd name="connsiteY2" fmla="*/ 135241 h 146970"/>
                <a:gd name="connsiteX3" fmla="*/ 209071 w 209071"/>
                <a:gd name="connsiteY3" fmla="*/ 0 h 146970"/>
                <a:gd name="connsiteX4" fmla="*/ 12765 w 209071"/>
                <a:gd name="connsiteY4" fmla="*/ 5865 h 146970"/>
                <a:gd name="connsiteX5" fmla="*/ 11903 w 209071"/>
                <a:gd name="connsiteY5" fmla="*/ 13628 h 146970"/>
                <a:gd name="connsiteX6" fmla="*/ 27945 w 209071"/>
                <a:gd name="connsiteY6" fmla="*/ 22598 h 146970"/>
                <a:gd name="connsiteX7" fmla="*/ 191994 w 209071"/>
                <a:gd name="connsiteY7" fmla="*/ 17768 h 146970"/>
                <a:gd name="connsiteX8" fmla="*/ 189579 w 209071"/>
                <a:gd name="connsiteY8" fmla="*/ 118853 h 146970"/>
                <a:gd name="connsiteX9" fmla="*/ 18285 w 209071"/>
                <a:gd name="connsiteY9" fmla="*/ 128513 h 146970"/>
                <a:gd name="connsiteX10" fmla="*/ 27945 w 209071"/>
                <a:gd name="connsiteY10" fmla="*/ 22598 h 14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071" h="146970">
                  <a:moveTo>
                    <a:pt x="11903" y="13628"/>
                  </a:moveTo>
                  <a:lnTo>
                    <a:pt x="0" y="146971"/>
                  </a:lnTo>
                  <a:lnTo>
                    <a:pt x="205794" y="135241"/>
                  </a:lnTo>
                  <a:lnTo>
                    <a:pt x="209071" y="0"/>
                  </a:lnTo>
                  <a:lnTo>
                    <a:pt x="12765" y="5865"/>
                  </a:lnTo>
                  <a:lnTo>
                    <a:pt x="11903" y="13628"/>
                  </a:lnTo>
                  <a:close/>
                  <a:moveTo>
                    <a:pt x="27945" y="22598"/>
                  </a:moveTo>
                  <a:lnTo>
                    <a:pt x="191994" y="17768"/>
                  </a:lnTo>
                  <a:lnTo>
                    <a:pt x="189579" y="118853"/>
                  </a:lnTo>
                  <a:lnTo>
                    <a:pt x="18285" y="128513"/>
                  </a:lnTo>
                  <a:lnTo>
                    <a:pt x="27945" y="22598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3" name="Gráfico 1344">
              <a:extLst>
                <a:ext uri="{FF2B5EF4-FFF2-40B4-BE49-F238E27FC236}">
                  <a16:creationId xmlns:a16="http://schemas.microsoft.com/office/drawing/2014/main" id="{5CD0C0FA-8C2C-4A2E-B803-0C7B759481D4}"/>
                </a:ext>
              </a:extLst>
            </p:cNvPr>
            <p:cNvSpPr/>
            <p:nvPr/>
          </p:nvSpPr>
          <p:spPr>
            <a:xfrm>
              <a:off x="7136958" y="1776561"/>
              <a:ext cx="97290" cy="128168"/>
            </a:xfrm>
            <a:custGeom>
              <a:avLst/>
              <a:gdLst>
                <a:gd name="connsiteX0" fmla="*/ 93496 w 97290"/>
                <a:gd name="connsiteY0" fmla="*/ 19492 h 128168"/>
                <a:gd name="connsiteX1" fmla="*/ 83146 w 97290"/>
                <a:gd name="connsiteY1" fmla="*/ 7072 h 128168"/>
                <a:gd name="connsiteX2" fmla="*/ 67448 w 97290"/>
                <a:gd name="connsiteY2" fmla="*/ 1207 h 128168"/>
                <a:gd name="connsiteX3" fmla="*/ 48128 w 97290"/>
                <a:gd name="connsiteY3" fmla="*/ 0 h 128168"/>
                <a:gd name="connsiteX4" fmla="*/ 0 w 97290"/>
                <a:gd name="connsiteY4" fmla="*/ 0 h 128168"/>
                <a:gd name="connsiteX5" fmla="*/ 0 w 97290"/>
                <a:gd name="connsiteY5" fmla="*/ 128168 h 128168"/>
                <a:gd name="connsiteX6" fmla="*/ 16733 w 97290"/>
                <a:gd name="connsiteY6" fmla="*/ 128168 h 128168"/>
                <a:gd name="connsiteX7" fmla="*/ 16733 w 97290"/>
                <a:gd name="connsiteY7" fmla="*/ 75900 h 128168"/>
                <a:gd name="connsiteX8" fmla="*/ 49508 w 97290"/>
                <a:gd name="connsiteY8" fmla="*/ 75900 h 128168"/>
                <a:gd name="connsiteX9" fmla="*/ 86941 w 97290"/>
                <a:gd name="connsiteY9" fmla="*/ 64688 h 128168"/>
                <a:gd name="connsiteX10" fmla="*/ 97291 w 97290"/>
                <a:gd name="connsiteY10" fmla="*/ 36915 h 128168"/>
                <a:gd name="connsiteX11" fmla="*/ 93496 w 97290"/>
                <a:gd name="connsiteY11" fmla="*/ 19492 h 128168"/>
                <a:gd name="connsiteX12" fmla="*/ 73141 w 97290"/>
                <a:gd name="connsiteY12" fmla="*/ 54855 h 128168"/>
                <a:gd name="connsiteX13" fmla="*/ 49853 w 97290"/>
                <a:gd name="connsiteY13" fmla="*/ 61065 h 128168"/>
                <a:gd name="connsiteX14" fmla="*/ 17078 w 97290"/>
                <a:gd name="connsiteY14" fmla="*/ 61065 h 128168"/>
                <a:gd name="connsiteX15" fmla="*/ 17078 w 97290"/>
                <a:gd name="connsiteY15" fmla="*/ 15180 h 128168"/>
                <a:gd name="connsiteX16" fmla="*/ 49680 w 97290"/>
                <a:gd name="connsiteY16" fmla="*/ 15180 h 128168"/>
                <a:gd name="connsiteX17" fmla="*/ 65378 w 97290"/>
                <a:gd name="connsiteY17" fmla="*/ 16215 h 128168"/>
                <a:gd name="connsiteX18" fmla="*/ 76073 w 97290"/>
                <a:gd name="connsiteY18" fmla="*/ 23805 h 128168"/>
                <a:gd name="connsiteX19" fmla="*/ 80041 w 97290"/>
                <a:gd name="connsiteY19" fmla="*/ 37605 h 128168"/>
                <a:gd name="connsiteX20" fmla="*/ 73141 w 97290"/>
                <a:gd name="connsiteY20" fmla="*/ 54855 h 1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7290" h="128168">
                  <a:moveTo>
                    <a:pt x="93496" y="19492"/>
                  </a:moveTo>
                  <a:cubicBezTo>
                    <a:pt x="90736" y="13973"/>
                    <a:pt x="87458" y="10005"/>
                    <a:pt x="83146" y="7072"/>
                  </a:cubicBezTo>
                  <a:cubicBezTo>
                    <a:pt x="79006" y="4140"/>
                    <a:pt x="73658" y="2242"/>
                    <a:pt x="67448" y="1207"/>
                  </a:cubicBezTo>
                  <a:cubicBezTo>
                    <a:pt x="62963" y="345"/>
                    <a:pt x="56580" y="0"/>
                    <a:pt x="48128" y="0"/>
                  </a:cubicBezTo>
                  <a:lnTo>
                    <a:pt x="0" y="0"/>
                  </a:lnTo>
                  <a:lnTo>
                    <a:pt x="0" y="128168"/>
                  </a:lnTo>
                  <a:lnTo>
                    <a:pt x="16733" y="128168"/>
                  </a:lnTo>
                  <a:lnTo>
                    <a:pt x="16733" y="75900"/>
                  </a:lnTo>
                  <a:lnTo>
                    <a:pt x="49508" y="75900"/>
                  </a:lnTo>
                  <a:cubicBezTo>
                    <a:pt x="67621" y="75900"/>
                    <a:pt x="80041" y="72278"/>
                    <a:pt x="86941" y="64688"/>
                  </a:cubicBezTo>
                  <a:cubicBezTo>
                    <a:pt x="93841" y="57098"/>
                    <a:pt x="97291" y="47955"/>
                    <a:pt x="97291" y="36915"/>
                  </a:cubicBezTo>
                  <a:cubicBezTo>
                    <a:pt x="97291" y="30705"/>
                    <a:pt x="96083" y="24840"/>
                    <a:pt x="93496" y="19492"/>
                  </a:cubicBezTo>
                  <a:close/>
                  <a:moveTo>
                    <a:pt x="73141" y="54855"/>
                  </a:moveTo>
                  <a:cubicBezTo>
                    <a:pt x="68483" y="58823"/>
                    <a:pt x="60721" y="61065"/>
                    <a:pt x="49853" y="61065"/>
                  </a:cubicBezTo>
                  <a:lnTo>
                    <a:pt x="17078" y="61065"/>
                  </a:lnTo>
                  <a:lnTo>
                    <a:pt x="17078" y="15180"/>
                  </a:lnTo>
                  <a:lnTo>
                    <a:pt x="49680" y="15180"/>
                  </a:lnTo>
                  <a:cubicBezTo>
                    <a:pt x="57271" y="15180"/>
                    <a:pt x="62445" y="15353"/>
                    <a:pt x="65378" y="16215"/>
                  </a:cubicBezTo>
                  <a:cubicBezTo>
                    <a:pt x="69863" y="17423"/>
                    <a:pt x="73313" y="20010"/>
                    <a:pt x="76073" y="23805"/>
                  </a:cubicBezTo>
                  <a:cubicBezTo>
                    <a:pt x="78833" y="27600"/>
                    <a:pt x="80041" y="32085"/>
                    <a:pt x="80041" y="37605"/>
                  </a:cubicBezTo>
                  <a:cubicBezTo>
                    <a:pt x="80041" y="45023"/>
                    <a:pt x="77798" y="50715"/>
                    <a:pt x="73141" y="54855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4" name="Gráfico 1344">
              <a:extLst>
                <a:ext uri="{FF2B5EF4-FFF2-40B4-BE49-F238E27FC236}">
                  <a16:creationId xmlns:a16="http://schemas.microsoft.com/office/drawing/2014/main" id="{84FEE913-A175-4ED2-AB0B-45569F0C9141}"/>
                </a:ext>
              </a:extLst>
            </p:cNvPr>
            <p:cNvSpPr/>
            <p:nvPr/>
          </p:nvSpPr>
          <p:spPr>
            <a:xfrm>
              <a:off x="7230108" y="1776388"/>
              <a:ext cx="120061" cy="128340"/>
            </a:xfrm>
            <a:custGeom>
              <a:avLst/>
              <a:gdLst>
                <a:gd name="connsiteX0" fmla="*/ 49336 w 120061"/>
                <a:gd name="connsiteY0" fmla="*/ 0 h 128340"/>
                <a:gd name="connsiteX1" fmla="*/ 0 w 120061"/>
                <a:gd name="connsiteY1" fmla="*/ 128341 h 128340"/>
                <a:gd name="connsiteX2" fmla="*/ 17940 w 120061"/>
                <a:gd name="connsiteY2" fmla="*/ 128341 h 128340"/>
                <a:gd name="connsiteX3" fmla="*/ 32086 w 120061"/>
                <a:gd name="connsiteY3" fmla="*/ 89356 h 128340"/>
                <a:gd name="connsiteX4" fmla="*/ 85733 w 120061"/>
                <a:gd name="connsiteY4" fmla="*/ 89356 h 128340"/>
                <a:gd name="connsiteX5" fmla="*/ 100741 w 120061"/>
                <a:gd name="connsiteY5" fmla="*/ 128341 h 128340"/>
                <a:gd name="connsiteX6" fmla="*/ 120061 w 120061"/>
                <a:gd name="connsiteY6" fmla="*/ 128341 h 128340"/>
                <a:gd name="connsiteX7" fmla="*/ 67621 w 120061"/>
                <a:gd name="connsiteY7" fmla="*/ 0 h 128340"/>
                <a:gd name="connsiteX8" fmla="*/ 49336 w 120061"/>
                <a:gd name="connsiteY8" fmla="*/ 0 h 128340"/>
                <a:gd name="connsiteX9" fmla="*/ 36916 w 120061"/>
                <a:gd name="connsiteY9" fmla="*/ 75728 h 128340"/>
                <a:gd name="connsiteX10" fmla="*/ 51061 w 120061"/>
                <a:gd name="connsiteY10" fmla="*/ 38123 h 128340"/>
                <a:gd name="connsiteX11" fmla="*/ 57961 w 120061"/>
                <a:gd name="connsiteY11" fmla="*/ 13628 h 128340"/>
                <a:gd name="connsiteX12" fmla="*/ 67103 w 120061"/>
                <a:gd name="connsiteY12" fmla="*/ 40193 h 128340"/>
                <a:gd name="connsiteX13" fmla="*/ 80386 w 120061"/>
                <a:gd name="connsiteY13" fmla="*/ 75728 h 128340"/>
                <a:gd name="connsiteX14" fmla="*/ 36916 w 120061"/>
                <a:gd name="connsiteY14" fmla="*/ 75728 h 12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061" h="128340">
                  <a:moveTo>
                    <a:pt x="49336" y="0"/>
                  </a:moveTo>
                  <a:lnTo>
                    <a:pt x="0" y="128341"/>
                  </a:lnTo>
                  <a:lnTo>
                    <a:pt x="17940" y="128341"/>
                  </a:lnTo>
                  <a:lnTo>
                    <a:pt x="32086" y="89356"/>
                  </a:lnTo>
                  <a:lnTo>
                    <a:pt x="85733" y="89356"/>
                  </a:lnTo>
                  <a:lnTo>
                    <a:pt x="100741" y="128341"/>
                  </a:lnTo>
                  <a:lnTo>
                    <a:pt x="120061" y="128341"/>
                  </a:lnTo>
                  <a:lnTo>
                    <a:pt x="67621" y="0"/>
                  </a:lnTo>
                  <a:lnTo>
                    <a:pt x="49336" y="0"/>
                  </a:lnTo>
                  <a:close/>
                  <a:moveTo>
                    <a:pt x="36916" y="75728"/>
                  </a:moveTo>
                  <a:lnTo>
                    <a:pt x="51061" y="38123"/>
                  </a:lnTo>
                  <a:cubicBezTo>
                    <a:pt x="53993" y="30015"/>
                    <a:pt x="56408" y="21908"/>
                    <a:pt x="57961" y="13628"/>
                  </a:cubicBezTo>
                  <a:cubicBezTo>
                    <a:pt x="59858" y="20528"/>
                    <a:pt x="62963" y="29498"/>
                    <a:pt x="67103" y="40193"/>
                  </a:cubicBezTo>
                  <a:lnTo>
                    <a:pt x="80386" y="75728"/>
                  </a:lnTo>
                  <a:lnTo>
                    <a:pt x="36916" y="75728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5" name="Gráfico 1344">
              <a:extLst>
                <a:ext uri="{FF2B5EF4-FFF2-40B4-BE49-F238E27FC236}">
                  <a16:creationId xmlns:a16="http://schemas.microsoft.com/office/drawing/2014/main" id="{EA807B60-AC14-4055-8A88-CB5F310C3156}"/>
                </a:ext>
              </a:extLst>
            </p:cNvPr>
            <p:cNvSpPr/>
            <p:nvPr/>
          </p:nvSpPr>
          <p:spPr>
            <a:xfrm>
              <a:off x="8763990" y="1652187"/>
              <a:ext cx="124373" cy="128340"/>
            </a:xfrm>
            <a:custGeom>
              <a:avLst/>
              <a:gdLst>
                <a:gd name="connsiteX0" fmla="*/ 0 w 124373"/>
                <a:gd name="connsiteY0" fmla="*/ 0 h 128340"/>
                <a:gd name="connsiteX1" fmla="*/ 0 w 124373"/>
                <a:gd name="connsiteY1" fmla="*/ 128341 h 128340"/>
                <a:gd name="connsiteX2" fmla="*/ 16388 w 124373"/>
                <a:gd name="connsiteY2" fmla="*/ 128341 h 128340"/>
                <a:gd name="connsiteX3" fmla="*/ 16388 w 124373"/>
                <a:gd name="connsiteY3" fmla="*/ 18975 h 128340"/>
                <a:gd name="connsiteX4" fmla="*/ 54166 w 124373"/>
                <a:gd name="connsiteY4" fmla="*/ 128341 h 128340"/>
                <a:gd name="connsiteX5" fmla="*/ 69691 w 124373"/>
                <a:gd name="connsiteY5" fmla="*/ 128341 h 128340"/>
                <a:gd name="connsiteX6" fmla="*/ 107641 w 124373"/>
                <a:gd name="connsiteY6" fmla="*/ 20873 h 128340"/>
                <a:gd name="connsiteX7" fmla="*/ 107641 w 124373"/>
                <a:gd name="connsiteY7" fmla="*/ 128341 h 128340"/>
                <a:gd name="connsiteX8" fmla="*/ 124373 w 124373"/>
                <a:gd name="connsiteY8" fmla="*/ 128341 h 128340"/>
                <a:gd name="connsiteX9" fmla="*/ 124373 w 124373"/>
                <a:gd name="connsiteY9" fmla="*/ 0 h 128340"/>
                <a:gd name="connsiteX10" fmla="*/ 101258 w 124373"/>
                <a:gd name="connsiteY10" fmla="*/ 0 h 128340"/>
                <a:gd name="connsiteX11" fmla="*/ 70208 w 124373"/>
                <a:gd name="connsiteY11" fmla="*/ 89356 h 128340"/>
                <a:gd name="connsiteX12" fmla="*/ 63308 w 124373"/>
                <a:gd name="connsiteY12" fmla="*/ 109883 h 128340"/>
                <a:gd name="connsiteX13" fmla="*/ 57098 w 124373"/>
                <a:gd name="connsiteY13" fmla="*/ 90908 h 128340"/>
                <a:gd name="connsiteX14" fmla="*/ 26220 w 124373"/>
                <a:gd name="connsiteY14" fmla="*/ 0 h 128340"/>
                <a:gd name="connsiteX15" fmla="*/ 0 w 124373"/>
                <a:gd name="connsiteY15" fmla="*/ 0 h 12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373" h="128340">
                  <a:moveTo>
                    <a:pt x="0" y="0"/>
                  </a:moveTo>
                  <a:lnTo>
                    <a:pt x="0" y="128341"/>
                  </a:lnTo>
                  <a:lnTo>
                    <a:pt x="16388" y="128341"/>
                  </a:lnTo>
                  <a:lnTo>
                    <a:pt x="16388" y="18975"/>
                  </a:lnTo>
                  <a:lnTo>
                    <a:pt x="54166" y="128341"/>
                  </a:lnTo>
                  <a:lnTo>
                    <a:pt x="69691" y="128341"/>
                  </a:lnTo>
                  <a:lnTo>
                    <a:pt x="107641" y="20873"/>
                  </a:lnTo>
                  <a:lnTo>
                    <a:pt x="107641" y="128341"/>
                  </a:lnTo>
                  <a:lnTo>
                    <a:pt x="124373" y="128341"/>
                  </a:lnTo>
                  <a:lnTo>
                    <a:pt x="124373" y="0"/>
                  </a:lnTo>
                  <a:lnTo>
                    <a:pt x="101258" y="0"/>
                  </a:lnTo>
                  <a:lnTo>
                    <a:pt x="70208" y="89356"/>
                  </a:lnTo>
                  <a:cubicBezTo>
                    <a:pt x="66931" y="98498"/>
                    <a:pt x="64861" y="105226"/>
                    <a:pt x="63308" y="109883"/>
                  </a:cubicBezTo>
                  <a:cubicBezTo>
                    <a:pt x="62101" y="105571"/>
                    <a:pt x="59858" y="99361"/>
                    <a:pt x="57098" y="90908"/>
                  </a:cubicBezTo>
                  <a:lnTo>
                    <a:pt x="262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6" name="Gráfico 1344">
              <a:extLst>
                <a:ext uri="{FF2B5EF4-FFF2-40B4-BE49-F238E27FC236}">
                  <a16:creationId xmlns:a16="http://schemas.microsoft.com/office/drawing/2014/main" id="{A93E2672-AE44-428E-9F87-0A71AEF40693}"/>
                </a:ext>
              </a:extLst>
            </p:cNvPr>
            <p:cNvSpPr/>
            <p:nvPr/>
          </p:nvSpPr>
          <p:spPr>
            <a:xfrm>
              <a:off x="8900611" y="1652187"/>
              <a:ext cx="122130" cy="128340"/>
            </a:xfrm>
            <a:custGeom>
              <a:avLst/>
              <a:gdLst>
                <a:gd name="connsiteX0" fmla="*/ 32602 w 122130"/>
                <a:gd name="connsiteY0" fmla="*/ 89356 h 128340"/>
                <a:gd name="connsiteX1" fmla="*/ 87113 w 122130"/>
                <a:gd name="connsiteY1" fmla="*/ 89356 h 128340"/>
                <a:gd name="connsiteX2" fmla="*/ 102293 w 122130"/>
                <a:gd name="connsiteY2" fmla="*/ 128341 h 128340"/>
                <a:gd name="connsiteX3" fmla="*/ 122131 w 122130"/>
                <a:gd name="connsiteY3" fmla="*/ 128341 h 128340"/>
                <a:gd name="connsiteX4" fmla="*/ 68655 w 122130"/>
                <a:gd name="connsiteY4" fmla="*/ 0 h 128340"/>
                <a:gd name="connsiteX5" fmla="*/ 50025 w 122130"/>
                <a:gd name="connsiteY5" fmla="*/ 0 h 128340"/>
                <a:gd name="connsiteX6" fmla="*/ 0 w 122130"/>
                <a:gd name="connsiteY6" fmla="*/ 128341 h 128340"/>
                <a:gd name="connsiteX7" fmla="*/ 18285 w 122130"/>
                <a:gd name="connsiteY7" fmla="*/ 128341 h 128340"/>
                <a:gd name="connsiteX8" fmla="*/ 32602 w 122130"/>
                <a:gd name="connsiteY8" fmla="*/ 89356 h 128340"/>
                <a:gd name="connsiteX9" fmla="*/ 51923 w 122130"/>
                <a:gd name="connsiteY9" fmla="*/ 37778 h 128340"/>
                <a:gd name="connsiteX10" fmla="*/ 58995 w 122130"/>
                <a:gd name="connsiteY10" fmla="*/ 13283 h 128340"/>
                <a:gd name="connsiteX11" fmla="*/ 68310 w 122130"/>
                <a:gd name="connsiteY11" fmla="*/ 39848 h 128340"/>
                <a:gd name="connsiteX12" fmla="*/ 81765 w 122130"/>
                <a:gd name="connsiteY12" fmla="*/ 75383 h 128340"/>
                <a:gd name="connsiteX13" fmla="*/ 37605 w 122130"/>
                <a:gd name="connsiteY13" fmla="*/ 75383 h 128340"/>
                <a:gd name="connsiteX14" fmla="*/ 51923 w 122130"/>
                <a:gd name="connsiteY14" fmla="*/ 37778 h 12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130" h="128340">
                  <a:moveTo>
                    <a:pt x="32602" y="89356"/>
                  </a:moveTo>
                  <a:lnTo>
                    <a:pt x="87113" y="89356"/>
                  </a:lnTo>
                  <a:lnTo>
                    <a:pt x="102293" y="128341"/>
                  </a:lnTo>
                  <a:lnTo>
                    <a:pt x="122131" y="128341"/>
                  </a:lnTo>
                  <a:lnTo>
                    <a:pt x="68655" y="0"/>
                  </a:lnTo>
                  <a:lnTo>
                    <a:pt x="50025" y="0"/>
                  </a:lnTo>
                  <a:lnTo>
                    <a:pt x="0" y="128341"/>
                  </a:lnTo>
                  <a:lnTo>
                    <a:pt x="18285" y="128341"/>
                  </a:lnTo>
                  <a:lnTo>
                    <a:pt x="32602" y="89356"/>
                  </a:lnTo>
                  <a:close/>
                  <a:moveTo>
                    <a:pt x="51923" y="37778"/>
                  </a:moveTo>
                  <a:cubicBezTo>
                    <a:pt x="55200" y="29670"/>
                    <a:pt x="57270" y="21563"/>
                    <a:pt x="58995" y="13283"/>
                  </a:cubicBezTo>
                  <a:cubicBezTo>
                    <a:pt x="60893" y="20183"/>
                    <a:pt x="64170" y="29153"/>
                    <a:pt x="68310" y="39848"/>
                  </a:cubicBezTo>
                  <a:lnTo>
                    <a:pt x="81765" y="75383"/>
                  </a:lnTo>
                  <a:lnTo>
                    <a:pt x="37605" y="75383"/>
                  </a:lnTo>
                  <a:lnTo>
                    <a:pt x="51923" y="37778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7" name="Gráfico 1344">
              <a:extLst>
                <a:ext uri="{FF2B5EF4-FFF2-40B4-BE49-F238E27FC236}">
                  <a16:creationId xmlns:a16="http://schemas.microsoft.com/office/drawing/2014/main" id="{5D9FAB46-3E72-475C-A2AD-04A6C5521593}"/>
                </a:ext>
              </a:extLst>
            </p:cNvPr>
            <p:cNvSpPr/>
            <p:nvPr/>
          </p:nvSpPr>
          <p:spPr>
            <a:xfrm>
              <a:off x="8289956" y="3012187"/>
              <a:ext cx="101430" cy="130410"/>
            </a:xfrm>
            <a:custGeom>
              <a:avLst/>
              <a:gdLst>
                <a:gd name="connsiteX0" fmla="*/ 0 w 101430"/>
                <a:gd name="connsiteY0" fmla="*/ 15180 h 130410"/>
                <a:gd name="connsiteX1" fmla="*/ 42090 w 101430"/>
                <a:gd name="connsiteY1" fmla="*/ 15180 h 130410"/>
                <a:gd name="connsiteX2" fmla="*/ 42090 w 101430"/>
                <a:gd name="connsiteY2" fmla="*/ 130411 h 130410"/>
                <a:gd name="connsiteX3" fmla="*/ 58996 w 101430"/>
                <a:gd name="connsiteY3" fmla="*/ 130411 h 130410"/>
                <a:gd name="connsiteX4" fmla="*/ 58996 w 101430"/>
                <a:gd name="connsiteY4" fmla="*/ 15180 h 130410"/>
                <a:gd name="connsiteX5" fmla="*/ 101431 w 101430"/>
                <a:gd name="connsiteY5" fmla="*/ 15180 h 130410"/>
                <a:gd name="connsiteX6" fmla="*/ 101431 w 101430"/>
                <a:gd name="connsiteY6" fmla="*/ 0 h 130410"/>
                <a:gd name="connsiteX7" fmla="*/ 0 w 101430"/>
                <a:gd name="connsiteY7" fmla="*/ 0 h 13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30" h="130410">
                  <a:moveTo>
                    <a:pt x="0" y="15180"/>
                  </a:moveTo>
                  <a:lnTo>
                    <a:pt x="42090" y="15180"/>
                  </a:lnTo>
                  <a:lnTo>
                    <a:pt x="42090" y="130411"/>
                  </a:lnTo>
                  <a:lnTo>
                    <a:pt x="58996" y="130411"/>
                  </a:lnTo>
                  <a:lnTo>
                    <a:pt x="58996" y="15180"/>
                  </a:lnTo>
                  <a:lnTo>
                    <a:pt x="101431" y="15180"/>
                  </a:lnTo>
                  <a:lnTo>
                    <a:pt x="1014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8" name="Gráfico 1344">
              <a:extLst>
                <a:ext uri="{FF2B5EF4-FFF2-40B4-BE49-F238E27FC236}">
                  <a16:creationId xmlns:a16="http://schemas.microsoft.com/office/drawing/2014/main" id="{2AD7371F-F816-485F-9A84-4647A5CB7B1A}"/>
                </a:ext>
              </a:extLst>
            </p:cNvPr>
            <p:cNvSpPr/>
            <p:nvPr/>
          </p:nvSpPr>
          <p:spPr>
            <a:xfrm>
              <a:off x="8401737" y="3010117"/>
              <a:ext cx="124201" cy="134551"/>
            </a:xfrm>
            <a:custGeom>
              <a:avLst/>
              <a:gdLst>
                <a:gd name="connsiteX0" fmla="*/ 94531 w 124201"/>
                <a:gd name="connsiteY0" fmla="*/ 8625 h 134551"/>
                <a:gd name="connsiteX1" fmla="*/ 62101 w 124201"/>
                <a:gd name="connsiteY1" fmla="*/ 0 h 134551"/>
                <a:gd name="connsiteX2" fmla="*/ 17250 w 124201"/>
                <a:gd name="connsiteY2" fmla="*/ 18457 h 134551"/>
                <a:gd name="connsiteX3" fmla="*/ 0 w 124201"/>
                <a:gd name="connsiteY3" fmla="*/ 69173 h 134551"/>
                <a:gd name="connsiteX4" fmla="*/ 7763 w 124201"/>
                <a:gd name="connsiteY4" fmla="*/ 101431 h 134551"/>
                <a:gd name="connsiteX5" fmla="*/ 29498 w 124201"/>
                <a:gd name="connsiteY5" fmla="*/ 125581 h 134551"/>
                <a:gd name="connsiteX6" fmla="*/ 62101 w 124201"/>
                <a:gd name="connsiteY6" fmla="*/ 134551 h 134551"/>
                <a:gd name="connsiteX7" fmla="*/ 93668 w 124201"/>
                <a:gd name="connsiteY7" fmla="*/ 126443 h 134551"/>
                <a:gd name="connsiteX8" fmla="*/ 116094 w 124201"/>
                <a:gd name="connsiteY8" fmla="*/ 102638 h 134551"/>
                <a:gd name="connsiteX9" fmla="*/ 124201 w 124201"/>
                <a:gd name="connsiteY9" fmla="*/ 67275 h 134551"/>
                <a:gd name="connsiteX10" fmla="*/ 116438 w 124201"/>
                <a:gd name="connsiteY10" fmla="*/ 32430 h 134551"/>
                <a:gd name="connsiteX11" fmla="*/ 94531 w 124201"/>
                <a:gd name="connsiteY11" fmla="*/ 8625 h 134551"/>
                <a:gd name="connsiteX12" fmla="*/ 93668 w 124201"/>
                <a:gd name="connsiteY12" fmla="*/ 106261 h 134551"/>
                <a:gd name="connsiteX13" fmla="*/ 61928 w 124201"/>
                <a:gd name="connsiteY13" fmla="*/ 119888 h 134551"/>
                <a:gd name="connsiteX14" fmla="*/ 30360 w 124201"/>
                <a:gd name="connsiteY14" fmla="*/ 106433 h 134551"/>
                <a:gd name="connsiteX15" fmla="*/ 17768 w 124201"/>
                <a:gd name="connsiteY15" fmla="*/ 69346 h 134551"/>
                <a:gd name="connsiteX16" fmla="*/ 31050 w 124201"/>
                <a:gd name="connsiteY16" fmla="*/ 27255 h 134551"/>
                <a:gd name="connsiteX17" fmla="*/ 62445 w 124201"/>
                <a:gd name="connsiteY17" fmla="*/ 14662 h 134551"/>
                <a:gd name="connsiteX18" fmla="*/ 85560 w 124201"/>
                <a:gd name="connsiteY18" fmla="*/ 21218 h 134551"/>
                <a:gd name="connsiteX19" fmla="*/ 101085 w 124201"/>
                <a:gd name="connsiteY19" fmla="*/ 39675 h 134551"/>
                <a:gd name="connsiteX20" fmla="*/ 106434 w 124201"/>
                <a:gd name="connsiteY20" fmla="*/ 67448 h 134551"/>
                <a:gd name="connsiteX21" fmla="*/ 93668 w 124201"/>
                <a:gd name="connsiteY21" fmla="*/ 106261 h 13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201" h="134551">
                  <a:moveTo>
                    <a:pt x="94531" y="8625"/>
                  </a:moveTo>
                  <a:cubicBezTo>
                    <a:pt x="84871" y="2932"/>
                    <a:pt x="74003" y="0"/>
                    <a:pt x="62101" y="0"/>
                  </a:cubicBezTo>
                  <a:cubicBezTo>
                    <a:pt x="43815" y="0"/>
                    <a:pt x="28808" y="6210"/>
                    <a:pt x="17250" y="18457"/>
                  </a:cubicBezTo>
                  <a:cubicBezTo>
                    <a:pt x="5692" y="30705"/>
                    <a:pt x="0" y="47610"/>
                    <a:pt x="0" y="69173"/>
                  </a:cubicBezTo>
                  <a:cubicBezTo>
                    <a:pt x="0" y="80730"/>
                    <a:pt x="2415" y="91426"/>
                    <a:pt x="7763" y="101431"/>
                  </a:cubicBezTo>
                  <a:cubicBezTo>
                    <a:pt x="12593" y="111781"/>
                    <a:pt x="20010" y="119543"/>
                    <a:pt x="29498" y="125581"/>
                  </a:cubicBezTo>
                  <a:cubicBezTo>
                    <a:pt x="39158" y="131619"/>
                    <a:pt x="50025" y="134551"/>
                    <a:pt x="62101" y="134551"/>
                  </a:cubicBezTo>
                  <a:cubicBezTo>
                    <a:pt x="73486" y="134551"/>
                    <a:pt x="83835" y="131791"/>
                    <a:pt x="93668" y="126443"/>
                  </a:cubicBezTo>
                  <a:cubicBezTo>
                    <a:pt x="103328" y="120923"/>
                    <a:pt x="110746" y="113161"/>
                    <a:pt x="116094" y="102638"/>
                  </a:cubicBezTo>
                  <a:cubicBezTo>
                    <a:pt x="121441" y="92288"/>
                    <a:pt x="124201" y="80558"/>
                    <a:pt x="124201" y="67275"/>
                  </a:cubicBezTo>
                  <a:cubicBezTo>
                    <a:pt x="124201" y="54165"/>
                    <a:pt x="121613" y="42608"/>
                    <a:pt x="116438" y="32430"/>
                  </a:cubicBezTo>
                  <a:cubicBezTo>
                    <a:pt x="111436" y="22253"/>
                    <a:pt x="104191" y="14318"/>
                    <a:pt x="94531" y="8625"/>
                  </a:cubicBezTo>
                  <a:close/>
                  <a:moveTo>
                    <a:pt x="93668" y="106261"/>
                  </a:moveTo>
                  <a:cubicBezTo>
                    <a:pt x="85388" y="115403"/>
                    <a:pt x="74693" y="119888"/>
                    <a:pt x="61928" y="119888"/>
                  </a:cubicBezTo>
                  <a:cubicBezTo>
                    <a:pt x="49335" y="119888"/>
                    <a:pt x="38640" y="115403"/>
                    <a:pt x="30360" y="106433"/>
                  </a:cubicBezTo>
                  <a:cubicBezTo>
                    <a:pt x="21907" y="97463"/>
                    <a:pt x="17768" y="85043"/>
                    <a:pt x="17768" y="69346"/>
                  </a:cubicBezTo>
                  <a:cubicBezTo>
                    <a:pt x="17768" y="49680"/>
                    <a:pt x="22080" y="35708"/>
                    <a:pt x="31050" y="27255"/>
                  </a:cubicBezTo>
                  <a:cubicBezTo>
                    <a:pt x="39848" y="18975"/>
                    <a:pt x="50198" y="14662"/>
                    <a:pt x="62445" y="14662"/>
                  </a:cubicBezTo>
                  <a:cubicBezTo>
                    <a:pt x="70898" y="14662"/>
                    <a:pt x="78661" y="17078"/>
                    <a:pt x="85560" y="21218"/>
                  </a:cubicBezTo>
                  <a:cubicBezTo>
                    <a:pt x="92460" y="25703"/>
                    <a:pt x="97463" y="31740"/>
                    <a:pt x="101085" y="39675"/>
                  </a:cubicBezTo>
                  <a:cubicBezTo>
                    <a:pt x="104708" y="47610"/>
                    <a:pt x="106434" y="56925"/>
                    <a:pt x="106434" y="67448"/>
                  </a:cubicBezTo>
                  <a:cubicBezTo>
                    <a:pt x="106261" y="84353"/>
                    <a:pt x="101948" y="97291"/>
                    <a:pt x="93668" y="106261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9" name="Gráfico 1344">
              <a:extLst>
                <a:ext uri="{FF2B5EF4-FFF2-40B4-BE49-F238E27FC236}">
                  <a16:creationId xmlns:a16="http://schemas.microsoft.com/office/drawing/2014/main" id="{427DFCAC-6DCF-40D1-A701-8C1CEA02DF01}"/>
                </a:ext>
              </a:extLst>
            </p:cNvPr>
            <p:cNvSpPr/>
            <p:nvPr/>
          </p:nvSpPr>
          <p:spPr>
            <a:xfrm>
              <a:off x="9184203" y="3281462"/>
              <a:ext cx="99360" cy="130238"/>
            </a:xfrm>
            <a:custGeom>
              <a:avLst/>
              <a:gdLst>
                <a:gd name="connsiteX0" fmla="*/ 74521 w 99360"/>
                <a:gd name="connsiteY0" fmla="*/ 60721 h 130238"/>
                <a:gd name="connsiteX1" fmla="*/ 88321 w 99360"/>
                <a:gd name="connsiteY1" fmla="*/ 48990 h 130238"/>
                <a:gd name="connsiteX2" fmla="*/ 92806 w 99360"/>
                <a:gd name="connsiteY2" fmla="*/ 33120 h 130238"/>
                <a:gd name="connsiteX3" fmla="*/ 87631 w 99360"/>
                <a:gd name="connsiteY3" fmla="*/ 16043 h 130238"/>
                <a:gd name="connsiteX4" fmla="*/ 73313 w 99360"/>
                <a:gd name="connsiteY4" fmla="*/ 3795 h 130238"/>
                <a:gd name="connsiteX5" fmla="*/ 49336 w 99360"/>
                <a:gd name="connsiteY5" fmla="*/ 0 h 130238"/>
                <a:gd name="connsiteX6" fmla="*/ 0 w 99360"/>
                <a:gd name="connsiteY6" fmla="*/ 0 h 130238"/>
                <a:gd name="connsiteX7" fmla="*/ 0 w 99360"/>
                <a:gd name="connsiteY7" fmla="*/ 130239 h 130238"/>
                <a:gd name="connsiteX8" fmla="*/ 50198 w 99360"/>
                <a:gd name="connsiteY8" fmla="*/ 130239 h 130238"/>
                <a:gd name="connsiteX9" fmla="*/ 71416 w 99360"/>
                <a:gd name="connsiteY9" fmla="*/ 128169 h 130238"/>
                <a:gd name="connsiteX10" fmla="*/ 85733 w 99360"/>
                <a:gd name="connsiteY10" fmla="*/ 121786 h 130238"/>
                <a:gd name="connsiteX11" fmla="*/ 95394 w 99360"/>
                <a:gd name="connsiteY11" fmla="*/ 109711 h 130238"/>
                <a:gd name="connsiteX12" fmla="*/ 99361 w 99360"/>
                <a:gd name="connsiteY12" fmla="*/ 92633 h 130238"/>
                <a:gd name="connsiteX13" fmla="*/ 92806 w 99360"/>
                <a:gd name="connsiteY13" fmla="*/ 72968 h 130238"/>
                <a:gd name="connsiteX14" fmla="*/ 74521 w 99360"/>
                <a:gd name="connsiteY14" fmla="*/ 60721 h 130238"/>
                <a:gd name="connsiteX15" fmla="*/ 17078 w 99360"/>
                <a:gd name="connsiteY15" fmla="*/ 15525 h 130238"/>
                <a:gd name="connsiteX16" fmla="*/ 43298 w 99360"/>
                <a:gd name="connsiteY16" fmla="*/ 15525 h 130238"/>
                <a:gd name="connsiteX17" fmla="*/ 63136 w 99360"/>
                <a:gd name="connsiteY17" fmla="*/ 17250 h 130238"/>
                <a:gd name="connsiteX18" fmla="*/ 71933 w 99360"/>
                <a:gd name="connsiteY18" fmla="*/ 24150 h 130238"/>
                <a:gd name="connsiteX19" fmla="*/ 75211 w 99360"/>
                <a:gd name="connsiteY19" fmla="*/ 35535 h 130238"/>
                <a:gd name="connsiteX20" fmla="*/ 71933 w 99360"/>
                <a:gd name="connsiteY20" fmla="*/ 46920 h 130238"/>
                <a:gd name="connsiteX21" fmla="*/ 61928 w 99360"/>
                <a:gd name="connsiteY21" fmla="*/ 53303 h 130238"/>
                <a:gd name="connsiteX22" fmla="*/ 45541 w 99360"/>
                <a:gd name="connsiteY22" fmla="*/ 54856 h 130238"/>
                <a:gd name="connsiteX23" fmla="*/ 17250 w 99360"/>
                <a:gd name="connsiteY23" fmla="*/ 54856 h 130238"/>
                <a:gd name="connsiteX24" fmla="*/ 17078 w 99360"/>
                <a:gd name="connsiteY24" fmla="*/ 54856 h 130238"/>
                <a:gd name="connsiteX25" fmla="*/ 17078 w 99360"/>
                <a:gd name="connsiteY25" fmla="*/ 15525 h 130238"/>
                <a:gd name="connsiteX26" fmla="*/ 78661 w 99360"/>
                <a:gd name="connsiteY26" fmla="*/ 103501 h 130238"/>
                <a:gd name="connsiteX27" fmla="*/ 71933 w 99360"/>
                <a:gd name="connsiteY27" fmla="*/ 110746 h 130238"/>
                <a:gd name="connsiteX28" fmla="*/ 61928 w 99360"/>
                <a:gd name="connsiteY28" fmla="*/ 114196 h 130238"/>
                <a:gd name="connsiteX29" fmla="*/ 50026 w 99360"/>
                <a:gd name="connsiteY29" fmla="*/ 114886 h 130238"/>
                <a:gd name="connsiteX30" fmla="*/ 17423 w 99360"/>
                <a:gd name="connsiteY30" fmla="*/ 114886 h 130238"/>
                <a:gd name="connsiteX31" fmla="*/ 17423 w 99360"/>
                <a:gd name="connsiteY31" fmla="*/ 70208 h 130238"/>
                <a:gd name="connsiteX32" fmla="*/ 47783 w 99360"/>
                <a:gd name="connsiteY32" fmla="*/ 70208 h 130238"/>
                <a:gd name="connsiteX33" fmla="*/ 67103 w 99360"/>
                <a:gd name="connsiteY33" fmla="*/ 72278 h 130238"/>
                <a:gd name="connsiteX34" fmla="*/ 77453 w 99360"/>
                <a:gd name="connsiteY34" fmla="*/ 79868 h 130238"/>
                <a:gd name="connsiteX35" fmla="*/ 81421 w 99360"/>
                <a:gd name="connsiteY35" fmla="*/ 92461 h 130238"/>
                <a:gd name="connsiteX36" fmla="*/ 78661 w 99360"/>
                <a:gd name="connsiteY36" fmla="*/ 103501 h 13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360" h="130238">
                  <a:moveTo>
                    <a:pt x="74521" y="60721"/>
                  </a:moveTo>
                  <a:cubicBezTo>
                    <a:pt x="80731" y="57788"/>
                    <a:pt x="85388" y="53820"/>
                    <a:pt x="88321" y="48990"/>
                  </a:cubicBezTo>
                  <a:cubicBezTo>
                    <a:pt x="91426" y="43988"/>
                    <a:pt x="92806" y="38640"/>
                    <a:pt x="92806" y="33120"/>
                  </a:cubicBezTo>
                  <a:cubicBezTo>
                    <a:pt x="92806" y="27083"/>
                    <a:pt x="91081" y="21563"/>
                    <a:pt x="87631" y="16043"/>
                  </a:cubicBezTo>
                  <a:cubicBezTo>
                    <a:pt x="84181" y="10523"/>
                    <a:pt x="79351" y="6382"/>
                    <a:pt x="73313" y="3795"/>
                  </a:cubicBezTo>
                  <a:cubicBezTo>
                    <a:pt x="67276" y="1208"/>
                    <a:pt x="59168" y="0"/>
                    <a:pt x="49336" y="0"/>
                  </a:cubicBezTo>
                  <a:lnTo>
                    <a:pt x="0" y="0"/>
                  </a:lnTo>
                  <a:lnTo>
                    <a:pt x="0" y="130239"/>
                  </a:lnTo>
                  <a:lnTo>
                    <a:pt x="50198" y="130239"/>
                  </a:lnTo>
                  <a:cubicBezTo>
                    <a:pt x="58651" y="130239"/>
                    <a:pt x="65551" y="129549"/>
                    <a:pt x="71416" y="128169"/>
                  </a:cubicBezTo>
                  <a:cubicBezTo>
                    <a:pt x="77108" y="126616"/>
                    <a:pt x="81766" y="124546"/>
                    <a:pt x="85733" y="121786"/>
                  </a:cubicBezTo>
                  <a:cubicBezTo>
                    <a:pt x="89701" y="119026"/>
                    <a:pt x="92806" y="114886"/>
                    <a:pt x="95394" y="109711"/>
                  </a:cubicBezTo>
                  <a:cubicBezTo>
                    <a:pt x="97981" y="104363"/>
                    <a:pt x="99361" y="98843"/>
                    <a:pt x="99361" y="92633"/>
                  </a:cubicBezTo>
                  <a:cubicBezTo>
                    <a:pt x="99361" y="85043"/>
                    <a:pt x="97118" y="78488"/>
                    <a:pt x="92806" y="72968"/>
                  </a:cubicBezTo>
                  <a:cubicBezTo>
                    <a:pt x="88493" y="66931"/>
                    <a:pt x="82456" y="63136"/>
                    <a:pt x="74521" y="60721"/>
                  </a:cubicBezTo>
                  <a:close/>
                  <a:moveTo>
                    <a:pt x="17078" y="15525"/>
                  </a:moveTo>
                  <a:lnTo>
                    <a:pt x="43298" y="15525"/>
                  </a:lnTo>
                  <a:cubicBezTo>
                    <a:pt x="52613" y="15525"/>
                    <a:pt x="59340" y="15870"/>
                    <a:pt x="63136" y="17250"/>
                  </a:cubicBezTo>
                  <a:cubicBezTo>
                    <a:pt x="67103" y="18458"/>
                    <a:pt x="69863" y="20873"/>
                    <a:pt x="71933" y="24150"/>
                  </a:cubicBezTo>
                  <a:cubicBezTo>
                    <a:pt x="74176" y="27428"/>
                    <a:pt x="75211" y="31223"/>
                    <a:pt x="75211" y="35535"/>
                  </a:cubicBezTo>
                  <a:cubicBezTo>
                    <a:pt x="75211" y="40020"/>
                    <a:pt x="74176" y="43988"/>
                    <a:pt x="71933" y="46920"/>
                  </a:cubicBezTo>
                  <a:cubicBezTo>
                    <a:pt x="69691" y="49853"/>
                    <a:pt x="66586" y="52095"/>
                    <a:pt x="61928" y="53303"/>
                  </a:cubicBezTo>
                  <a:cubicBezTo>
                    <a:pt x="58651" y="54338"/>
                    <a:pt x="53303" y="54856"/>
                    <a:pt x="45541" y="54856"/>
                  </a:cubicBezTo>
                  <a:lnTo>
                    <a:pt x="17250" y="54856"/>
                  </a:lnTo>
                  <a:lnTo>
                    <a:pt x="17078" y="54856"/>
                  </a:lnTo>
                  <a:lnTo>
                    <a:pt x="17078" y="15525"/>
                  </a:lnTo>
                  <a:close/>
                  <a:moveTo>
                    <a:pt x="78661" y="103501"/>
                  </a:moveTo>
                  <a:cubicBezTo>
                    <a:pt x="76936" y="106778"/>
                    <a:pt x="74521" y="109021"/>
                    <a:pt x="71933" y="110746"/>
                  </a:cubicBezTo>
                  <a:cubicBezTo>
                    <a:pt x="69346" y="112298"/>
                    <a:pt x="66068" y="113506"/>
                    <a:pt x="61928" y="114196"/>
                  </a:cubicBezTo>
                  <a:cubicBezTo>
                    <a:pt x="59513" y="114541"/>
                    <a:pt x="55718" y="114886"/>
                    <a:pt x="50026" y="114886"/>
                  </a:cubicBezTo>
                  <a:lnTo>
                    <a:pt x="17423" y="114886"/>
                  </a:lnTo>
                  <a:lnTo>
                    <a:pt x="17423" y="70208"/>
                  </a:lnTo>
                  <a:lnTo>
                    <a:pt x="47783" y="70208"/>
                  </a:lnTo>
                  <a:cubicBezTo>
                    <a:pt x="56236" y="70208"/>
                    <a:pt x="62791" y="70898"/>
                    <a:pt x="67103" y="72278"/>
                  </a:cubicBezTo>
                  <a:cubicBezTo>
                    <a:pt x="71588" y="73831"/>
                    <a:pt x="74866" y="76073"/>
                    <a:pt x="77453" y="79868"/>
                  </a:cubicBezTo>
                  <a:cubicBezTo>
                    <a:pt x="80041" y="83663"/>
                    <a:pt x="81421" y="87803"/>
                    <a:pt x="81421" y="92461"/>
                  </a:cubicBezTo>
                  <a:cubicBezTo>
                    <a:pt x="81248" y="96601"/>
                    <a:pt x="80386" y="100223"/>
                    <a:pt x="78661" y="103501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0" name="Gráfico 1344">
              <a:extLst>
                <a:ext uri="{FF2B5EF4-FFF2-40B4-BE49-F238E27FC236}">
                  <a16:creationId xmlns:a16="http://schemas.microsoft.com/office/drawing/2014/main" id="{D2A765C5-CC10-4897-9A58-D996D9C7C11E}"/>
                </a:ext>
              </a:extLst>
            </p:cNvPr>
            <p:cNvSpPr/>
            <p:nvPr/>
          </p:nvSpPr>
          <p:spPr>
            <a:xfrm>
              <a:off x="9291844" y="3281289"/>
              <a:ext cx="121958" cy="130410"/>
            </a:xfrm>
            <a:custGeom>
              <a:avLst/>
              <a:gdLst>
                <a:gd name="connsiteX0" fmla="*/ 50025 w 121958"/>
                <a:gd name="connsiteY0" fmla="*/ 0 h 130410"/>
                <a:gd name="connsiteX1" fmla="*/ 0 w 121958"/>
                <a:gd name="connsiteY1" fmla="*/ 130411 h 130410"/>
                <a:gd name="connsiteX2" fmla="*/ 18458 w 121958"/>
                <a:gd name="connsiteY2" fmla="*/ 130411 h 130410"/>
                <a:gd name="connsiteX3" fmla="*/ 32775 w 121958"/>
                <a:gd name="connsiteY3" fmla="*/ 90908 h 130410"/>
                <a:gd name="connsiteX4" fmla="*/ 87286 w 121958"/>
                <a:gd name="connsiteY4" fmla="*/ 90908 h 130410"/>
                <a:gd name="connsiteX5" fmla="*/ 102466 w 121958"/>
                <a:gd name="connsiteY5" fmla="*/ 130411 h 130410"/>
                <a:gd name="connsiteX6" fmla="*/ 121959 w 121958"/>
                <a:gd name="connsiteY6" fmla="*/ 130411 h 130410"/>
                <a:gd name="connsiteX7" fmla="*/ 68483 w 121958"/>
                <a:gd name="connsiteY7" fmla="*/ 0 h 130410"/>
                <a:gd name="connsiteX8" fmla="*/ 50025 w 121958"/>
                <a:gd name="connsiteY8" fmla="*/ 0 h 130410"/>
                <a:gd name="connsiteX9" fmla="*/ 37605 w 121958"/>
                <a:gd name="connsiteY9" fmla="*/ 76763 h 130410"/>
                <a:gd name="connsiteX10" fmla="*/ 51923 w 121958"/>
                <a:gd name="connsiteY10" fmla="*/ 38640 h 130410"/>
                <a:gd name="connsiteX11" fmla="*/ 58995 w 121958"/>
                <a:gd name="connsiteY11" fmla="*/ 13800 h 130410"/>
                <a:gd name="connsiteX12" fmla="*/ 68310 w 121958"/>
                <a:gd name="connsiteY12" fmla="*/ 40883 h 130410"/>
                <a:gd name="connsiteX13" fmla="*/ 81765 w 121958"/>
                <a:gd name="connsiteY13" fmla="*/ 76935 h 130410"/>
                <a:gd name="connsiteX14" fmla="*/ 37605 w 121958"/>
                <a:gd name="connsiteY14" fmla="*/ 76935 h 13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58" h="130410">
                  <a:moveTo>
                    <a:pt x="50025" y="0"/>
                  </a:moveTo>
                  <a:lnTo>
                    <a:pt x="0" y="130411"/>
                  </a:lnTo>
                  <a:lnTo>
                    <a:pt x="18458" y="130411"/>
                  </a:lnTo>
                  <a:lnTo>
                    <a:pt x="32775" y="90908"/>
                  </a:lnTo>
                  <a:lnTo>
                    <a:pt x="87286" y="90908"/>
                  </a:lnTo>
                  <a:lnTo>
                    <a:pt x="102466" y="130411"/>
                  </a:lnTo>
                  <a:lnTo>
                    <a:pt x="121959" y="130411"/>
                  </a:lnTo>
                  <a:lnTo>
                    <a:pt x="68483" y="0"/>
                  </a:lnTo>
                  <a:lnTo>
                    <a:pt x="50025" y="0"/>
                  </a:lnTo>
                  <a:close/>
                  <a:moveTo>
                    <a:pt x="37605" y="76763"/>
                  </a:moveTo>
                  <a:lnTo>
                    <a:pt x="51923" y="38640"/>
                  </a:lnTo>
                  <a:cubicBezTo>
                    <a:pt x="54855" y="30533"/>
                    <a:pt x="57271" y="22080"/>
                    <a:pt x="58995" y="13800"/>
                  </a:cubicBezTo>
                  <a:cubicBezTo>
                    <a:pt x="60893" y="20873"/>
                    <a:pt x="64170" y="29843"/>
                    <a:pt x="68310" y="40883"/>
                  </a:cubicBezTo>
                  <a:lnTo>
                    <a:pt x="81765" y="76935"/>
                  </a:lnTo>
                  <a:lnTo>
                    <a:pt x="37605" y="76935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1" name="Gráfico 1344">
              <a:extLst>
                <a:ext uri="{FF2B5EF4-FFF2-40B4-BE49-F238E27FC236}">
                  <a16:creationId xmlns:a16="http://schemas.microsoft.com/office/drawing/2014/main" id="{B798FA12-CD34-41CB-A3AF-02EFF30F826D}"/>
                </a:ext>
              </a:extLst>
            </p:cNvPr>
            <p:cNvSpPr/>
            <p:nvPr/>
          </p:nvSpPr>
          <p:spPr>
            <a:xfrm>
              <a:off x="7658429" y="4148798"/>
              <a:ext cx="120060" cy="132480"/>
            </a:xfrm>
            <a:custGeom>
              <a:avLst/>
              <a:gdLst>
                <a:gd name="connsiteX0" fmla="*/ 65378 w 120060"/>
                <a:gd name="connsiteY0" fmla="*/ 79695 h 132480"/>
                <a:gd name="connsiteX1" fmla="*/ 65378 w 120060"/>
                <a:gd name="connsiteY1" fmla="*/ 79868 h 132480"/>
                <a:gd name="connsiteX2" fmla="*/ 103328 w 120060"/>
                <a:gd name="connsiteY2" fmla="*/ 79868 h 132480"/>
                <a:gd name="connsiteX3" fmla="*/ 103328 w 120060"/>
                <a:gd name="connsiteY3" fmla="*/ 103673 h 132480"/>
                <a:gd name="connsiteX4" fmla="*/ 87286 w 120060"/>
                <a:gd name="connsiteY4" fmla="*/ 112816 h 132480"/>
                <a:gd name="connsiteX5" fmla="*/ 65550 w 120060"/>
                <a:gd name="connsiteY5" fmla="*/ 116956 h 132480"/>
                <a:gd name="connsiteX6" fmla="*/ 41400 w 120060"/>
                <a:gd name="connsiteY6" fmla="*/ 111264 h 132480"/>
                <a:gd name="connsiteX7" fmla="*/ 24150 w 120060"/>
                <a:gd name="connsiteY7" fmla="*/ 94186 h 132480"/>
                <a:gd name="connsiteX8" fmla="*/ 18112 w 120060"/>
                <a:gd name="connsiteY8" fmla="*/ 65378 h 132480"/>
                <a:gd name="connsiteX9" fmla="*/ 22942 w 120060"/>
                <a:gd name="connsiteY9" fmla="*/ 39676 h 132480"/>
                <a:gd name="connsiteX10" fmla="*/ 31050 w 120060"/>
                <a:gd name="connsiteY10" fmla="*/ 27083 h 132480"/>
                <a:gd name="connsiteX11" fmla="*/ 44850 w 120060"/>
                <a:gd name="connsiteY11" fmla="*/ 17768 h 132480"/>
                <a:gd name="connsiteX12" fmla="*/ 65205 w 120060"/>
                <a:gd name="connsiteY12" fmla="*/ 14145 h 132480"/>
                <a:gd name="connsiteX13" fmla="*/ 82973 w 120060"/>
                <a:gd name="connsiteY13" fmla="*/ 17595 h 132480"/>
                <a:gd name="connsiteX14" fmla="*/ 95393 w 120060"/>
                <a:gd name="connsiteY14" fmla="*/ 26738 h 132480"/>
                <a:gd name="connsiteX15" fmla="*/ 102638 w 120060"/>
                <a:gd name="connsiteY15" fmla="*/ 42090 h 132480"/>
                <a:gd name="connsiteX16" fmla="*/ 117991 w 120060"/>
                <a:gd name="connsiteY16" fmla="*/ 37950 h 132480"/>
                <a:gd name="connsiteX17" fmla="*/ 108158 w 120060"/>
                <a:gd name="connsiteY17" fmla="*/ 17077 h 132480"/>
                <a:gd name="connsiteX18" fmla="*/ 90390 w 120060"/>
                <a:gd name="connsiteY18" fmla="*/ 4485 h 132480"/>
                <a:gd name="connsiteX19" fmla="*/ 65033 w 120060"/>
                <a:gd name="connsiteY19" fmla="*/ 0 h 132480"/>
                <a:gd name="connsiteX20" fmla="*/ 30878 w 120060"/>
                <a:gd name="connsiteY20" fmla="*/ 7763 h 132480"/>
                <a:gd name="connsiteX21" fmla="*/ 7935 w 120060"/>
                <a:gd name="connsiteY21" fmla="*/ 31913 h 132480"/>
                <a:gd name="connsiteX22" fmla="*/ 0 w 120060"/>
                <a:gd name="connsiteY22" fmla="*/ 66758 h 132480"/>
                <a:gd name="connsiteX23" fmla="*/ 7935 w 120060"/>
                <a:gd name="connsiteY23" fmla="*/ 100913 h 132480"/>
                <a:gd name="connsiteX24" fmla="*/ 31567 w 120060"/>
                <a:gd name="connsiteY24" fmla="*/ 124373 h 132480"/>
                <a:gd name="connsiteX25" fmla="*/ 66413 w 120060"/>
                <a:gd name="connsiteY25" fmla="*/ 132481 h 132480"/>
                <a:gd name="connsiteX26" fmla="*/ 94013 w 120060"/>
                <a:gd name="connsiteY26" fmla="*/ 127479 h 132480"/>
                <a:gd name="connsiteX27" fmla="*/ 120061 w 120060"/>
                <a:gd name="connsiteY27" fmla="*/ 112471 h 132480"/>
                <a:gd name="connsiteX28" fmla="*/ 120061 w 120060"/>
                <a:gd name="connsiteY28" fmla="*/ 64861 h 132480"/>
                <a:gd name="connsiteX29" fmla="*/ 65205 w 120060"/>
                <a:gd name="connsiteY29" fmla="*/ 64861 h 132480"/>
                <a:gd name="connsiteX30" fmla="*/ 65205 w 120060"/>
                <a:gd name="connsiteY30" fmla="*/ 79695 h 13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0060" h="132480">
                  <a:moveTo>
                    <a:pt x="65378" y="79695"/>
                  </a:moveTo>
                  <a:lnTo>
                    <a:pt x="65378" y="79868"/>
                  </a:lnTo>
                  <a:lnTo>
                    <a:pt x="103328" y="79868"/>
                  </a:lnTo>
                  <a:lnTo>
                    <a:pt x="103328" y="103673"/>
                  </a:lnTo>
                  <a:cubicBezTo>
                    <a:pt x="99706" y="106778"/>
                    <a:pt x="94358" y="110056"/>
                    <a:pt x="87286" y="112816"/>
                  </a:cubicBezTo>
                  <a:cubicBezTo>
                    <a:pt x="80213" y="115576"/>
                    <a:pt x="72968" y="116956"/>
                    <a:pt x="65550" y="116956"/>
                  </a:cubicBezTo>
                  <a:cubicBezTo>
                    <a:pt x="56925" y="116956"/>
                    <a:pt x="49163" y="115059"/>
                    <a:pt x="41400" y="111264"/>
                  </a:cubicBezTo>
                  <a:cubicBezTo>
                    <a:pt x="33983" y="107468"/>
                    <a:pt x="28118" y="101776"/>
                    <a:pt x="24150" y="94186"/>
                  </a:cubicBezTo>
                  <a:cubicBezTo>
                    <a:pt x="20010" y="86423"/>
                    <a:pt x="18112" y="76935"/>
                    <a:pt x="18112" y="65378"/>
                  </a:cubicBezTo>
                  <a:cubicBezTo>
                    <a:pt x="18112" y="56063"/>
                    <a:pt x="19838" y="47611"/>
                    <a:pt x="22942" y="39676"/>
                  </a:cubicBezTo>
                  <a:cubicBezTo>
                    <a:pt x="24840" y="35018"/>
                    <a:pt x="27600" y="30878"/>
                    <a:pt x="31050" y="27083"/>
                  </a:cubicBezTo>
                  <a:cubicBezTo>
                    <a:pt x="34673" y="23288"/>
                    <a:pt x="39158" y="20183"/>
                    <a:pt x="44850" y="17768"/>
                  </a:cubicBezTo>
                  <a:cubicBezTo>
                    <a:pt x="50370" y="15180"/>
                    <a:pt x="57271" y="14145"/>
                    <a:pt x="65205" y="14145"/>
                  </a:cubicBezTo>
                  <a:cubicBezTo>
                    <a:pt x="71588" y="14145"/>
                    <a:pt x="77626" y="15180"/>
                    <a:pt x="82973" y="17595"/>
                  </a:cubicBezTo>
                  <a:cubicBezTo>
                    <a:pt x="88321" y="19838"/>
                    <a:pt x="92288" y="22943"/>
                    <a:pt x="95393" y="26738"/>
                  </a:cubicBezTo>
                  <a:cubicBezTo>
                    <a:pt x="98325" y="30533"/>
                    <a:pt x="100741" y="35535"/>
                    <a:pt x="102638" y="42090"/>
                  </a:cubicBezTo>
                  <a:lnTo>
                    <a:pt x="117991" y="37950"/>
                  </a:lnTo>
                  <a:cubicBezTo>
                    <a:pt x="115576" y="29325"/>
                    <a:pt x="112471" y="22253"/>
                    <a:pt x="108158" y="17077"/>
                  </a:cubicBezTo>
                  <a:cubicBezTo>
                    <a:pt x="103846" y="11558"/>
                    <a:pt x="97981" y="7417"/>
                    <a:pt x="90390" y="4485"/>
                  </a:cubicBezTo>
                  <a:cubicBezTo>
                    <a:pt x="82973" y="1552"/>
                    <a:pt x="74348" y="0"/>
                    <a:pt x="65033" y="0"/>
                  </a:cubicBezTo>
                  <a:cubicBezTo>
                    <a:pt x="52268" y="0"/>
                    <a:pt x="40710" y="2587"/>
                    <a:pt x="30878" y="7763"/>
                  </a:cubicBezTo>
                  <a:cubicBezTo>
                    <a:pt x="20873" y="13110"/>
                    <a:pt x="13282" y="21045"/>
                    <a:pt x="7935" y="31913"/>
                  </a:cubicBezTo>
                  <a:cubicBezTo>
                    <a:pt x="2587" y="42781"/>
                    <a:pt x="0" y="54338"/>
                    <a:pt x="0" y="66758"/>
                  </a:cubicBezTo>
                  <a:cubicBezTo>
                    <a:pt x="0" y="79351"/>
                    <a:pt x="2587" y="90908"/>
                    <a:pt x="7935" y="100913"/>
                  </a:cubicBezTo>
                  <a:cubicBezTo>
                    <a:pt x="13282" y="111264"/>
                    <a:pt x="21218" y="118854"/>
                    <a:pt x="31567" y="124373"/>
                  </a:cubicBezTo>
                  <a:cubicBezTo>
                    <a:pt x="42090" y="129721"/>
                    <a:pt x="53648" y="132481"/>
                    <a:pt x="66413" y="132481"/>
                  </a:cubicBezTo>
                  <a:cubicBezTo>
                    <a:pt x="75728" y="132481"/>
                    <a:pt x="85043" y="130756"/>
                    <a:pt x="94013" y="127479"/>
                  </a:cubicBezTo>
                  <a:cubicBezTo>
                    <a:pt x="102983" y="124201"/>
                    <a:pt x="111608" y="119198"/>
                    <a:pt x="120061" y="112471"/>
                  </a:cubicBezTo>
                  <a:lnTo>
                    <a:pt x="120061" y="64861"/>
                  </a:lnTo>
                  <a:lnTo>
                    <a:pt x="65205" y="64861"/>
                  </a:lnTo>
                  <a:lnTo>
                    <a:pt x="65205" y="79695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2" name="Gráfico 1344">
              <a:extLst>
                <a:ext uri="{FF2B5EF4-FFF2-40B4-BE49-F238E27FC236}">
                  <a16:creationId xmlns:a16="http://schemas.microsoft.com/office/drawing/2014/main" id="{1C6322B8-3EE9-4403-A3F9-4ECD2C430A67}"/>
                </a:ext>
              </a:extLst>
            </p:cNvPr>
            <p:cNvSpPr/>
            <p:nvPr/>
          </p:nvSpPr>
          <p:spPr>
            <a:xfrm>
              <a:off x="7799535" y="4146555"/>
              <a:ext cx="124201" cy="134378"/>
            </a:xfrm>
            <a:custGeom>
              <a:avLst/>
              <a:gdLst>
                <a:gd name="connsiteX0" fmla="*/ 94531 w 124201"/>
                <a:gd name="connsiteY0" fmla="*/ 8625 h 134378"/>
                <a:gd name="connsiteX1" fmla="*/ 62101 w 124201"/>
                <a:gd name="connsiteY1" fmla="*/ 0 h 134378"/>
                <a:gd name="connsiteX2" fmla="*/ 17250 w 124201"/>
                <a:gd name="connsiteY2" fmla="*/ 18458 h 134378"/>
                <a:gd name="connsiteX3" fmla="*/ 0 w 124201"/>
                <a:gd name="connsiteY3" fmla="*/ 69173 h 134378"/>
                <a:gd name="connsiteX4" fmla="*/ 7763 w 124201"/>
                <a:gd name="connsiteY4" fmla="*/ 101258 h 134378"/>
                <a:gd name="connsiteX5" fmla="*/ 29498 w 124201"/>
                <a:gd name="connsiteY5" fmla="*/ 125409 h 134378"/>
                <a:gd name="connsiteX6" fmla="*/ 62273 w 124201"/>
                <a:gd name="connsiteY6" fmla="*/ 134379 h 134378"/>
                <a:gd name="connsiteX7" fmla="*/ 93841 w 124201"/>
                <a:gd name="connsiteY7" fmla="*/ 126271 h 134378"/>
                <a:gd name="connsiteX8" fmla="*/ 116266 w 124201"/>
                <a:gd name="connsiteY8" fmla="*/ 102638 h 134378"/>
                <a:gd name="connsiteX9" fmla="*/ 124201 w 124201"/>
                <a:gd name="connsiteY9" fmla="*/ 67275 h 134378"/>
                <a:gd name="connsiteX10" fmla="*/ 116783 w 124201"/>
                <a:gd name="connsiteY10" fmla="*/ 32430 h 134378"/>
                <a:gd name="connsiteX11" fmla="*/ 94531 w 124201"/>
                <a:gd name="connsiteY11" fmla="*/ 8625 h 134378"/>
                <a:gd name="connsiteX12" fmla="*/ 93668 w 124201"/>
                <a:gd name="connsiteY12" fmla="*/ 106261 h 134378"/>
                <a:gd name="connsiteX13" fmla="*/ 61756 w 124201"/>
                <a:gd name="connsiteY13" fmla="*/ 120061 h 134378"/>
                <a:gd name="connsiteX14" fmla="*/ 30188 w 124201"/>
                <a:gd name="connsiteY14" fmla="*/ 106606 h 134378"/>
                <a:gd name="connsiteX15" fmla="*/ 17595 w 124201"/>
                <a:gd name="connsiteY15" fmla="*/ 69518 h 134378"/>
                <a:gd name="connsiteX16" fmla="*/ 30878 w 124201"/>
                <a:gd name="connsiteY16" fmla="*/ 27600 h 134378"/>
                <a:gd name="connsiteX17" fmla="*/ 62273 w 124201"/>
                <a:gd name="connsiteY17" fmla="*/ 15008 h 134378"/>
                <a:gd name="connsiteX18" fmla="*/ 85388 w 124201"/>
                <a:gd name="connsiteY18" fmla="*/ 21391 h 134378"/>
                <a:gd name="connsiteX19" fmla="*/ 100913 w 124201"/>
                <a:gd name="connsiteY19" fmla="*/ 39848 h 134378"/>
                <a:gd name="connsiteX20" fmla="*/ 106261 w 124201"/>
                <a:gd name="connsiteY20" fmla="*/ 67621 h 134378"/>
                <a:gd name="connsiteX21" fmla="*/ 93668 w 124201"/>
                <a:gd name="connsiteY21" fmla="*/ 106261 h 1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201" h="134378">
                  <a:moveTo>
                    <a:pt x="94531" y="8625"/>
                  </a:moveTo>
                  <a:cubicBezTo>
                    <a:pt x="84871" y="2760"/>
                    <a:pt x="74003" y="0"/>
                    <a:pt x="62101" y="0"/>
                  </a:cubicBezTo>
                  <a:cubicBezTo>
                    <a:pt x="43643" y="0"/>
                    <a:pt x="28808" y="6210"/>
                    <a:pt x="17250" y="18458"/>
                  </a:cubicBezTo>
                  <a:cubicBezTo>
                    <a:pt x="5693" y="30705"/>
                    <a:pt x="0" y="47611"/>
                    <a:pt x="0" y="69173"/>
                  </a:cubicBezTo>
                  <a:cubicBezTo>
                    <a:pt x="0" y="80558"/>
                    <a:pt x="2587" y="91253"/>
                    <a:pt x="7763" y="101258"/>
                  </a:cubicBezTo>
                  <a:cubicBezTo>
                    <a:pt x="12765" y="111608"/>
                    <a:pt x="20010" y="119544"/>
                    <a:pt x="29498" y="125409"/>
                  </a:cubicBezTo>
                  <a:cubicBezTo>
                    <a:pt x="39158" y="131446"/>
                    <a:pt x="50025" y="134379"/>
                    <a:pt x="62273" y="134379"/>
                  </a:cubicBezTo>
                  <a:cubicBezTo>
                    <a:pt x="73658" y="134379"/>
                    <a:pt x="84008" y="131619"/>
                    <a:pt x="93841" y="126271"/>
                  </a:cubicBezTo>
                  <a:cubicBezTo>
                    <a:pt x="103501" y="120924"/>
                    <a:pt x="110918" y="113161"/>
                    <a:pt x="116266" y="102638"/>
                  </a:cubicBezTo>
                  <a:cubicBezTo>
                    <a:pt x="121614" y="92288"/>
                    <a:pt x="124201" y="80386"/>
                    <a:pt x="124201" y="67275"/>
                  </a:cubicBezTo>
                  <a:cubicBezTo>
                    <a:pt x="124201" y="54166"/>
                    <a:pt x="121786" y="42608"/>
                    <a:pt x="116783" y="32430"/>
                  </a:cubicBezTo>
                  <a:cubicBezTo>
                    <a:pt x="111436" y="22253"/>
                    <a:pt x="104191" y="14318"/>
                    <a:pt x="94531" y="8625"/>
                  </a:cubicBezTo>
                  <a:close/>
                  <a:moveTo>
                    <a:pt x="93668" y="106261"/>
                  </a:moveTo>
                  <a:cubicBezTo>
                    <a:pt x="85388" y="115403"/>
                    <a:pt x="74693" y="120061"/>
                    <a:pt x="61756" y="120061"/>
                  </a:cubicBezTo>
                  <a:cubicBezTo>
                    <a:pt x="49163" y="120061"/>
                    <a:pt x="38468" y="115576"/>
                    <a:pt x="30188" y="106606"/>
                  </a:cubicBezTo>
                  <a:cubicBezTo>
                    <a:pt x="21907" y="97636"/>
                    <a:pt x="17595" y="85216"/>
                    <a:pt x="17595" y="69518"/>
                  </a:cubicBezTo>
                  <a:cubicBezTo>
                    <a:pt x="17595" y="49853"/>
                    <a:pt x="22080" y="35881"/>
                    <a:pt x="30878" y="27600"/>
                  </a:cubicBezTo>
                  <a:cubicBezTo>
                    <a:pt x="39676" y="19320"/>
                    <a:pt x="50198" y="15008"/>
                    <a:pt x="62273" y="15008"/>
                  </a:cubicBezTo>
                  <a:cubicBezTo>
                    <a:pt x="70898" y="15008"/>
                    <a:pt x="78488" y="17078"/>
                    <a:pt x="85388" y="21391"/>
                  </a:cubicBezTo>
                  <a:cubicBezTo>
                    <a:pt x="92288" y="25875"/>
                    <a:pt x="97291" y="31913"/>
                    <a:pt x="100913" y="39848"/>
                  </a:cubicBezTo>
                  <a:cubicBezTo>
                    <a:pt x="104536" y="47783"/>
                    <a:pt x="106261" y="57271"/>
                    <a:pt x="106261" y="67621"/>
                  </a:cubicBezTo>
                  <a:cubicBezTo>
                    <a:pt x="106261" y="84181"/>
                    <a:pt x="101948" y="97118"/>
                    <a:pt x="93668" y="106261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3" name="Gráfico 1344">
              <a:extLst>
                <a:ext uri="{FF2B5EF4-FFF2-40B4-BE49-F238E27FC236}">
                  <a16:creationId xmlns:a16="http://schemas.microsoft.com/office/drawing/2014/main" id="{B69769E2-245D-413B-9548-8564E9665328}"/>
                </a:ext>
              </a:extLst>
            </p:cNvPr>
            <p:cNvSpPr/>
            <p:nvPr/>
          </p:nvSpPr>
          <p:spPr>
            <a:xfrm>
              <a:off x="8625299" y="4620589"/>
              <a:ext cx="124028" cy="130410"/>
            </a:xfrm>
            <a:custGeom>
              <a:avLst/>
              <a:gdLst>
                <a:gd name="connsiteX0" fmla="*/ 62963 w 124028"/>
                <a:gd name="connsiteY0" fmla="*/ 111781 h 130410"/>
                <a:gd name="connsiteX1" fmla="*/ 56753 w 124028"/>
                <a:gd name="connsiteY1" fmla="*/ 92460 h 130410"/>
                <a:gd name="connsiteX2" fmla="*/ 25875 w 124028"/>
                <a:gd name="connsiteY2" fmla="*/ 0 h 130410"/>
                <a:gd name="connsiteX3" fmla="*/ 0 w 124028"/>
                <a:gd name="connsiteY3" fmla="*/ 0 h 130410"/>
                <a:gd name="connsiteX4" fmla="*/ 0 w 124028"/>
                <a:gd name="connsiteY4" fmla="*/ 130411 h 130410"/>
                <a:gd name="connsiteX5" fmla="*/ 16733 w 124028"/>
                <a:gd name="connsiteY5" fmla="*/ 130411 h 130410"/>
                <a:gd name="connsiteX6" fmla="*/ 16733 w 124028"/>
                <a:gd name="connsiteY6" fmla="*/ 19320 h 130410"/>
                <a:gd name="connsiteX7" fmla="*/ 54338 w 124028"/>
                <a:gd name="connsiteY7" fmla="*/ 130411 h 130410"/>
                <a:gd name="connsiteX8" fmla="*/ 69691 w 124028"/>
                <a:gd name="connsiteY8" fmla="*/ 130411 h 130410"/>
                <a:gd name="connsiteX9" fmla="*/ 107296 w 124028"/>
                <a:gd name="connsiteY9" fmla="*/ 21218 h 130410"/>
                <a:gd name="connsiteX10" fmla="*/ 107296 w 124028"/>
                <a:gd name="connsiteY10" fmla="*/ 130411 h 130410"/>
                <a:gd name="connsiteX11" fmla="*/ 124028 w 124028"/>
                <a:gd name="connsiteY11" fmla="*/ 130411 h 130410"/>
                <a:gd name="connsiteX12" fmla="*/ 124028 w 124028"/>
                <a:gd name="connsiteY12" fmla="*/ 0 h 130410"/>
                <a:gd name="connsiteX13" fmla="*/ 100913 w 124028"/>
                <a:gd name="connsiteY13" fmla="*/ 0 h 130410"/>
                <a:gd name="connsiteX14" fmla="*/ 69863 w 124028"/>
                <a:gd name="connsiteY14" fmla="*/ 90736 h 130410"/>
                <a:gd name="connsiteX15" fmla="*/ 62963 w 124028"/>
                <a:gd name="connsiteY15" fmla="*/ 111781 h 13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028" h="130410">
                  <a:moveTo>
                    <a:pt x="62963" y="111781"/>
                  </a:moveTo>
                  <a:cubicBezTo>
                    <a:pt x="61756" y="107468"/>
                    <a:pt x="59686" y="101085"/>
                    <a:pt x="56753" y="92460"/>
                  </a:cubicBezTo>
                  <a:lnTo>
                    <a:pt x="25875" y="0"/>
                  </a:lnTo>
                  <a:lnTo>
                    <a:pt x="0" y="0"/>
                  </a:lnTo>
                  <a:lnTo>
                    <a:pt x="0" y="130411"/>
                  </a:lnTo>
                  <a:lnTo>
                    <a:pt x="16733" y="130411"/>
                  </a:lnTo>
                  <a:lnTo>
                    <a:pt x="16733" y="19320"/>
                  </a:lnTo>
                  <a:lnTo>
                    <a:pt x="54338" y="130411"/>
                  </a:lnTo>
                  <a:lnTo>
                    <a:pt x="69691" y="130411"/>
                  </a:lnTo>
                  <a:lnTo>
                    <a:pt x="107296" y="21218"/>
                  </a:lnTo>
                  <a:lnTo>
                    <a:pt x="107296" y="130411"/>
                  </a:lnTo>
                  <a:lnTo>
                    <a:pt x="124028" y="130411"/>
                  </a:lnTo>
                  <a:lnTo>
                    <a:pt x="124028" y="0"/>
                  </a:lnTo>
                  <a:lnTo>
                    <a:pt x="100913" y="0"/>
                  </a:lnTo>
                  <a:lnTo>
                    <a:pt x="69863" y="90736"/>
                  </a:lnTo>
                  <a:cubicBezTo>
                    <a:pt x="66758" y="100051"/>
                    <a:pt x="64516" y="106951"/>
                    <a:pt x="62963" y="111781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4" name="Gráfico 1344">
              <a:extLst>
                <a:ext uri="{FF2B5EF4-FFF2-40B4-BE49-F238E27FC236}">
                  <a16:creationId xmlns:a16="http://schemas.microsoft.com/office/drawing/2014/main" id="{CFA9731E-4BF0-4580-8375-FF2FD208A0F7}"/>
                </a:ext>
              </a:extLst>
            </p:cNvPr>
            <p:cNvSpPr/>
            <p:nvPr/>
          </p:nvSpPr>
          <p:spPr>
            <a:xfrm>
              <a:off x="8771925" y="4618346"/>
              <a:ext cx="120233" cy="134723"/>
            </a:xfrm>
            <a:custGeom>
              <a:avLst/>
              <a:gdLst>
                <a:gd name="connsiteX0" fmla="*/ 31740 w 120233"/>
                <a:gd name="connsiteY0" fmla="*/ 126616 h 134723"/>
                <a:gd name="connsiteX1" fmla="*/ 66586 w 120233"/>
                <a:gd name="connsiteY1" fmla="*/ 134723 h 134723"/>
                <a:gd name="connsiteX2" fmla="*/ 94186 w 120233"/>
                <a:gd name="connsiteY2" fmla="*/ 129549 h 134723"/>
                <a:gd name="connsiteX3" fmla="*/ 120233 w 120233"/>
                <a:gd name="connsiteY3" fmla="*/ 114368 h 134723"/>
                <a:gd name="connsiteX4" fmla="*/ 120233 w 120233"/>
                <a:gd name="connsiteY4" fmla="*/ 66240 h 134723"/>
                <a:gd name="connsiteX5" fmla="*/ 65205 w 120233"/>
                <a:gd name="connsiteY5" fmla="*/ 66240 h 134723"/>
                <a:gd name="connsiteX6" fmla="*/ 65205 w 120233"/>
                <a:gd name="connsiteY6" fmla="*/ 81421 h 134723"/>
                <a:gd name="connsiteX7" fmla="*/ 65205 w 120233"/>
                <a:gd name="connsiteY7" fmla="*/ 81765 h 134723"/>
                <a:gd name="connsiteX8" fmla="*/ 102811 w 120233"/>
                <a:gd name="connsiteY8" fmla="*/ 81765 h 134723"/>
                <a:gd name="connsiteX9" fmla="*/ 102811 w 120233"/>
                <a:gd name="connsiteY9" fmla="*/ 105916 h 134723"/>
                <a:gd name="connsiteX10" fmla="*/ 86768 w 120233"/>
                <a:gd name="connsiteY10" fmla="*/ 115059 h 134723"/>
                <a:gd name="connsiteX11" fmla="*/ 64861 w 120233"/>
                <a:gd name="connsiteY11" fmla="*/ 119371 h 134723"/>
                <a:gd name="connsiteX12" fmla="*/ 40711 w 120233"/>
                <a:gd name="connsiteY12" fmla="*/ 113851 h 134723"/>
                <a:gd name="connsiteX13" fmla="*/ 23460 w 120233"/>
                <a:gd name="connsiteY13" fmla="*/ 96256 h 134723"/>
                <a:gd name="connsiteX14" fmla="*/ 17423 w 120233"/>
                <a:gd name="connsiteY14" fmla="*/ 67103 h 134723"/>
                <a:gd name="connsiteX15" fmla="*/ 22425 w 120233"/>
                <a:gd name="connsiteY15" fmla="*/ 40883 h 134723"/>
                <a:gd name="connsiteX16" fmla="*/ 30533 w 120233"/>
                <a:gd name="connsiteY16" fmla="*/ 27945 h 134723"/>
                <a:gd name="connsiteX17" fmla="*/ 44506 w 120233"/>
                <a:gd name="connsiteY17" fmla="*/ 18458 h 134723"/>
                <a:gd name="connsiteX18" fmla="*/ 64861 w 120233"/>
                <a:gd name="connsiteY18" fmla="*/ 14835 h 134723"/>
                <a:gd name="connsiteX19" fmla="*/ 82801 w 120233"/>
                <a:gd name="connsiteY19" fmla="*/ 18285 h 134723"/>
                <a:gd name="connsiteX20" fmla="*/ 95221 w 120233"/>
                <a:gd name="connsiteY20" fmla="*/ 27255 h 134723"/>
                <a:gd name="connsiteX21" fmla="*/ 102466 w 120233"/>
                <a:gd name="connsiteY21" fmla="*/ 42953 h 134723"/>
                <a:gd name="connsiteX22" fmla="*/ 118163 w 120233"/>
                <a:gd name="connsiteY22" fmla="*/ 38640 h 134723"/>
                <a:gd name="connsiteX23" fmla="*/ 108331 w 120233"/>
                <a:gd name="connsiteY23" fmla="*/ 17250 h 134723"/>
                <a:gd name="connsiteX24" fmla="*/ 90563 w 120233"/>
                <a:gd name="connsiteY24" fmla="*/ 4657 h 134723"/>
                <a:gd name="connsiteX25" fmla="*/ 65033 w 120233"/>
                <a:gd name="connsiteY25" fmla="*/ 0 h 134723"/>
                <a:gd name="connsiteX26" fmla="*/ 30705 w 120233"/>
                <a:gd name="connsiteY26" fmla="*/ 7935 h 134723"/>
                <a:gd name="connsiteX27" fmla="*/ 7935 w 120233"/>
                <a:gd name="connsiteY27" fmla="*/ 32430 h 134723"/>
                <a:gd name="connsiteX28" fmla="*/ 0 w 120233"/>
                <a:gd name="connsiteY28" fmla="*/ 67966 h 134723"/>
                <a:gd name="connsiteX29" fmla="*/ 7935 w 120233"/>
                <a:gd name="connsiteY29" fmla="*/ 102638 h 134723"/>
                <a:gd name="connsiteX30" fmla="*/ 31740 w 120233"/>
                <a:gd name="connsiteY30" fmla="*/ 126616 h 134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0233" h="134723">
                  <a:moveTo>
                    <a:pt x="31740" y="126616"/>
                  </a:moveTo>
                  <a:cubicBezTo>
                    <a:pt x="42263" y="131963"/>
                    <a:pt x="53820" y="134723"/>
                    <a:pt x="66586" y="134723"/>
                  </a:cubicBezTo>
                  <a:cubicBezTo>
                    <a:pt x="76073" y="134723"/>
                    <a:pt x="85216" y="132998"/>
                    <a:pt x="94186" y="129549"/>
                  </a:cubicBezTo>
                  <a:cubicBezTo>
                    <a:pt x="103156" y="126098"/>
                    <a:pt x="111781" y="120924"/>
                    <a:pt x="120233" y="114368"/>
                  </a:cubicBezTo>
                  <a:lnTo>
                    <a:pt x="120233" y="66240"/>
                  </a:lnTo>
                  <a:lnTo>
                    <a:pt x="65205" y="66240"/>
                  </a:lnTo>
                  <a:lnTo>
                    <a:pt x="65205" y="81421"/>
                  </a:lnTo>
                  <a:lnTo>
                    <a:pt x="65205" y="81765"/>
                  </a:lnTo>
                  <a:lnTo>
                    <a:pt x="102811" y="81765"/>
                  </a:lnTo>
                  <a:lnTo>
                    <a:pt x="102811" y="105916"/>
                  </a:lnTo>
                  <a:cubicBezTo>
                    <a:pt x="99188" y="109194"/>
                    <a:pt x="93841" y="112298"/>
                    <a:pt x="86768" y="115059"/>
                  </a:cubicBezTo>
                  <a:cubicBezTo>
                    <a:pt x="79695" y="117819"/>
                    <a:pt x="72451" y="119371"/>
                    <a:pt x="64861" y="119371"/>
                  </a:cubicBezTo>
                  <a:cubicBezTo>
                    <a:pt x="56236" y="119371"/>
                    <a:pt x="48128" y="117646"/>
                    <a:pt x="40711" y="113851"/>
                  </a:cubicBezTo>
                  <a:cubicBezTo>
                    <a:pt x="33293" y="110056"/>
                    <a:pt x="27255" y="104191"/>
                    <a:pt x="23460" y="96256"/>
                  </a:cubicBezTo>
                  <a:cubicBezTo>
                    <a:pt x="19320" y="88321"/>
                    <a:pt x="17423" y="78661"/>
                    <a:pt x="17423" y="67103"/>
                  </a:cubicBezTo>
                  <a:cubicBezTo>
                    <a:pt x="17423" y="57615"/>
                    <a:pt x="19148" y="48818"/>
                    <a:pt x="22425" y="40883"/>
                  </a:cubicBezTo>
                  <a:cubicBezTo>
                    <a:pt x="24323" y="36225"/>
                    <a:pt x="27083" y="31913"/>
                    <a:pt x="30533" y="27945"/>
                  </a:cubicBezTo>
                  <a:cubicBezTo>
                    <a:pt x="34155" y="24150"/>
                    <a:pt x="38641" y="20873"/>
                    <a:pt x="44506" y="18458"/>
                  </a:cubicBezTo>
                  <a:cubicBezTo>
                    <a:pt x="50025" y="15870"/>
                    <a:pt x="56926" y="14835"/>
                    <a:pt x="64861" y="14835"/>
                  </a:cubicBezTo>
                  <a:cubicBezTo>
                    <a:pt x="71416" y="14835"/>
                    <a:pt x="77453" y="15870"/>
                    <a:pt x="82801" y="18285"/>
                  </a:cubicBezTo>
                  <a:cubicBezTo>
                    <a:pt x="88148" y="20355"/>
                    <a:pt x="92288" y="23460"/>
                    <a:pt x="95221" y="27255"/>
                  </a:cubicBezTo>
                  <a:cubicBezTo>
                    <a:pt x="98153" y="31050"/>
                    <a:pt x="100569" y="36225"/>
                    <a:pt x="102466" y="42953"/>
                  </a:cubicBezTo>
                  <a:lnTo>
                    <a:pt x="118163" y="38640"/>
                  </a:lnTo>
                  <a:cubicBezTo>
                    <a:pt x="116094" y="29843"/>
                    <a:pt x="112643" y="22598"/>
                    <a:pt x="108331" y="17250"/>
                  </a:cubicBezTo>
                  <a:cubicBezTo>
                    <a:pt x="104018" y="11903"/>
                    <a:pt x="97981" y="7590"/>
                    <a:pt x="90563" y="4657"/>
                  </a:cubicBezTo>
                  <a:cubicBezTo>
                    <a:pt x="83146" y="1380"/>
                    <a:pt x="74521" y="0"/>
                    <a:pt x="65033" y="0"/>
                  </a:cubicBezTo>
                  <a:cubicBezTo>
                    <a:pt x="52268" y="0"/>
                    <a:pt x="40883" y="2760"/>
                    <a:pt x="30705" y="7935"/>
                  </a:cubicBezTo>
                  <a:cubicBezTo>
                    <a:pt x="20873" y="13282"/>
                    <a:pt x="13283" y="21390"/>
                    <a:pt x="7935" y="32430"/>
                  </a:cubicBezTo>
                  <a:cubicBezTo>
                    <a:pt x="2587" y="43643"/>
                    <a:pt x="0" y="55373"/>
                    <a:pt x="0" y="67966"/>
                  </a:cubicBezTo>
                  <a:cubicBezTo>
                    <a:pt x="0" y="80903"/>
                    <a:pt x="2587" y="92461"/>
                    <a:pt x="7935" y="102638"/>
                  </a:cubicBezTo>
                  <a:cubicBezTo>
                    <a:pt x="13455" y="113333"/>
                    <a:pt x="21391" y="121096"/>
                    <a:pt x="31740" y="126616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5" name="Gráfico 1344">
              <a:extLst>
                <a:ext uri="{FF2B5EF4-FFF2-40B4-BE49-F238E27FC236}">
                  <a16:creationId xmlns:a16="http://schemas.microsoft.com/office/drawing/2014/main" id="{E3F05D7D-B750-41F4-AB68-B6F60E91BC33}"/>
                </a:ext>
              </a:extLst>
            </p:cNvPr>
            <p:cNvSpPr/>
            <p:nvPr/>
          </p:nvSpPr>
          <p:spPr>
            <a:xfrm>
              <a:off x="8010332" y="5504830"/>
              <a:ext cx="103328" cy="134723"/>
            </a:xfrm>
            <a:custGeom>
              <a:avLst/>
              <a:gdLst>
                <a:gd name="connsiteX0" fmla="*/ 81593 w 103328"/>
                <a:gd name="connsiteY0" fmla="*/ 63480 h 134723"/>
                <a:gd name="connsiteX1" fmla="*/ 52958 w 103328"/>
                <a:gd name="connsiteY1" fmla="*/ 55200 h 134723"/>
                <a:gd name="connsiteX2" fmla="*/ 27083 w 103328"/>
                <a:gd name="connsiteY2" fmla="*/ 46058 h 134723"/>
                <a:gd name="connsiteX3" fmla="*/ 21907 w 103328"/>
                <a:gd name="connsiteY3" fmla="*/ 34500 h 134723"/>
                <a:gd name="connsiteX4" fmla="*/ 28980 w 103328"/>
                <a:gd name="connsiteY4" fmla="*/ 20873 h 134723"/>
                <a:gd name="connsiteX5" fmla="*/ 51578 w 103328"/>
                <a:gd name="connsiteY5" fmla="*/ 15180 h 134723"/>
                <a:gd name="connsiteX6" fmla="*/ 74175 w 103328"/>
                <a:gd name="connsiteY6" fmla="*/ 21390 h 134723"/>
                <a:gd name="connsiteX7" fmla="*/ 83146 w 103328"/>
                <a:gd name="connsiteY7" fmla="*/ 40020 h 134723"/>
                <a:gd name="connsiteX8" fmla="*/ 99533 w 103328"/>
                <a:gd name="connsiteY8" fmla="*/ 38813 h 134723"/>
                <a:gd name="connsiteX9" fmla="*/ 93151 w 103328"/>
                <a:gd name="connsiteY9" fmla="*/ 18285 h 134723"/>
                <a:gd name="connsiteX10" fmla="*/ 76246 w 103328"/>
                <a:gd name="connsiteY10" fmla="*/ 4657 h 134723"/>
                <a:gd name="connsiteX11" fmla="*/ 50715 w 103328"/>
                <a:gd name="connsiteY11" fmla="*/ 0 h 134723"/>
                <a:gd name="connsiteX12" fmla="*/ 26910 w 103328"/>
                <a:gd name="connsiteY12" fmla="*/ 4485 h 134723"/>
                <a:gd name="connsiteX13" fmla="*/ 10523 w 103328"/>
                <a:gd name="connsiteY13" fmla="*/ 17595 h 134723"/>
                <a:gd name="connsiteX14" fmla="*/ 5003 w 103328"/>
                <a:gd name="connsiteY14" fmla="*/ 35880 h 134723"/>
                <a:gd name="connsiteX15" fmla="*/ 9487 w 103328"/>
                <a:gd name="connsiteY15" fmla="*/ 52095 h 134723"/>
                <a:gd name="connsiteX16" fmla="*/ 23460 w 103328"/>
                <a:gd name="connsiteY16" fmla="*/ 64343 h 134723"/>
                <a:gd name="connsiteX17" fmla="*/ 48473 w 103328"/>
                <a:gd name="connsiteY17" fmla="*/ 72450 h 134723"/>
                <a:gd name="connsiteX18" fmla="*/ 71588 w 103328"/>
                <a:gd name="connsiteY18" fmla="*/ 78661 h 134723"/>
                <a:gd name="connsiteX19" fmla="*/ 83318 w 103328"/>
                <a:gd name="connsiteY19" fmla="*/ 86423 h 134723"/>
                <a:gd name="connsiteX20" fmla="*/ 86768 w 103328"/>
                <a:gd name="connsiteY20" fmla="*/ 97118 h 134723"/>
                <a:gd name="connsiteX21" fmla="*/ 83146 w 103328"/>
                <a:gd name="connsiteY21" fmla="*/ 108158 h 134723"/>
                <a:gd name="connsiteX22" fmla="*/ 71761 w 103328"/>
                <a:gd name="connsiteY22" fmla="*/ 116093 h 134723"/>
                <a:gd name="connsiteX23" fmla="*/ 54510 w 103328"/>
                <a:gd name="connsiteY23" fmla="*/ 119026 h 134723"/>
                <a:gd name="connsiteX24" fmla="*/ 34673 w 103328"/>
                <a:gd name="connsiteY24" fmla="*/ 115231 h 134723"/>
                <a:gd name="connsiteX25" fmla="*/ 21563 w 103328"/>
                <a:gd name="connsiteY25" fmla="*/ 105053 h 134723"/>
                <a:gd name="connsiteX26" fmla="*/ 16215 w 103328"/>
                <a:gd name="connsiteY26" fmla="*/ 89010 h 134723"/>
                <a:gd name="connsiteX27" fmla="*/ 0 w 103328"/>
                <a:gd name="connsiteY27" fmla="*/ 90563 h 134723"/>
                <a:gd name="connsiteX28" fmla="*/ 7417 w 103328"/>
                <a:gd name="connsiteY28" fmla="*/ 114196 h 134723"/>
                <a:gd name="connsiteX29" fmla="*/ 26048 w 103328"/>
                <a:gd name="connsiteY29" fmla="*/ 129548 h 134723"/>
                <a:gd name="connsiteX30" fmla="*/ 55545 w 103328"/>
                <a:gd name="connsiteY30" fmla="*/ 134723 h 134723"/>
                <a:gd name="connsiteX31" fmla="*/ 80558 w 103328"/>
                <a:gd name="connsiteY31" fmla="*/ 129548 h 134723"/>
                <a:gd name="connsiteX32" fmla="*/ 97636 w 103328"/>
                <a:gd name="connsiteY32" fmla="*/ 115231 h 134723"/>
                <a:gd name="connsiteX33" fmla="*/ 103328 w 103328"/>
                <a:gd name="connsiteY33" fmla="*/ 95738 h 134723"/>
                <a:gd name="connsiteX34" fmla="*/ 97981 w 103328"/>
                <a:gd name="connsiteY34" fmla="*/ 77108 h 134723"/>
                <a:gd name="connsiteX35" fmla="*/ 81593 w 103328"/>
                <a:gd name="connsiteY35" fmla="*/ 63480 h 134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3328" h="134723">
                  <a:moveTo>
                    <a:pt x="81593" y="63480"/>
                  </a:moveTo>
                  <a:cubicBezTo>
                    <a:pt x="76418" y="61065"/>
                    <a:pt x="66758" y="58305"/>
                    <a:pt x="52958" y="55200"/>
                  </a:cubicBezTo>
                  <a:cubicBezTo>
                    <a:pt x="38985" y="52268"/>
                    <a:pt x="30533" y="48990"/>
                    <a:pt x="27083" y="46058"/>
                  </a:cubicBezTo>
                  <a:cubicBezTo>
                    <a:pt x="23633" y="43125"/>
                    <a:pt x="21907" y="39158"/>
                    <a:pt x="21907" y="34500"/>
                  </a:cubicBezTo>
                  <a:cubicBezTo>
                    <a:pt x="21907" y="29153"/>
                    <a:pt x="24323" y="24668"/>
                    <a:pt x="28980" y="20873"/>
                  </a:cubicBezTo>
                  <a:cubicBezTo>
                    <a:pt x="33638" y="17077"/>
                    <a:pt x="41228" y="15180"/>
                    <a:pt x="51578" y="15180"/>
                  </a:cubicBezTo>
                  <a:cubicBezTo>
                    <a:pt x="61583" y="15180"/>
                    <a:pt x="69173" y="17077"/>
                    <a:pt x="74175" y="21390"/>
                  </a:cubicBezTo>
                  <a:cubicBezTo>
                    <a:pt x="79178" y="25703"/>
                    <a:pt x="82283" y="31912"/>
                    <a:pt x="83146" y="40020"/>
                  </a:cubicBezTo>
                  <a:lnTo>
                    <a:pt x="99533" y="38813"/>
                  </a:lnTo>
                  <a:cubicBezTo>
                    <a:pt x="99361" y="31050"/>
                    <a:pt x="97118" y="24322"/>
                    <a:pt x="93151" y="18285"/>
                  </a:cubicBezTo>
                  <a:cubicBezTo>
                    <a:pt x="89356" y="12247"/>
                    <a:pt x="83491" y="7590"/>
                    <a:pt x="76246" y="4657"/>
                  </a:cubicBezTo>
                  <a:cubicBezTo>
                    <a:pt x="69001" y="1380"/>
                    <a:pt x="60375" y="0"/>
                    <a:pt x="50715" y="0"/>
                  </a:cubicBezTo>
                  <a:cubicBezTo>
                    <a:pt x="41918" y="0"/>
                    <a:pt x="33983" y="1552"/>
                    <a:pt x="26910" y="4485"/>
                  </a:cubicBezTo>
                  <a:cubicBezTo>
                    <a:pt x="19665" y="7417"/>
                    <a:pt x="14318" y="11730"/>
                    <a:pt x="10523" y="17595"/>
                  </a:cubicBezTo>
                  <a:cubicBezTo>
                    <a:pt x="6900" y="23287"/>
                    <a:pt x="5003" y="29325"/>
                    <a:pt x="5003" y="35880"/>
                  </a:cubicBezTo>
                  <a:cubicBezTo>
                    <a:pt x="5003" y="41918"/>
                    <a:pt x="6555" y="47438"/>
                    <a:pt x="9487" y="52095"/>
                  </a:cubicBezTo>
                  <a:cubicBezTo>
                    <a:pt x="12765" y="56925"/>
                    <a:pt x="17250" y="61065"/>
                    <a:pt x="23460" y="64343"/>
                  </a:cubicBezTo>
                  <a:cubicBezTo>
                    <a:pt x="28118" y="66930"/>
                    <a:pt x="36570" y="69690"/>
                    <a:pt x="48473" y="72450"/>
                  </a:cubicBezTo>
                  <a:cubicBezTo>
                    <a:pt x="60375" y="75210"/>
                    <a:pt x="68138" y="77280"/>
                    <a:pt x="71588" y="78661"/>
                  </a:cubicBezTo>
                  <a:cubicBezTo>
                    <a:pt x="77108" y="80730"/>
                    <a:pt x="81076" y="83318"/>
                    <a:pt x="83318" y="86423"/>
                  </a:cubicBezTo>
                  <a:cubicBezTo>
                    <a:pt x="85733" y="89356"/>
                    <a:pt x="86768" y="92978"/>
                    <a:pt x="86768" y="97118"/>
                  </a:cubicBezTo>
                  <a:cubicBezTo>
                    <a:pt x="86768" y="101258"/>
                    <a:pt x="85560" y="104881"/>
                    <a:pt x="83146" y="108158"/>
                  </a:cubicBezTo>
                  <a:cubicBezTo>
                    <a:pt x="80558" y="111608"/>
                    <a:pt x="76763" y="114196"/>
                    <a:pt x="71761" y="116093"/>
                  </a:cubicBezTo>
                  <a:cubicBezTo>
                    <a:pt x="66758" y="117991"/>
                    <a:pt x="61066" y="119026"/>
                    <a:pt x="54510" y="119026"/>
                  </a:cubicBezTo>
                  <a:cubicBezTo>
                    <a:pt x="47265" y="119026"/>
                    <a:pt x="40538" y="117818"/>
                    <a:pt x="34673" y="115231"/>
                  </a:cubicBezTo>
                  <a:cubicBezTo>
                    <a:pt x="28980" y="112471"/>
                    <a:pt x="24323" y="109193"/>
                    <a:pt x="21563" y="105053"/>
                  </a:cubicBezTo>
                  <a:cubicBezTo>
                    <a:pt x="18803" y="100913"/>
                    <a:pt x="17077" y="95393"/>
                    <a:pt x="16215" y="89010"/>
                  </a:cubicBezTo>
                  <a:lnTo>
                    <a:pt x="0" y="90563"/>
                  </a:lnTo>
                  <a:cubicBezTo>
                    <a:pt x="173" y="99188"/>
                    <a:pt x="2587" y="106950"/>
                    <a:pt x="7417" y="114196"/>
                  </a:cubicBezTo>
                  <a:cubicBezTo>
                    <a:pt x="11903" y="121096"/>
                    <a:pt x="18112" y="126098"/>
                    <a:pt x="26048" y="129548"/>
                  </a:cubicBezTo>
                  <a:cubicBezTo>
                    <a:pt x="33983" y="132998"/>
                    <a:pt x="43815" y="134723"/>
                    <a:pt x="55545" y="134723"/>
                  </a:cubicBezTo>
                  <a:cubicBezTo>
                    <a:pt x="64688" y="134723"/>
                    <a:pt x="73140" y="132998"/>
                    <a:pt x="80558" y="129548"/>
                  </a:cubicBezTo>
                  <a:cubicBezTo>
                    <a:pt x="87976" y="126098"/>
                    <a:pt x="93841" y="121441"/>
                    <a:pt x="97636" y="115231"/>
                  </a:cubicBezTo>
                  <a:cubicBezTo>
                    <a:pt x="101431" y="109193"/>
                    <a:pt x="103328" y="102638"/>
                    <a:pt x="103328" y="95738"/>
                  </a:cubicBezTo>
                  <a:cubicBezTo>
                    <a:pt x="103328" y="88665"/>
                    <a:pt x="101603" y="82456"/>
                    <a:pt x="97981" y="77108"/>
                  </a:cubicBezTo>
                  <a:cubicBezTo>
                    <a:pt x="94703" y="71415"/>
                    <a:pt x="89183" y="66930"/>
                    <a:pt x="81593" y="63480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6" name="Gráfico 1344">
              <a:extLst>
                <a:ext uri="{FF2B5EF4-FFF2-40B4-BE49-F238E27FC236}">
                  <a16:creationId xmlns:a16="http://schemas.microsoft.com/office/drawing/2014/main" id="{CE918582-5E17-4C21-BA58-D3522E61F80A}"/>
                </a:ext>
              </a:extLst>
            </p:cNvPr>
            <p:cNvSpPr/>
            <p:nvPr/>
          </p:nvSpPr>
          <p:spPr>
            <a:xfrm>
              <a:off x="8136948" y="5508798"/>
              <a:ext cx="99360" cy="128340"/>
            </a:xfrm>
            <a:custGeom>
              <a:avLst/>
              <a:gdLst>
                <a:gd name="connsiteX0" fmla="*/ 84871 w 99360"/>
                <a:gd name="connsiteY0" fmla="*/ 7245 h 128340"/>
                <a:gd name="connsiteX1" fmla="*/ 68828 w 99360"/>
                <a:gd name="connsiteY1" fmla="*/ 1208 h 128340"/>
                <a:gd name="connsiteX2" fmla="*/ 49163 w 99360"/>
                <a:gd name="connsiteY2" fmla="*/ 0 h 128340"/>
                <a:gd name="connsiteX3" fmla="*/ 0 w 99360"/>
                <a:gd name="connsiteY3" fmla="*/ 0 h 128340"/>
                <a:gd name="connsiteX4" fmla="*/ 0 w 99360"/>
                <a:gd name="connsiteY4" fmla="*/ 128168 h 128340"/>
                <a:gd name="connsiteX5" fmla="*/ 0 w 99360"/>
                <a:gd name="connsiteY5" fmla="*/ 128341 h 128340"/>
                <a:gd name="connsiteX6" fmla="*/ 17250 w 99360"/>
                <a:gd name="connsiteY6" fmla="*/ 128341 h 128340"/>
                <a:gd name="connsiteX7" fmla="*/ 17250 w 99360"/>
                <a:gd name="connsiteY7" fmla="*/ 76246 h 128340"/>
                <a:gd name="connsiteX8" fmla="*/ 50715 w 99360"/>
                <a:gd name="connsiteY8" fmla="*/ 76246 h 128340"/>
                <a:gd name="connsiteX9" fmla="*/ 88838 w 99360"/>
                <a:gd name="connsiteY9" fmla="*/ 64861 h 128340"/>
                <a:gd name="connsiteX10" fmla="*/ 99361 w 99360"/>
                <a:gd name="connsiteY10" fmla="*/ 37260 h 128340"/>
                <a:gd name="connsiteX11" fmla="*/ 95566 w 99360"/>
                <a:gd name="connsiteY11" fmla="*/ 19665 h 128340"/>
                <a:gd name="connsiteX12" fmla="*/ 84871 w 99360"/>
                <a:gd name="connsiteY12" fmla="*/ 7245 h 128340"/>
                <a:gd name="connsiteX13" fmla="*/ 74521 w 99360"/>
                <a:gd name="connsiteY13" fmla="*/ 54510 h 128340"/>
                <a:gd name="connsiteX14" fmla="*/ 50715 w 99360"/>
                <a:gd name="connsiteY14" fmla="*/ 60548 h 128340"/>
                <a:gd name="connsiteX15" fmla="*/ 17250 w 99360"/>
                <a:gd name="connsiteY15" fmla="*/ 60548 h 128340"/>
                <a:gd name="connsiteX16" fmla="*/ 17250 w 99360"/>
                <a:gd name="connsiteY16" fmla="*/ 14663 h 128340"/>
                <a:gd name="connsiteX17" fmla="*/ 50543 w 99360"/>
                <a:gd name="connsiteY17" fmla="*/ 14663 h 128340"/>
                <a:gd name="connsiteX18" fmla="*/ 66586 w 99360"/>
                <a:gd name="connsiteY18" fmla="*/ 15698 h 128340"/>
                <a:gd name="connsiteX19" fmla="*/ 77453 w 99360"/>
                <a:gd name="connsiteY19" fmla="*/ 23288 h 128340"/>
                <a:gd name="connsiteX20" fmla="*/ 81593 w 99360"/>
                <a:gd name="connsiteY20" fmla="*/ 37088 h 128340"/>
                <a:gd name="connsiteX21" fmla="*/ 74521 w 99360"/>
                <a:gd name="connsiteY21" fmla="*/ 54510 h 12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360" h="128340">
                  <a:moveTo>
                    <a:pt x="84871" y="7245"/>
                  </a:moveTo>
                  <a:cubicBezTo>
                    <a:pt x="80558" y="4140"/>
                    <a:pt x="75038" y="2243"/>
                    <a:pt x="68828" y="1208"/>
                  </a:cubicBezTo>
                  <a:cubicBezTo>
                    <a:pt x="64343" y="345"/>
                    <a:pt x="57615" y="0"/>
                    <a:pt x="49163" y="0"/>
                  </a:cubicBezTo>
                  <a:lnTo>
                    <a:pt x="0" y="0"/>
                  </a:lnTo>
                  <a:lnTo>
                    <a:pt x="0" y="128168"/>
                  </a:lnTo>
                  <a:lnTo>
                    <a:pt x="0" y="128341"/>
                  </a:lnTo>
                  <a:lnTo>
                    <a:pt x="17250" y="128341"/>
                  </a:lnTo>
                  <a:lnTo>
                    <a:pt x="17250" y="76246"/>
                  </a:lnTo>
                  <a:lnTo>
                    <a:pt x="50715" y="76246"/>
                  </a:lnTo>
                  <a:cubicBezTo>
                    <a:pt x="69173" y="76246"/>
                    <a:pt x="81766" y="72451"/>
                    <a:pt x="88838" y="64861"/>
                  </a:cubicBezTo>
                  <a:cubicBezTo>
                    <a:pt x="95911" y="57271"/>
                    <a:pt x="99361" y="48128"/>
                    <a:pt x="99361" y="37260"/>
                  </a:cubicBezTo>
                  <a:cubicBezTo>
                    <a:pt x="99361" y="30878"/>
                    <a:pt x="98153" y="25013"/>
                    <a:pt x="95566" y="19665"/>
                  </a:cubicBezTo>
                  <a:cubicBezTo>
                    <a:pt x="92461" y="14318"/>
                    <a:pt x="89183" y="10178"/>
                    <a:pt x="84871" y="7245"/>
                  </a:cubicBezTo>
                  <a:close/>
                  <a:moveTo>
                    <a:pt x="74521" y="54510"/>
                  </a:moveTo>
                  <a:cubicBezTo>
                    <a:pt x="69863" y="58478"/>
                    <a:pt x="61928" y="60548"/>
                    <a:pt x="50715" y="60548"/>
                  </a:cubicBezTo>
                  <a:lnTo>
                    <a:pt x="17250" y="60548"/>
                  </a:lnTo>
                  <a:lnTo>
                    <a:pt x="17250" y="14663"/>
                  </a:lnTo>
                  <a:lnTo>
                    <a:pt x="50543" y="14663"/>
                  </a:lnTo>
                  <a:cubicBezTo>
                    <a:pt x="58478" y="14663"/>
                    <a:pt x="63653" y="15008"/>
                    <a:pt x="66586" y="15698"/>
                  </a:cubicBezTo>
                  <a:cubicBezTo>
                    <a:pt x="71070" y="16905"/>
                    <a:pt x="74693" y="19493"/>
                    <a:pt x="77453" y="23288"/>
                  </a:cubicBezTo>
                  <a:cubicBezTo>
                    <a:pt x="80041" y="27083"/>
                    <a:pt x="81593" y="31740"/>
                    <a:pt x="81593" y="37088"/>
                  </a:cubicBezTo>
                  <a:cubicBezTo>
                    <a:pt x="81593" y="44850"/>
                    <a:pt x="79178" y="50543"/>
                    <a:pt x="74521" y="54510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7" name="Gráfico 1344">
              <a:extLst>
                <a:ext uri="{FF2B5EF4-FFF2-40B4-BE49-F238E27FC236}">
                  <a16:creationId xmlns:a16="http://schemas.microsoft.com/office/drawing/2014/main" id="{F0480A8D-7D4D-455B-9C1D-8AE286BCD5B7}"/>
                </a:ext>
              </a:extLst>
            </p:cNvPr>
            <p:cNvSpPr/>
            <p:nvPr/>
          </p:nvSpPr>
          <p:spPr>
            <a:xfrm>
              <a:off x="9384987" y="5457047"/>
              <a:ext cx="70387" cy="130238"/>
            </a:xfrm>
            <a:custGeom>
              <a:avLst/>
              <a:gdLst>
                <a:gd name="connsiteX0" fmla="*/ 34335 w 70387"/>
                <a:gd name="connsiteY0" fmla="*/ 130239 h 130238"/>
                <a:gd name="connsiteX1" fmla="*/ 54173 w 70387"/>
                <a:gd name="connsiteY1" fmla="*/ 125581 h 130238"/>
                <a:gd name="connsiteX2" fmla="*/ 66420 w 70387"/>
                <a:gd name="connsiteY2" fmla="*/ 112126 h 130238"/>
                <a:gd name="connsiteX3" fmla="*/ 70387 w 70387"/>
                <a:gd name="connsiteY3" fmla="*/ 87286 h 130238"/>
                <a:gd name="connsiteX4" fmla="*/ 70387 w 70387"/>
                <a:gd name="connsiteY4" fmla="*/ 0 h 130238"/>
                <a:gd name="connsiteX5" fmla="*/ 53483 w 70387"/>
                <a:gd name="connsiteY5" fmla="*/ 0 h 130238"/>
                <a:gd name="connsiteX6" fmla="*/ 53483 w 70387"/>
                <a:gd name="connsiteY6" fmla="*/ 88493 h 130238"/>
                <a:gd name="connsiteX7" fmla="*/ 51758 w 70387"/>
                <a:gd name="connsiteY7" fmla="*/ 104536 h 130238"/>
                <a:gd name="connsiteX8" fmla="*/ 45202 w 70387"/>
                <a:gd name="connsiteY8" fmla="*/ 112471 h 130238"/>
                <a:gd name="connsiteX9" fmla="*/ 34163 w 70387"/>
                <a:gd name="connsiteY9" fmla="*/ 115403 h 130238"/>
                <a:gd name="connsiteX10" fmla="*/ 20708 w 70387"/>
                <a:gd name="connsiteY10" fmla="*/ 109883 h 130238"/>
                <a:gd name="connsiteX11" fmla="*/ 15187 w 70387"/>
                <a:gd name="connsiteY11" fmla="*/ 89874 h 130238"/>
                <a:gd name="connsiteX12" fmla="*/ 7 w 70387"/>
                <a:gd name="connsiteY12" fmla="*/ 91943 h 130238"/>
                <a:gd name="connsiteX13" fmla="*/ 8460 w 70387"/>
                <a:gd name="connsiteY13" fmla="*/ 120579 h 130238"/>
                <a:gd name="connsiteX14" fmla="*/ 34335 w 70387"/>
                <a:gd name="connsiteY14" fmla="*/ 130239 h 13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387" h="130238">
                  <a:moveTo>
                    <a:pt x="34335" y="130239"/>
                  </a:moveTo>
                  <a:cubicBezTo>
                    <a:pt x="41925" y="130239"/>
                    <a:pt x="48480" y="128514"/>
                    <a:pt x="54173" y="125581"/>
                  </a:cubicBezTo>
                  <a:cubicBezTo>
                    <a:pt x="59692" y="122476"/>
                    <a:pt x="63833" y="117991"/>
                    <a:pt x="66420" y="112126"/>
                  </a:cubicBezTo>
                  <a:cubicBezTo>
                    <a:pt x="69180" y="106261"/>
                    <a:pt x="70387" y="97981"/>
                    <a:pt x="70387" y="87286"/>
                  </a:cubicBezTo>
                  <a:lnTo>
                    <a:pt x="70387" y="0"/>
                  </a:lnTo>
                  <a:lnTo>
                    <a:pt x="53483" y="0"/>
                  </a:lnTo>
                  <a:lnTo>
                    <a:pt x="53483" y="88493"/>
                  </a:lnTo>
                  <a:cubicBezTo>
                    <a:pt x="53483" y="95911"/>
                    <a:pt x="52793" y="101086"/>
                    <a:pt x="51758" y="104536"/>
                  </a:cubicBezTo>
                  <a:cubicBezTo>
                    <a:pt x="50550" y="107986"/>
                    <a:pt x="48307" y="110573"/>
                    <a:pt x="45202" y="112471"/>
                  </a:cubicBezTo>
                  <a:cubicBezTo>
                    <a:pt x="42270" y="114368"/>
                    <a:pt x="38475" y="115403"/>
                    <a:pt x="34163" y="115403"/>
                  </a:cubicBezTo>
                  <a:cubicBezTo>
                    <a:pt x="28470" y="115403"/>
                    <a:pt x="23812" y="113506"/>
                    <a:pt x="20708" y="109883"/>
                  </a:cubicBezTo>
                  <a:cubicBezTo>
                    <a:pt x="17602" y="106261"/>
                    <a:pt x="15705" y="99534"/>
                    <a:pt x="15187" y="89874"/>
                  </a:cubicBezTo>
                  <a:lnTo>
                    <a:pt x="7" y="91943"/>
                  </a:lnTo>
                  <a:cubicBezTo>
                    <a:pt x="-165" y="104881"/>
                    <a:pt x="2767" y="114368"/>
                    <a:pt x="8460" y="120579"/>
                  </a:cubicBezTo>
                  <a:cubicBezTo>
                    <a:pt x="14325" y="127133"/>
                    <a:pt x="23122" y="130239"/>
                    <a:pt x="34335" y="130239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8" name="Gráfico 1344">
              <a:extLst>
                <a:ext uri="{FF2B5EF4-FFF2-40B4-BE49-F238E27FC236}">
                  <a16:creationId xmlns:a16="http://schemas.microsoft.com/office/drawing/2014/main" id="{6058314C-A1AF-413C-923D-BA9A9224338E}"/>
                </a:ext>
              </a:extLst>
            </p:cNvPr>
            <p:cNvSpPr/>
            <p:nvPr/>
          </p:nvSpPr>
          <p:spPr>
            <a:xfrm>
              <a:off x="9666516" y="5133953"/>
              <a:ext cx="97290" cy="128340"/>
            </a:xfrm>
            <a:custGeom>
              <a:avLst/>
              <a:gdLst>
                <a:gd name="connsiteX0" fmla="*/ 17250 w 97290"/>
                <a:gd name="connsiteY0" fmla="*/ 69518 h 128340"/>
                <a:gd name="connsiteX1" fmla="*/ 89356 w 97290"/>
                <a:gd name="connsiteY1" fmla="*/ 69518 h 128340"/>
                <a:gd name="connsiteX2" fmla="*/ 89356 w 97290"/>
                <a:gd name="connsiteY2" fmla="*/ 54510 h 128340"/>
                <a:gd name="connsiteX3" fmla="*/ 17250 w 97290"/>
                <a:gd name="connsiteY3" fmla="*/ 54510 h 128340"/>
                <a:gd name="connsiteX4" fmla="*/ 17250 w 97290"/>
                <a:gd name="connsiteY4" fmla="*/ 15180 h 128340"/>
                <a:gd name="connsiteX5" fmla="*/ 94358 w 97290"/>
                <a:gd name="connsiteY5" fmla="*/ 15180 h 128340"/>
                <a:gd name="connsiteX6" fmla="*/ 94358 w 97290"/>
                <a:gd name="connsiteY6" fmla="*/ 0 h 128340"/>
                <a:gd name="connsiteX7" fmla="*/ 0 w 97290"/>
                <a:gd name="connsiteY7" fmla="*/ 0 h 128340"/>
                <a:gd name="connsiteX8" fmla="*/ 0 w 97290"/>
                <a:gd name="connsiteY8" fmla="*/ 128341 h 128340"/>
                <a:gd name="connsiteX9" fmla="*/ 97290 w 97290"/>
                <a:gd name="connsiteY9" fmla="*/ 128341 h 128340"/>
                <a:gd name="connsiteX10" fmla="*/ 97290 w 97290"/>
                <a:gd name="connsiteY10" fmla="*/ 113333 h 128340"/>
                <a:gd name="connsiteX11" fmla="*/ 17250 w 97290"/>
                <a:gd name="connsiteY11" fmla="*/ 113333 h 12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90" h="128340">
                  <a:moveTo>
                    <a:pt x="17250" y="69518"/>
                  </a:moveTo>
                  <a:lnTo>
                    <a:pt x="89356" y="69518"/>
                  </a:lnTo>
                  <a:lnTo>
                    <a:pt x="89356" y="54510"/>
                  </a:lnTo>
                  <a:lnTo>
                    <a:pt x="17250" y="54510"/>
                  </a:lnTo>
                  <a:lnTo>
                    <a:pt x="17250" y="15180"/>
                  </a:lnTo>
                  <a:lnTo>
                    <a:pt x="94358" y="15180"/>
                  </a:lnTo>
                  <a:lnTo>
                    <a:pt x="94358" y="0"/>
                  </a:lnTo>
                  <a:lnTo>
                    <a:pt x="0" y="0"/>
                  </a:lnTo>
                  <a:lnTo>
                    <a:pt x="0" y="128341"/>
                  </a:lnTo>
                  <a:lnTo>
                    <a:pt x="97290" y="128341"/>
                  </a:lnTo>
                  <a:lnTo>
                    <a:pt x="97290" y="113333"/>
                  </a:lnTo>
                  <a:lnTo>
                    <a:pt x="17250" y="113333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9" name="Gráfico 1344">
              <a:extLst>
                <a:ext uri="{FF2B5EF4-FFF2-40B4-BE49-F238E27FC236}">
                  <a16:creationId xmlns:a16="http://schemas.microsoft.com/office/drawing/2014/main" id="{CAB85994-556D-4C0B-B271-98456D779BF7}"/>
                </a:ext>
              </a:extLst>
            </p:cNvPr>
            <p:cNvSpPr/>
            <p:nvPr/>
          </p:nvSpPr>
          <p:spPr>
            <a:xfrm>
              <a:off x="10134167" y="1741543"/>
              <a:ext cx="120406" cy="140416"/>
            </a:xfrm>
            <a:custGeom>
              <a:avLst/>
              <a:gdLst>
                <a:gd name="connsiteX0" fmla="*/ 28463 w 120406"/>
                <a:gd name="connsiteY0" fmla="*/ 131446 h 140416"/>
                <a:gd name="connsiteX1" fmla="*/ 64170 w 120406"/>
                <a:gd name="connsiteY1" fmla="*/ 140416 h 140416"/>
                <a:gd name="connsiteX2" fmla="*/ 100051 w 120406"/>
                <a:gd name="connsiteY2" fmla="*/ 128686 h 140416"/>
                <a:gd name="connsiteX3" fmla="*/ 120406 w 120406"/>
                <a:gd name="connsiteY3" fmla="*/ 94876 h 140416"/>
                <a:gd name="connsiteX4" fmla="*/ 102293 w 120406"/>
                <a:gd name="connsiteY4" fmla="*/ 90391 h 140416"/>
                <a:gd name="connsiteX5" fmla="*/ 88148 w 120406"/>
                <a:gd name="connsiteY5" fmla="*/ 116094 h 140416"/>
                <a:gd name="connsiteX6" fmla="*/ 62618 w 120406"/>
                <a:gd name="connsiteY6" fmla="*/ 124891 h 140416"/>
                <a:gd name="connsiteX7" fmla="*/ 39503 w 120406"/>
                <a:gd name="connsiteY7" fmla="*/ 118509 h 140416"/>
                <a:gd name="connsiteX8" fmla="*/ 23805 w 120406"/>
                <a:gd name="connsiteY8" fmla="*/ 99188 h 140416"/>
                <a:gd name="connsiteX9" fmla="*/ 18630 w 120406"/>
                <a:gd name="connsiteY9" fmla="*/ 69001 h 140416"/>
                <a:gd name="connsiteX10" fmla="*/ 22943 w 120406"/>
                <a:gd name="connsiteY10" fmla="*/ 42781 h 140416"/>
                <a:gd name="connsiteX11" fmla="*/ 37778 w 120406"/>
                <a:gd name="connsiteY11" fmla="*/ 22598 h 140416"/>
                <a:gd name="connsiteX12" fmla="*/ 63826 w 120406"/>
                <a:gd name="connsiteY12" fmla="*/ 15180 h 140416"/>
                <a:gd name="connsiteX13" fmla="*/ 86251 w 120406"/>
                <a:gd name="connsiteY13" fmla="*/ 22080 h 140416"/>
                <a:gd name="connsiteX14" fmla="*/ 100051 w 120406"/>
                <a:gd name="connsiteY14" fmla="*/ 43815 h 140416"/>
                <a:gd name="connsiteX15" fmla="*/ 117646 w 120406"/>
                <a:gd name="connsiteY15" fmla="*/ 39503 h 140416"/>
                <a:gd name="connsiteX16" fmla="*/ 98326 w 120406"/>
                <a:gd name="connsiteY16" fmla="*/ 10350 h 140416"/>
                <a:gd name="connsiteX17" fmla="*/ 64170 w 120406"/>
                <a:gd name="connsiteY17" fmla="*/ 0 h 140416"/>
                <a:gd name="connsiteX18" fmla="*/ 31223 w 120406"/>
                <a:gd name="connsiteY18" fmla="*/ 8280 h 140416"/>
                <a:gd name="connsiteX19" fmla="*/ 8108 w 120406"/>
                <a:gd name="connsiteY19" fmla="*/ 32430 h 140416"/>
                <a:gd name="connsiteX20" fmla="*/ 0 w 120406"/>
                <a:gd name="connsiteY20" fmla="*/ 69518 h 140416"/>
                <a:gd name="connsiteX21" fmla="*/ 7245 w 120406"/>
                <a:gd name="connsiteY21" fmla="*/ 105916 h 140416"/>
                <a:gd name="connsiteX22" fmla="*/ 28463 w 120406"/>
                <a:gd name="connsiteY22" fmla="*/ 131446 h 14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406" h="140416">
                  <a:moveTo>
                    <a:pt x="28463" y="131446"/>
                  </a:moveTo>
                  <a:cubicBezTo>
                    <a:pt x="37605" y="137484"/>
                    <a:pt x="49508" y="140416"/>
                    <a:pt x="64170" y="140416"/>
                  </a:cubicBezTo>
                  <a:cubicBezTo>
                    <a:pt x="78316" y="140416"/>
                    <a:pt x="90218" y="136449"/>
                    <a:pt x="100051" y="128686"/>
                  </a:cubicBezTo>
                  <a:cubicBezTo>
                    <a:pt x="109883" y="121096"/>
                    <a:pt x="116611" y="109711"/>
                    <a:pt x="120406" y="94876"/>
                  </a:cubicBezTo>
                  <a:lnTo>
                    <a:pt x="102293" y="90391"/>
                  </a:lnTo>
                  <a:cubicBezTo>
                    <a:pt x="99706" y="101948"/>
                    <a:pt x="95048" y="110401"/>
                    <a:pt x="88148" y="116094"/>
                  </a:cubicBezTo>
                  <a:cubicBezTo>
                    <a:pt x="81421" y="121786"/>
                    <a:pt x="72623" y="124891"/>
                    <a:pt x="62618" y="124891"/>
                  </a:cubicBezTo>
                  <a:cubicBezTo>
                    <a:pt x="54338" y="124891"/>
                    <a:pt x="46576" y="122821"/>
                    <a:pt x="39503" y="118509"/>
                  </a:cubicBezTo>
                  <a:cubicBezTo>
                    <a:pt x="32430" y="114196"/>
                    <a:pt x="27255" y="107641"/>
                    <a:pt x="23805" y="99188"/>
                  </a:cubicBezTo>
                  <a:cubicBezTo>
                    <a:pt x="20355" y="90736"/>
                    <a:pt x="18630" y="80386"/>
                    <a:pt x="18630" y="69001"/>
                  </a:cubicBezTo>
                  <a:cubicBezTo>
                    <a:pt x="18630" y="60031"/>
                    <a:pt x="20183" y="51406"/>
                    <a:pt x="22943" y="42781"/>
                  </a:cubicBezTo>
                  <a:cubicBezTo>
                    <a:pt x="25875" y="34328"/>
                    <a:pt x="30878" y="27600"/>
                    <a:pt x="37778" y="22598"/>
                  </a:cubicBezTo>
                  <a:cubicBezTo>
                    <a:pt x="44850" y="17768"/>
                    <a:pt x="53475" y="15180"/>
                    <a:pt x="63826" y="15180"/>
                  </a:cubicBezTo>
                  <a:cubicBezTo>
                    <a:pt x="72796" y="15180"/>
                    <a:pt x="80386" y="17595"/>
                    <a:pt x="86251" y="22080"/>
                  </a:cubicBezTo>
                  <a:cubicBezTo>
                    <a:pt x="92461" y="26738"/>
                    <a:pt x="96773" y="33810"/>
                    <a:pt x="100051" y="43815"/>
                  </a:cubicBezTo>
                  <a:lnTo>
                    <a:pt x="117646" y="39503"/>
                  </a:lnTo>
                  <a:cubicBezTo>
                    <a:pt x="114024" y="26910"/>
                    <a:pt x="107641" y="17423"/>
                    <a:pt x="98326" y="10350"/>
                  </a:cubicBezTo>
                  <a:cubicBezTo>
                    <a:pt x="89183" y="3278"/>
                    <a:pt x="77798" y="0"/>
                    <a:pt x="64170" y="0"/>
                  </a:cubicBezTo>
                  <a:cubicBezTo>
                    <a:pt x="52268" y="0"/>
                    <a:pt x="41228" y="2760"/>
                    <a:pt x="31223" y="8280"/>
                  </a:cubicBezTo>
                  <a:cubicBezTo>
                    <a:pt x="21218" y="13800"/>
                    <a:pt x="13455" y="21735"/>
                    <a:pt x="8108" y="32430"/>
                  </a:cubicBezTo>
                  <a:cubicBezTo>
                    <a:pt x="2760" y="42781"/>
                    <a:pt x="0" y="55201"/>
                    <a:pt x="0" y="69518"/>
                  </a:cubicBezTo>
                  <a:cubicBezTo>
                    <a:pt x="0" y="82456"/>
                    <a:pt x="2415" y="94703"/>
                    <a:pt x="7245" y="105916"/>
                  </a:cubicBezTo>
                  <a:cubicBezTo>
                    <a:pt x="12248" y="116783"/>
                    <a:pt x="19320" y="125581"/>
                    <a:pt x="28463" y="131446"/>
                  </a:cubicBez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50" name="Gráfico 1344">
              <a:extLst>
                <a:ext uri="{FF2B5EF4-FFF2-40B4-BE49-F238E27FC236}">
                  <a16:creationId xmlns:a16="http://schemas.microsoft.com/office/drawing/2014/main" id="{2455F215-B1B0-40A3-AB1C-57C37BFC4C1D}"/>
                </a:ext>
              </a:extLst>
            </p:cNvPr>
            <p:cNvSpPr/>
            <p:nvPr/>
          </p:nvSpPr>
          <p:spPr>
            <a:xfrm>
              <a:off x="10277171" y="1743268"/>
              <a:ext cx="101430" cy="136448"/>
            </a:xfrm>
            <a:custGeom>
              <a:avLst/>
              <a:gdLst>
                <a:gd name="connsiteX0" fmla="*/ 101431 w 101430"/>
                <a:gd name="connsiteY0" fmla="*/ 120406 h 136448"/>
                <a:gd name="connsiteX1" fmla="*/ 17940 w 101430"/>
                <a:gd name="connsiteY1" fmla="*/ 120406 h 136448"/>
                <a:gd name="connsiteX2" fmla="*/ 17940 w 101430"/>
                <a:gd name="connsiteY2" fmla="*/ 73831 h 136448"/>
                <a:gd name="connsiteX3" fmla="*/ 93151 w 101430"/>
                <a:gd name="connsiteY3" fmla="*/ 73831 h 136448"/>
                <a:gd name="connsiteX4" fmla="*/ 93151 w 101430"/>
                <a:gd name="connsiteY4" fmla="*/ 57788 h 136448"/>
                <a:gd name="connsiteX5" fmla="*/ 17940 w 101430"/>
                <a:gd name="connsiteY5" fmla="*/ 57788 h 136448"/>
                <a:gd name="connsiteX6" fmla="*/ 17940 w 101430"/>
                <a:gd name="connsiteY6" fmla="*/ 16043 h 136448"/>
                <a:gd name="connsiteX7" fmla="*/ 98326 w 101430"/>
                <a:gd name="connsiteY7" fmla="*/ 16043 h 136448"/>
                <a:gd name="connsiteX8" fmla="*/ 98326 w 101430"/>
                <a:gd name="connsiteY8" fmla="*/ 0 h 136448"/>
                <a:gd name="connsiteX9" fmla="*/ 0 w 101430"/>
                <a:gd name="connsiteY9" fmla="*/ 0 h 136448"/>
                <a:gd name="connsiteX10" fmla="*/ 0 w 101430"/>
                <a:gd name="connsiteY10" fmla="*/ 136449 h 136448"/>
                <a:gd name="connsiteX11" fmla="*/ 101431 w 101430"/>
                <a:gd name="connsiteY11" fmla="*/ 136449 h 136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430" h="136448">
                  <a:moveTo>
                    <a:pt x="101431" y="120406"/>
                  </a:moveTo>
                  <a:lnTo>
                    <a:pt x="17940" y="120406"/>
                  </a:lnTo>
                  <a:lnTo>
                    <a:pt x="17940" y="73831"/>
                  </a:lnTo>
                  <a:lnTo>
                    <a:pt x="93151" y="73831"/>
                  </a:lnTo>
                  <a:lnTo>
                    <a:pt x="93151" y="57788"/>
                  </a:lnTo>
                  <a:lnTo>
                    <a:pt x="17940" y="57788"/>
                  </a:lnTo>
                  <a:lnTo>
                    <a:pt x="17940" y="16043"/>
                  </a:lnTo>
                  <a:lnTo>
                    <a:pt x="98326" y="16043"/>
                  </a:lnTo>
                  <a:lnTo>
                    <a:pt x="98326" y="0"/>
                  </a:lnTo>
                  <a:lnTo>
                    <a:pt x="0" y="0"/>
                  </a:lnTo>
                  <a:lnTo>
                    <a:pt x="0" y="136449"/>
                  </a:lnTo>
                  <a:lnTo>
                    <a:pt x="101431" y="136449"/>
                  </a:lnTo>
                  <a:close/>
                </a:path>
              </a:pathLst>
            </a:custGeom>
            <a:solidFill>
              <a:srgbClr val="999999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551" name="Retângulo 550">
            <a:extLst>
              <a:ext uri="{FF2B5EF4-FFF2-40B4-BE49-F238E27FC236}">
                <a16:creationId xmlns:a16="http://schemas.microsoft.com/office/drawing/2014/main" id="{9D7F5A5D-C20D-4B87-BB54-DB10BB44964B}"/>
              </a:ext>
            </a:extLst>
          </p:cNvPr>
          <p:cNvSpPr/>
          <p:nvPr/>
        </p:nvSpPr>
        <p:spPr>
          <a:xfrm rot="5400000">
            <a:off x="-622562" y="622561"/>
            <a:ext cx="6858003" cy="5612881"/>
          </a:xfrm>
          <a:prstGeom prst="rect">
            <a:avLst/>
          </a:prstGeom>
          <a:gradFill flip="none" rotWithShape="1">
            <a:gsLst>
              <a:gs pos="0">
                <a:srgbClr val="A4B6C3">
                  <a:alpha val="0"/>
                </a:srgbClr>
              </a:gs>
              <a:gs pos="50000">
                <a:srgbClr val="A4B6C3">
                  <a:alpha val="50000"/>
                </a:srgbClr>
              </a:gs>
              <a:gs pos="100000">
                <a:srgbClr val="A4B6C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2" name="Gráfico 1344">
            <a:extLst>
              <a:ext uri="{FF2B5EF4-FFF2-40B4-BE49-F238E27FC236}">
                <a16:creationId xmlns:a16="http://schemas.microsoft.com/office/drawing/2014/main" id="{313403D4-2029-4528-BE6B-BC3214DA832A}"/>
              </a:ext>
            </a:extLst>
          </p:cNvPr>
          <p:cNvSpPr/>
          <p:nvPr/>
        </p:nvSpPr>
        <p:spPr>
          <a:xfrm>
            <a:off x="9774384" y="4840621"/>
            <a:ext cx="33417" cy="151111"/>
          </a:xfrm>
          <a:custGeom>
            <a:avLst/>
            <a:gdLst>
              <a:gd name="connsiteX0" fmla="*/ 2647 w 33417"/>
              <a:gd name="connsiteY0" fmla="*/ 151111 h 151111"/>
              <a:gd name="connsiteX1" fmla="*/ 404 w 33417"/>
              <a:gd name="connsiteY1" fmla="*/ 138691 h 151111"/>
              <a:gd name="connsiteX2" fmla="*/ 3682 w 33417"/>
              <a:gd name="connsiteY2" fmla="*/ 117819 h 151111"/>
              <a:gd name="connsiteX3" fmla="*/ 6615 w 33417"/>
              <a:gd name="connsiteY3" fmla="*/ 107296 h 151111"/>
              <a:gd name="connsiteX4" fmla="*/ 6615 w 33417"/>
              <a:gd name="connsiteY4" fmla="*/ 93496 h 151111"/>
              <a:gd name="connsiteX5" fmla="*/ 7994 w 33417"/>
              <a:gd name="connsiteY5" fmla="*/ 71071 h 151111"/>
              <a:gd name="connsiteX6" fmla="*/ 13515 w 33417"/>
              <a:gd name="connsiteY6" fmla="*/ 57443 h 151111"/>
              <a:gd name="connsiteX7" fmla="*/ 18862 w 33417"/>
              <a:gd name="connsiteY7" fmla="*/ 43643 h 151111"/>
              <a:gd name="connsiteX8" fmla="*/ 20932 w 33417"/>
              <a:gd name="connsiteY8" fmla="*/ 12593 h 151111"/>
              <a:gd name="connsiteX9" fmla="*/ 20932 w 33417"/>
              <a:gd name="connsiteY9" fmla="*/ 6038 h 151111"/>
              <a:gd name="connsiteX10" fmla="*/ 27142 w 33417"/>
              <a:gd name="connsiteY10" fmla="*/ 0 h 151111"/>
              <a:gd name="connsiteX11" fmla="*/ 33352 w 33417"/>
              <a:gd name="connsiteY11" fmla="*/ 6038 h 151111"/>
              <a:gd name="connsiteX12" fmla="*/ 33352 w 33417"/>
              <a:gd name="connsiteY12" fmla="*/ 12420 h 151111"/>
              <a:gd name="connsiteX13" fmla="*/ 31110 w 33417"/>
              <a:gd name="connsiteY13" fmla="*/ 46058 h 151111"/>
              <a:gd name="connsiteX14" fmla="*/ 24900 w 33417"/>
              <a:gd name="connsiteY14" fmla="*/ 62446 h 151111"/>
              <a:gd name="connsiteX15" fmla="*/ 20242 w 33417"/>
              <a:gd name="connsiteY15" fmla="*/ 74003 h 151111"/>
              <a:gd name="connsiteX16" fmla="*/ 19380 w 33417"/>
              <a:gd name="connsiteY16" fmla="*/ 92806 h 151111"/>
              <a:gd name="connsiteX17" fmla="*/ 19380 w 33417"/>
              <a:gd name="connsiteY17" fmla="*/ 108331 h 151111"/>
              <a:gd name="connsiteX18" fmla="*/ 15929 w 33417"/>
              <a:gd name="connsiteY18" fmla="*/ 121614 h 151111"/>
              <a:gd name="connsiteX19" fmla="*/ 14894 w 33417"/>
              <a:gd name="connsiteY19" fmla="*/ 125063 h 151111"/>
              <a:gd name="connsiteX20" fmla="*/ 17482 w 33417"/>
              <a:gd name="connsiteY20" fmla="*/ 132309 h 151111"/>
              <a:gd name="connsiteX21" fmla="*/ 11790 w 33417"/>
              <a:gd name="connsiteY21" fmla="*/ 141624 h 151111"/>
              <a:gd name="connsiteX22" fmla="*/ 2647 w 33417"/>
              <a:gd name="connsiteY22" fmla="*/ 151111 h 151111"/>
              <a:gd name="connsiteX23" fmla="*/ 2647 w 33417"/>
              <a:gd name="connsiteY23" fmla="*/ 151111 h 151111"/>
              <a:gd name="connsiteX24" fmla="*/ 2647 w 33417"/>
              <a:gd name="connsiteY24" fmla="*/ 151111 h 151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417" h="151111">
                <a:moveTo>
                  <a:pt x="2647" y="151111"/>
                </a:moveTo>
                <a:lnTo>
                  <a:pt x="404" y="138691"/>
                </a:lnTo>
                <a:cubicBezTo>
                  <a:pt x="-975" y="131101"/>
                  <a:pt x="1439" y="124028"/>
                  <a:pt x="3682" y="117819"/>
                </a:cubicBezTo>
                <a:cubicBezTo>
                  <a:pt x="5062" y="114196"/>
                  <a:pt x="6097" y="110746"/>
                  <a:pt x="6615" y="107296"/>
                </a:cubicBezTo>
                <a:cubicBezTo>
                  <a:pt x="7132" y="102811"/>
                  <a:pt x="6787" y="98326"/>
                  <a:pt x="6615" y="93496"/>
                </a:cubicBezTo>
                <a:cubicBezTo>
                  <a:pt x="6442" y="86251"/>
                  <a:pt x="5925" y="78833"/>
                  <a:pt x="7994" y="71071"/>
                </a:cubicBezTo>
                <a:cubicBezTo>
                  <a:pt x="9375" y="65896"/>
                  <a:pt x="11445" y="61756"/>
                  <a:pt x="13515" y="57443"/>
                </a:cubicBezTo>
                <a:cubicBezTo>
                  <a:pt x="15757" y="52958"/>
                  <a:pt x="18000" y="48473"/>
                  <a:pt x="18862" y="43643"/>
                </a:cubicBezTo>
                <a:cubicBezTo>
                  <a:pt x="20932" y="33811"/>
                  <a:pt x="20932" y="23460"/>
                  <a:pt x="20932" y="12593"/>
                </a:cubicBezTo>
                <a:cubicBezTo>
                  <a:pt x="20932" y="10523"/>
                  <a:pt x="20932" y="8108"/>
                  <a:pt x="20932" y="6038"/>
                </a:cubicBezTo>
                <a:cubicBezTo>
                  <a:pt x="20932" y="2588"/>
                  <a:pt x="23519" y="0"/>
                  <a:pt x="27142" y="0"/>
                </a:cubicBezTo>
                <a:cubicBezTo>
                  <a:pt x="30592" y="0"/>
                  <a:pt x="33352" y="2588"/>
                  <a:pt x="33352" y="6038"/>
                </a:cubicBezTo>
                <a:lnTo>
                  <a:pt x="33352" y="12420"/>
                </a:lnTo>
                <a:cubicBezTo>
                  <a:pt x="33525" y="23460"/>
                  <a:pt x="33525" y="35018"/>
                  <a:pt x="31110" y="46058"/>
                </a:cubicBezTo>
                <a:cubicBezTo>
                  <a:pt x="29730" y="52441"/>
                  <a:pt x="27315" y="57615"/>
                  <a:pt x="24900" y="62446"/>
                </a:cubicBezTo>
                <a:cubicBezTo>
                  <a:pt x="22830" y="66240"/>
                  <a:pt x="21105" y="70035"/>
                  <a:pt x="20242" y="74003"/>
                </a:cubicBezTo>
                <a:cubicBezTo>
                  <a:pt x="18689" y="79696"/>
                  <a:pt x="19207" y="86078"/>
                  <a:pt x="19380" y="92806"/>
                </a:cubicBezTo>
                <a:cubicBezTo>
                  <a:pt x="19552" y="97981"/>
                  <a:pt x="19897" y="102983"/>
                  <a:pt x="19380" y="108331"/>
                </a:cubicBezTo>
                <a:cubicBezTo>
                  <a:pt x="18862" y="112989"/>
                  <a:pt x="17310" y="117301"/>
                  <a:pt x="15929" y="121614"/>
                </a:cubicBezTo>
                <a:cubicBezTo>
                  <a:pt x="15412" y="122649"/>
                  <a:pt x="15067" y="124028"/>
                  <a:pt x="14894" y="125063"/>
                </a:cubicBezTo>
                <a:cubicBezTo>
                  <a:pt x="17482" y="126616"/>
                  <a:pt x="18689" y="129549"/>
                  <a:pt x="17482" y="132309"/>
                </a:cubicBezTo>
                <a:cubicBezTo>
                  <a:pt x="16102" y="135759"/>
                  <a:pt x="14205" y="138864"/>
                  <a:pt x="11790" y="141624"/>
                </a:cubicBezTo>
                <a:lnTo>
                  <a:pt x="2647" y="151111"/>
                </a:lnTo>
                <a:lnTo>
                  <a:pt x="2647" y="151111"/>
                </a:lnTo>
                <a:lnTo>
                  <a:pt x="2647" y="151111"/>
                </a:lnTo>
                <a:close/>
              </a:path>
            </a:pathLst>
          </a:custGeom>
          <a:solidFill>
            <a:srgbClr val="9F6A89"/>
          </a:solidFill>
          <a:ln w="17238" cap="flat">
            <a:solidFill>
              <a:srgbClr val="9F6A89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atin typeface="Manrope" pitchFamily="2" charset="0"/>
            </a:endParaRPr>
          </a:p>
        </p:txBody>
      </p:sp>
      <p:sp>
        <p:nvSpPr>
          <p:cNvPr id="553" name="Gráfico 1344">
            <a:extLst>
              <a:ext uri="{FF2B5EF4-FFF2-40B4-BE49-F238E27FC236}">
                <a16:creationId xmlns:a16="http://schemas.microsoft.com/office/drawing/2014/main" id="{9D00C1AF-403A-48CA-8823-25014CF7B5B1}"/>
              </a:ext>
            </a:extLst>
          </p:cNvPr>
          <p:cNvSpPr/>
          <p:nvPr/>
        </p:nvSpPr>
        <p:spPr>
          <a:xfrm>
            <a:off x="8043905" y="1510847"/>
            <a:ext cx="322612" cy="1080281"/>
          </a:xfrm>
          <a:custGeom>
            <a:avLst/>
            <a:gdLst>
              <a:gd name="connsiteX0" fmla="*/ 6072 w 322612"/>
              <a:gd name="connsiteY0" fmla="*/ 1080282 h 1080281"/>
              <a:gd name="connsiteX1" fmla="*/ 5210 w 322612"/>
              <a:gd name="connsiteY1" fmla="*/ 1080282 h 1080281"/>
              <a:gd name="connsiteX2" fmla="*/ 35 w 322612"/>
              <a:gd name="connsiteY2" fmla="*/ 1073727 h 1080281"/>
              <a:gd name="connsiteX3" fmla="*/ 25393 w 322612"/>
              <a:gd name="connsiteY3" fmla="*/ 941763 h 1080281"/>
              <a:gd name="connsiteX4" fmla="*/ 65413 w 322612"/>
              <a:gd name="connsiteY4" fmla="*/ 674904 h 1080281"/>
              <a:gd name="connsiteX5" fmla="*/ 65758 w 322612"/>
              <a:gd name="connsiteY5" fmla="*/ 673352 h 1080281"/>
              <a:gd name="connsiteX6" fmla="*/ 94738 w 322612"/>
              <a:gd name="connsiteY6" fmla="*/ 599003 h 1080281"/>
              <a:gd name="connsiteX7" fmla="*/ 205656 w 322612"/>
              <a:gd name="connsiteY7" fmla="*/ 463590 h 1080281"/>
              <a:gd name="connsiteX8" fmla="*/ 287940 w 322612"/>
              <a:gd name="connsiteY8" fmla="*/ 340424 h 1080281"/>
              <a:gd name="connsiteX9" fmla="*/ 288975 w 322612"/>
              <a:gd name="connsiteY9" fmla="*/ 339734 h 1080281"/>
              <a:gd name="connsiteX10" fmla="*/ 311055 w 322612"/>
              <a:gd name="connsiteY10" fmla="*/ 316101 h 1080281"/>
              <a:gd name="connsiteX11" fmla="*/ 302947 w 322612"/>
              <a:gd name="connsiteY11" fmla="*/ 210531 h 1080281"/>
              <a:gd name="connsiteX12" fmla="*/ 278107 w 322612"/>
              <a:gd name="connsiteY12" fmla="*/ 54762 h 1080281"/>
              <a:gd name="connsiteX13" fmla="*/ 286387 w 322612"/>
              <a:gd name="connsiteY13" fmla="*/ 4909 h 1080281"/>
              <a:gd name="connsiteX14" fmla="*/ 293287 w 322612"/>
              <a:gd name="connsiteY14" fmla="*/ 79 h 1080281"/>
              <a:gd name="connsiteX15" fmla="*/ 298117 w 322612"/>
              <a:gd name="connsiteY15" fmla="*/ 6979 h 1080281"/>
              <a:gd name="connsiteX16" fmla="*/ 290010 w 322612"/>
              <a:gd name="connsiteY16" fmla="*/ 55107 h 1080281"/>
              <a:gd name="connsiteX17" fmla="*/ 314504 w 322612"/>
              <a:gd name="connsiteY17" fmla="*/ 209668 h 1080281"/>
              <a:gd name="connsiteX18" fmla="*/ 322612 w 322612"/>
              <a:gd name="connsiteY18" fmla="*/ 316446 h 1080281"/>
              <a:gd name="connsiteX19" fmla="*/ 296392 w 322612"/>
              <a:gd name="connsiteY19" fmla="*/ 349222 h 1080281"/>
              <a:gd name="connsiteX20" fmla="*/ 214799 w 322612"/>
              <a:gd name="connsiteY20" fmla="*/ 471180 h 1080281"/>
              <a:gd name="connsiteX21" fmla="*/ 104916 w 322612"/>
              <a:gd name="connsiteY21" fmla="*/ 605213 h 1080281"/>
              <a:gd name="connsiteX22" fmla="*/ 76970 w 322612"/>
              <a:gd name="connsiteY22" fmla="*/ 677147 h 1080281"/>
              <a:gd name="connsiteX23" fmla="*/ 35053 w 322612"/>
              <a:gd name="connsiteY23" fmla="*/ 948491 h 1080281"/>
              <a:gd name="connsiteX24" fmla="*/ 11592 w 322612"/>
              <a:gd name="connsiteY24" fmla="*/ 1075624 h 1080281"/>
              <a:gd name="connsiteX25" fmla="*/ 6072 w 322612"/>
              <a:gd name="connsiteY25" fmla="*/ 1080282 h 108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612" h="1080281">
                <a:moveTo>
                  <a:pt x="6072" y="1080282"/>
                </a:moveTo>
                <a:cubicBezTo>
                  <a:pt x="5900" y="1080282"/>
                  <a:pt x="5727" y="1080282"/>
                  <a:pt x="5210" y="1080282"/>
                </a:cubicBezTo>
                <a:cubicBezTo>
                  <a:pt x="1932" y="1079937"/>
                  <a:pt x="-310" y="1076832"/>
                  <a:pt x="35" y="1073727"/>
                </a:cubicBezTo>
                <a:cubicBezTo>
                  <a:pt x="2795" y="1053889"/>
                  <a:pt x="16940" y="954528"/>
                  <a:pt x="25393" y="941763"/>
                </a:cubicBezTo>
                <a:cubicBezTo>
                  <a:pt x="31085" y="930723"/>
                  <a:pt x="52993" y="772022"/>
                  <a:pt x="65413" y="674904"/>
                </a:cubicBezTo>
                <a:lnTo>
                  <a:pt x="65758" y="673352"/>
                </a:lnTo>
                <a:lnTo>
                  <a:pt x="94738" y="599003"/>
                </a:lnTo>
                <a:lnTo>
                  <a:pt x="205656" y="463590"/>
                </a:lnTo>
                <a:lnTo>
                  <a:pt x="287940" y="340424"/>
                </a:lnTo>
                <a:lnTo>
                  <a:pt x="288975" y="339734"/>
                </a:lnTo>
                <a:cubicBezTo>
                  <a:pt x="297772" y="333697"/>
                  <a:pt x="311055" y="322311"/>
                  <a:pt x="311055" y="316101"/>
                </a:cubicBezTo>
                <a:cubicBezTo>
                  <a:pt x="311055" y="304544"/>
                  <a:pt x="303292" y="215706"/>
                  <a:pt x="302947" y="210531"/>
                </a:cubicBezTo>
                <a:lnTo>
                  <a:pt x="278107" y="54762"/>
                </a:lnTo>
                <a:lnTo>
                  <a:pt x="286387" y="4909"/>
                </a:lnTo>
                <a:cubicBezTo>
                  <a:pt x="287077" y="1632"/>
                  <a:pt x="290010" y="-438"/>
                  <a:pt x="293287" y="79"/>
                </a:cubicBezTo>
                <a:cubicBezTo>
                  <a:pt x="296565" y="424"/>
                  <a:pt x="298635" y="3702"/>
                  <a:pt x="298117" y="6979"/>
                </a:cubicBezTo>
                <a:lnTo>
                  <a:pt x="290010" y="55107"/>
                </a:lnTo>
                <a:lnTo>
                  <a:pt x="314504" y="209668"/>
                </a:lnTo>
                <a:cubicBezTo>
                  <a:pt x="314677" y="213463"/>
                  <a:pt x="322612" y="303854"/>
                  <a:pt x="322612" y="316446"/>
                </a:cubicBezTo>
                <a:cubicBezTo>
                  <a:pt x="322612" y="330247"/>
                  <a:pt x="302775" y="345082"/>
                  <a:pt x="296392" y="349222"/>
                </a:cubicBezTo>
                <a:lnTo>
                  <a:pt x="214799" y="471180"/>
                </a:lnTo>
                <a:lnTo>
                  <a:pt x="104916" y="605213"/>
                </a:lnTo>
                <a:lnTo>
                  <a:pt x="76970" y="677147"/>
                </a:lnTo>
                <a:cubicBezTo>
                  <a:pt x="69036" y="738729"/>
                  <a:pt x="43505" y="936243"/>
                  <a:pt x="35053" y="948491"/>
                </a:cubicBezTo>
                <a:cubicBezTo>
                  <a:pt x="30395" y="955564"/>
                  <a:pt x="19527" y="1018699"/>
                  <a:pt x="11592" y="1075624"/>
                </a:cubicBezTo>
                <a:cubicBezTo>
                  <a:pt x="11420" y="1078212"/>
                  <a:pt x="8832" y="1080282"/>
                  <a:pt x="6072" y="1080282"/>
                </a:cubicBezTo>
              </a:path>
            </a:pathLst>
          </a:custGeom>
          <a:solidFill>
            <a:srgbClr val="0074C0"/>
          </a:solidFill>
          <a:ln w="17238" cap="flat">
            <a:solidFill>
              <a:srgbClr val="0074C0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atin typeface="Manrope" pitchFamily="2" charset="0"/>
            </a:endParaRPr>
          </a:p>
        </p:txBody>
      </p:sp>
      <p:grpSp>
        <p:nvGrpSpPr>
          <p:cNvPr id="554" name="Gráfico 1344">
            <a:extLst>
              <a:ext uri="{FF2B5EF4-FFF2-40B4-BE49-F238E27FC236}">
                <a16:creationId xmlns:a16="http://schemas.microsoft.com/office/drawing/2014/main" id="{A5922C00-68B2-4368-B8AD-C83447C78D8F}"/>
              </a:ext>
            </a:extLst>
          </p:cNvPr>
          <p:cNvGrpSpPr/>
          <p:nvPr/>
        </p:nvGrpSpPr>
        <p:grpSpPr>
          <a:xfrm>
            <a:off x="8080510" y="5115976"/>
            <a:ext cx="147766" cy="75264"/>
            <a:chOff x="8200256" y="5210145"/>
            <a:chExt cx="147766" cy="75264"/>
          </a:xfrm>
          <a:solidFill>
            <a:srgbClr val="F59D24"/>
          </a:solidFill>
        </p:grpSpPr>
        <p:sp>
          <p:nvSpPr>
            <p:cNvPr id="555" name="Gráfico 1344">
              <a:extLst>
                <a:ext uri="{FF2B5EF4-FFF2-40B4-BE49-F238E27FC236}">
                  <a16:creationId xmlns:a16="http://schemas.microsoft.com/office/drawing/2014/main" id="{41061BC8-CC4C-4CB2-A636-111F40B77E7C}"/>
                </a:ext>
              </a:extLst>
            </p:cNvPr>
            <p:cNvSpPr/>
            <p:nvPr/>
          </p:nvSpPr>
          <p:spPr>
            <a:xfrm>
              <a:off x="8209053" y="5218912"/>
              <a:ext cx="130478" cy="57871"/>
            </a:xfrm>
            <a:custGeom>
              <a:avLst/>
              <a:gdLst>
                <a:gd name="connsiteX0" fmla="*/ 124546 w 130478"/>
                <a:gd name="connsiteY0" fmla="*/ 57871 h 57871"/>
                <a:gd name="connsiteX1" fmla="*/ 122131 w 130478"/>
                <a:gd name="connsiteY1" fmla="*/ 57526 h 57871"/>
                <a:gd name="connsiteX2" fmla="*/ 95566 w 130478"/>
                <a:gd name="connsiteY2" fmla="*/ 52179 h 57871"/>
                <a:gd name="connsiteX3" fmla="*/ 59513 w 130478"/>
                <a:gd name="connsiteY3" fmla="*/ 41139 h 57871"/>
                <a:gd name="connsiteX4" fmla="*/ 48473 w 130478"/>
                <a:gd name="connsiteY4" fmla="*/ 26821 h 57871"/>
                <a:gd name="connsiteX5" fmla="*/ 37433 w 130478"/>
                <a:gd name="connsiteY5" fmla="*/ 14229 h 57871"/>
                <a:gd name="connsiteX6" fmla="*/ 15008 w 130478"/>
                <a:gd name="connsiteY6" fmla="*/ 12331 h 57871"/>
                <a:gd name="connsiteX7" fmla="*/ 6038 w 130478"/>
                <a:gd name="connsiteY7" fmla="*/ 12676 h 57871"/>
                <a:gd name="connsiteX8" fmla="*/ 0 w 130478"/>
                <a:gd name="connsiteY8" fmla="*/ 6639 h 57871"/>
                <a:gd name="connsiteX9" fmla="*/ 6038 w 130478"/>
                <a:gd name="connsiteY9" fmla="*/ 601 h 57871"/>
                <a:gd name="connsiteX10" fmla="*/ 6210 w 130478"/>
                <a:gd name="connsiteY10" fmla="*/ 601 h 57871"/>
                <a:gd name="connsiteX11" fmla="*/ 14318 w 130478"/>
                <a:gd name="connsiteY11" fmla="*/ 428 h 57871"/>
                <a:gd name="connsiteX12" fmla="*/ 42436 w 130478"/>
                <a:gd name="connsiteY12" fmla="*/ 3361 h 57871"/>
                <a:gd name="connsiteX13" fmla="*/ 58823 w 130478"/>
                <a:gd name="connsiteY13" fmla="*/ 20956 h 57871"/>
                <a:gd name="connsiteX14" fmla="*/ 66931 w 130478"/>
                <a:gd name="connsiteY14" fmla="*/ 31651 h 57871"/>
                <a:gd name="connsiteX15" fmla="*/ 96773 w 130478"/>
                <a:gd name="connsiteY15" fmla="*/ 40276 h 57871"/>
                <a:gd name="connsiteX16" fmla="*/ 126789 w 130478"/>
                <a:gd name="connsiteY16" fmla="*/ 46486 h 57871"/>
                <a:gd name="connsiteX17" fmla="*/ 130066 w 130478"/>
                <a:gd name="connsiteY17" fmla="*/ 54249 h 57871"/>
                <a:gd name="connsiteX18" fmla="*/ 124546 w 130478"/>
                <a:gd name="connsiteY18" fmla="*/ 57871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478" h="57871">
                  <a:moveTo>
                    <a:pt x="124546" y="57871"/>
                  </a:moveTo>
                  <a:cubicBezTo>
                    <a:pt x="123684" y="57871"/>
                    <a:pt x="122993" y="57699"/>
                    <a:pt x="122131" y="57526"/>
                  </a:cubicBezTo>
                  <a:cubicBezTo>
                    <a:pt x="113333" y="53904"/>
                    <a:pt x="104191" y="53041"/>
                    <a:pt x="95566" y="52179"/>
                  </a:cubicBezTo>
                  <a:cubicBezTo>
                    <a:pt x="83491" y="51144"/>
                    <a:pt x="70898" y="49764"/>
                    <a:pt x="59513" y="41139"/>
                  </a:cubicBezTo>
                  <a:cubicBezTo>
                    <a:pt x="53993" y="36826"/>
                    <a:pt x="51233" y="31479"/>
                    <a:pt x="48473" y="26821"/>
                  </a:cubicBezTo>
                  <a:cubicBezTo>
                    <a:pt x="45541" y="21301"/>
                    <a:pt x="42953" y="16988"/>
                    <a:pt x="37433" y="14229"/>
                  </a:cubicBezTo>
                  <a:cubicBezTo>
                    <a:pt x="31741" y="11469"/>
                    <a:pt x="23116" y="11813"/>
                    <a:pt x="15008" y="12331"/>
                  </a:cubicBezTo>
                  <a:cubicBezTo>
                    <a:pt x="11730" y="12504"/>
                    <a:pt x="8798" y="12676"/>
                    <a:pt x="6038" y="12676"/>
                  </a:cubicBezTo>
                  <a:cubicBezTo>
                    <a:pt x="2760" y="12676"/>
                    <a:pt x="0" y="9916"/>
                    <a:pt x="0" y="6639"/>
                  </a:cubicBezTo>
                  <a:cubicBezTo>
                    <a:pt x="0" y="3361"/>
                    <a:pt x="2588" y="601"/>
                    <a:pt x="6038" y="601"/>
                  </a:cubicBezTo>
                  <a:lnTo>
                    <a:pt x="6210" y="601"/>
                  </a:lnTo>
                  <a:cubicBezTo>
                    <a:pt x="8798" y="601"/>
                    <a:pt x="11558" y="428"/>
                    <a:pt x="14318" y="428"/>
                  </a:cubicBezTo>
                  <a:cubicBezTo>
                    <a:pt x="23460" y="-262"/>
                    <a:pt x="33983" y="-607"/>
                    <a:pt x="42436" y="3361"/>
                  </a:cubicBezTo>
                  <a:cubicBezTo>
                    <a:pt x="51406" y="7674"/>
                    <a:pt x="55373" y="14746"/>
                    <a:pt x="58823" y="20956"/>
                  </a:cubicBezTo>
                  <a:cubicBezTo>
                    <a:pt x="61238" y="25268"/>
                    <a:pt x="63308" y="28891"/>
                    <a:pt x="66931" y="31651"/>
                  </a:cubicBezTo>
                  <a:cubicBezTo>
                    <a:pt x="75383" y="38206"/>
                    <a:pt x="85216" y="39069"/>
                    <a:pt x="96773" y="40276"/>
                  </a:cubicBezTo>
                  <a:cubicBezTo>
                    <a:pt x="105916" y="41139"/>
                    <a:pt x="116438" y="42001"/>
                    <a:pt x="126789" y="46486"/>
                  </a:cubicBezTo>
                  <a:cubicBezTo>
                    <a:pt x="129721" y="47694"/>
                    <a:pt x="131274" y="51144"/>
                    <a:pt x="130066" y="54249"/>
                  </a:cubicBezTo>
                  <a:cubicBezTo>
                    <a:pt x="129031" y="56664"/>
                    <a:pt x="126789" y="57871"/>
                    <a:pt x="124546" y="57871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56" name="Gráfico 1344">
              <a:extLst>
                <a:ext uri="{FF2B5EF4-FFF2-40B4-BE49-F238E27FC236}">
                  <a16:creationId xmlns:a16="http://schemas.microsoft.com/office/drawing/2014/main" id="{7DBE70F6-0C79-40CE-8987-FF74531DF054}"/>
                </a:ext>
              </a:extLst>
            </p:cNvPr>
            <p:cNvSpPr/>
            <p:nvPr/>
          </p:nvSpPr>
          <p:spPr>
            <a:xfrm>
              <a:off x="8200256" y="5210145"/>
              <a:ext cx="147766" cy="75264"/>
            </a:xfrm>
            <a:custGeom>
              <a:avLst/>
              <a:gdLst>
                <a:gd name="connsiteX0" fmla="*/ 133343 w 147766"/>
                <a:gd name="connsiteY0" fmla="*/ 75264 h 75264"/>
                <a:gd name="connsiteX1" fmla="*/ 129203 w 147766"/>
                <a:gd name="connsiteY1" fmla="*/ 74747 h 75264"/>
                <a:gd name="connsiteX2" fmla="*/ 103846 w 147766"/>
                <a:gd name="connsiteY2" fmla="*/ 69571 h 75264"/>
                <a:gd name="connsiteX3" fmla="*/ 62963 w 147766"/>
                <a:gd name="connsiteY3" fmla="*/ 56634 h 75264"/>
                <a:gd name="connsiteX4" fmla="*/ 50543 w 147766"/>
                <a:gd name="connsiteY4" fmla="*/ 41109 h 75264"/>
                <a:gd name="connsiteX5" fmla="*/ 49680 w 147766"/>
                <a:gd name="connsiteY5" fmla="*/ 39556 h 75264"/>
                <a:gd name="connsiteX6" fmla="*/ 42262 w 147766"/>
                <a:gd name="connsiteY6" fmla="*/ 30586 h 75264"/>
                <a:gd name="connsiteX7" fmla="*/ 24150 w 147766"/>
                <a:gd name="connsiteY7" fmla="*/ 29551 h 75264"/>
                <a:gd name="connsiteX8" fmla="*/ 14663 w 147766"/>
                <a:gd name="connsiteY8" fmla="*/ 30068 h 75264"/>
                <a:gd name="connsiteX9" fmla="*/ 0 w 147766"/>
                <a:gd name="connsiteY9" fmla="*/ 15406 h 75264"/>
                <a:gd name="connsiteX10" fmla="*/ 14663 w 147766"/>
                <a:gd name="connsiteY10" fmla="*/ 743 h 75264"/>
                <a:gd name="connsiteX11" fmla="*/ 18458 w 147766"/>
                <a:gd name="connsiteY11" fmla="*/ 571 h 75264"/>
                <a:gd name="connsiteX12" fmla="*/ 22942 w 147766"/>
                <a:gd name="connsiteY12" fmla="*/ 399 h 75264"/>
                <a:gd name="connsiteX13" fmla="*/ 54855 w 147766"/>
                <a:gd name="connsiteY13" fmla="*/ 4193 h 75264"/>
                <a:gd name="connsiteX14" fmla="*/ 75038 w 147766"/>
                <a:gd name="connsiteY14" fmla="*/ 25411 h 75264"/>
                <a:gd name="connsiteX15" fmla="*/ 80903 w 147766"/>
                <a:gd name="connsiteY15" fmla="*/ 33346 h 75264"/>
                <a:gd name="connsiteX16" fmla="*/ 105915 w 147766"/>
                <a:gd name="connsiteY16" fmla="*/ 40074 h 75264"/>
                <a:gd name="connsiteX17" fmla="*/ 138863 w 147766"/>
                <a:gd name="connsiteY17" fmla="*/ 46974 h 75264"/>
                <a:gd name="connsiteX18" fmla="*/ 146626 w 147766"/>
                <a:gd name="connsiteY18" fmla="*/ 65949 h 75264"/>
                <a:gd name="connsiteX19" fmla="*/ 133343 w 147766"/>
                <a:gd name="connsiteY19" fmla="*/ 75264 h 75264"/>
                <a:gd name="connsiteX20" fmla="*/ 15180 w 147766"/>
                <a:gd name="connsiteY20" fmla="*/ 17994 h 75264"/>
                <a:gd name="connsiteX21" fmla="*/ 15180 w 147766"/>
                <a:gd name="connsiteY21" fmla="*/ 17994 h 75264"/>
                <a:gd name="connsiteX22" fmla="*/ 15180 w 147766"/>
                <a:gd name="connsiteY22" fmla="*/ 17994 h 75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7766" h="75264">
                  <a:moveTo>
                    <a:pt x="133343" y="75264"/>
                  </a:moveTo>
                  <a:cubicBezTo>
                    <a:pt x="131619" y="75264"/>
                    <a:pt x="130238" y="74919"/>
                    <a:pt x="129203" y="74747"/>
                  </a:cubicBezTo>
                  <a:cubicBezTo>
                    <a:pt x="120233" y="71124"/>
                    <a:pt x="111953" y="70434"/>
                    <a:pt x="103846" y="69571"/>
                  </a:cubicBezTo>
                  <a:cubicBezTo>
                    <a:pt x="91425" y="68536"/>
                    <a:pt x="76418" y="67156"/>
                    <a:pt x="62963" y="56634"/>
                  </a:cubicBezTo>
                  <a:cubicBezTo>
                    <a:pt x="56580" y="51804"/>
                    <a:pt x="53303" y="45939"/>
                    <a:pt x="50543" y="41109"/>
                  </a:cubicBezTo>
                  <a:lnTo>
                    <a:pt x="49680" y="39556"/>
                  </a:lnTo>
                  <a:cubicBezTo>
                    <a:pt x="46920" y="34553"/>
                    <a:pt x="45368" y="32139"/>
                    <a:pt x="42262" y="30586"/>
                  </a:cubicBezTo>
                  <a:cubicBezTo>
                    <a:pt x="38467" y="28861"/>
                    <a:pt x="30533" y="29206"/>
                    <a:pt x="24150" y="29551"/>
                  </a:cubicBezTo>
                  <a:cubicBezTo>
                    <a:pt x="20700" y="29723"/>
                    <a:pt x="17595" y="30068"/>
                    <a:pt x="14663" y="30068"/>
                  </a:cubicBezTo>
                  <a:cubicBezTo>
                    <a:pt x="6727" y="30068"/>
                    <a:pt x="0" y="23341"/>
                    <a:pt x="0" y="15406"/>
                  </a:cubicBezTo>
                  <a:cubicBezTo>
                    <a:pt x="0" y="7299"/>
                    <a:pt x="6555" y="743"/>
                    <a:pt x="14663" y="743"/>
                  </a:cubicBezTo>
                  <a:lnTo>
                    <a:pt x="18458" y="571"/>
                  </a:lnTo>
                  <a:cubicBezTo>
                    <a:pt x="20010" y="571"/>
                    <a:pt x="21563" y="399"/>
                    <a:pt x="22942" y="399"/>
                  </a:cubicBezTo>
                  <a:cubicBezTo>
                    <a:pt x="32602" y="-292"/>
                    <a:pt x="44505" y="-637"/>
                    <a:pt x="54855" y="4193"/>
                  </a:cubicBezTo>
                  <a:cubicBezTo>
                    <a:pt x="66585" y="9713"/>
                    <a:pt x="71761" y="19201"/>
                    <a:pt x="75038" y="25411"/>
                  </a:cubicBezTo>
                  <a:cubicBezTo>
                    <a:pt x="76935" y="29033"/>
                    <a:pt x="78661" y="31621"/>
                    <a:pt x="80903" y="33346"/>
                  </a:cubicBezTo>
                  <a:cubicBezTo>
                    <a:pt x="87458" y="38349"/>
                    <a:pt x="95221" y="39039"/>
                    <a:pt x="105915" y="40074"/>
                  </a:cubicBezTo>
                  <a:cubicBezTo>
                    <a:pt x="116093" y="40936"/>
                    <a:pt x="127478" y="42144"/>
                    <a:pt x="138863" y="46974"/>
                  </a:cubicBezTo>
                  <a:cubicBezTo>
                    <a:pt x="146281" y="50251"/>
                    <a:pt x="149731" y="58704"/>
                    <a:pt x="146626" y="65949"/>
                  </a:cubicBezTo>
                  <a:cubicBezTo>
                    <a:pt x="144556" y="71641"/>
                    <a:pt x="139209" y="75264"/>
                    <a:pt x="133343" y="75264"/>
                  </a:cubicBezTo>
                  <a:close/>
                  <a:moveTo>
                    <a:pt x="15180" y="17994"/>
                  </a:moveTo>
                  <a:lnTo>
                    <a:pt x="15180" y="17994"/>
                  </a:lnTo>
                  <a:cubicBezTo>
                    <a:pt x="15180" y="17994"/>
                    <a:pt x="15180" y="17994"/>
                    <a:pt x="15180" y="17994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58" name="Gráfico 1344">
            <a:extLst>
              <a:ext uri="{FF2B5EF4-FFF2-40B4-BE49-F238E27FC236}">
                <a16:creationId xmlns:a16="http://schemas.microsoft.com/office/drawing/2014/main" id="{150B559F-24AF-4A02-8EA1-DE1A67BA1A2E}"/>
              </a:ext>
            </a:extLst>
          </p:cNvPr>
          <p:cNvGrpSpPr/>
          <p:nvPr/>
        </p:nvGrpSpPr>
        <p:grpSpPr>
          <a:xfrm>
            <a:off x="8283639" y="5294466"/>
            <a:ext cx="176648" cy="288179"/>
            <a:chOff x="8403385" y="5402952"/>
            <a:chExt cx="176648" cy="288179"/>
          </a:xfrm>
          <a:solidFill>
            <a:srgbClr val="F59D24"/>
          </a:solidFill>
        </p:grpSpPr>
        <p:sp>
          <p:nvSpPr>
            <p:cNvPr id="577" name="Gráfico 1344">
              <a:extLst>
                <a:ext uri="{FF2B5EF4-FFF2-40B4-BE49-F238E27FC236}">
                  <a16:creationId xmlns:a16="http://schemas.microsoft.com/office/drawing/2014/main" id="{90300CBA-637F-41C1-A5EA-4623C113A4B2}"/>
                </a:ext>
              </a:extLst>
            </p:cNvPr>
            <p:cNvSpPr/>
            <p:nvPr/>
          </p:nvSpPr>
          <p:spPr>
            <a:xfrm>
              <a:off x="8412010" y="5411209"/>
              <a:ext cx="159593" cy="271297"/>
            </a:xfrm>
            <a:custGeom>
              <a:avLst/>
              <a:gdLst>
                <a:gd name="connsiteX0" fmla="*/ 29920 w 159593"/>
                <a:gd name="connsiteY0" fmla="*/ 271297 h 271297"/>
                <a:gd name="connsiteX1" fmla="*/ 28367 w 159593"/>
                <a:gd name="connsiteY1" fmla="*/ 271125 h 271297"/>
                <a:gd name="connsiteX2" fmla="*/ 249 w 159593"/>
                <a:gd name="connsiteY2" fmla="*/ 250597 h 271297"/>
                <a:gd name="connsiteX3" fmla="*/ 42857 w 159593"/>
                <a:gd name="connsiteY3" fmla="*/ 201607 h 271297"/>
                <a:gd name="connsiteX4" fmla="*/ 49930 w 159593"/>
                <a:gd name="connsiteY4" fmla="*/ 196605 h 271297"/>
                <a:gd name="connsiteX5" fmla="*/ 66662 w 159593"/>
                <a:gd name="connsiteY5" fmla="*/ 140196 h 271297"/>
                <a:gd name="connsiteX6" fmla="*/ 66318 w 159593"/>
                <a:gd name="connsiteY6" fmla="*/ 122084 h 271297"/>
                <a:gd name="connsiteX7" fmla="*/ 64248 w 159593"/>
                <a:gd name="connsiteY7" fmla="*/ 102074 h 271297"/>
                <a:gd name="connsiteX8" fmla="*/ 64937 w 159593"/>
                <a:gd name="connsiteY8" fmla="*/ 52911 h 271297"/>
                <a:gd name="connsiteX9" fmla="*/ 97195 w 159593"/>
                <a:gd name="connsiteY9" fmla="*/ 35316 h 271297"/>
                <a:gd name="connsiteX10" fmla="*/ 115135 w 159593"/>
                <a:gd name="connsiteY10" fmla="*/ 30831 h 271297"/>
                <a:gd name="connsiteX11" fmla="*/ 127728 w 159593"/>
                <a:gd name="connsiteY11" fmla="*/ 18238 h 271297"/>
                <a:gd name="connsiteX12" fmla="*/ 152396 w 159593"/>
                <a:gd name="connsiteY12" fmla="*/ 125 h 271297"/>
                <a:gd name="connsiteX13" fmla="*/ 159468 w 159593"/>
                <a:gd name="connsiteY13" fmla="*/ 4783 h 271297"/>
                <a:gd name="connsiteX14" fmla="*/ 154811 w 159593"/>
                <a:gd name="connsiteY14" fmla="*/ 11855 h 271297"/>
                <a:gd name="connsiteX15" fmla="*/ 137733 w 159593"/>
                <a:gd name="connsiteY15" fmla="*/ 25138 h 271297"/>
                <a:gd name="connsiteX16" fmla="*/ 121000 w 159593"/>
                <a:gd name="connsiteY16" fmla="*/ 41526 h 271297"/>
                <a:gd name="connsiteX17" fmla="*/ 98920 w 159593"/>
                <a:gd name="connsiteY17" fmla="*/ 47391 h 271297"/>
                <a:gd name="connsiteX18" fmla="*/ 75460 w 159593"/>
                <a:gd name="connsiteY18" fmla="*/ 59121 h 271297"/>
                <a:gd name="connsiteX19" fmla="*/ 76322 w 159593"/>
                <a:gd name="connsiteY19" fmla="*/ 100521 h 271297"/>
                <a:gd name="connsiteX20" fmla="*/ 78738 w 159593"/>
                <a:gd name="connsiteY20" fmla="*/ 122256 h 271297"/>
                <a:gd name="connsiteX21" fmla="*/ 79083 w 159593"/>
                <a:gd name="connsiteY21" fmla="*/ 139852 h 271297"/>
                <a:gd name="connsiteX22" fmla="*/ 58037 w 159593"/>
                <a:gd name="connsiteY22" fmla="*/ 205919 h 271297"/>
                <a:gd name="connsiteX23" fmla="*/ 50102 w 159593"/>
                <a:gd name="connsiteY23" fmla="*/ 211439 h 271297"/>
                <a:gd name="connsiteX24" fmla="*/ 12669 w 159593"/>
                <a:gd name="connsiteY24" fmla="*/ 248355 h 271297"/>
                <a:gd name="connsiteX25" fmla="*/ 31645 w 159593"/>
                <a:gd name="connsiteY25" fmla="*/ 259567 h 271297"/>
                <a:gd name="connsiteX26" fmla="*/ 35957 w 159593"/>
                <a:gd name="connsiteY26" fmla="*/ 266812 h 271297"/>
                <a:gd name="connsiteX27" fmla="*/ 29920 w 159593"/>
                <a:gd name="connsiteY27" fmla="*/ 271297 h 27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9593" h="271297">
                  <a:moveTo>
                    <a:pt x="29920" y="271297"/>
                  </a:moveTo>
                  <a:cubicBezTo>
                    <a:pt x="29575" y="271297"/>
                    <a:pt x="29057" y="271297"/>
                    <a:pt x="28367" y="271125"/>
                  </a:cubicBezTo>
                  <a:cubicBezTo>
                    <a:pt x="11290" y="266812"/>
                    <a:pt x="1974" y="260257"/>
                    <a:pt x="249" y="250597"/>
                  </a:cubicBezTo>
                  <a:cubicBezTo>
                    <a:pt x="-2683" y="233347"/>
                    <a:pt x="20777" y="216269"/>
                    <a:pt x="42857" y="201607"/>
                  </a:cubicBezTo>
                  <a:cubicBezTo>
                    <a:pt x="46135" y="199537"/>
                    <a:pt x="48723" y="197812"/>
                    <a:pt x="49930" y="196605"/>
                  </a:cubicBezTo>
                  <a:cubicBezTo>
                    <a:pt x="67870" y="181942"/>
                    <a:pt x="67525" y="165209"/>
                    <a:pt x="66662" y="140196"/>
                  </a:cubicBezTo>
                  <a:cubicBezTo>
                    <a:pt x="66490" y="134331"/>
                    <a:pt x="66318" y="128639"/>
                    <a:pt x="66318" y="122084"/>
                  </a:cubicBezTo>
                  <a:cubicBezTo>
                    <a:pt x="66318" y="117426"/>
                    <a:pt x="65283" y="109836"/>
                    <a:pt x="64248" y="102074"/>
                  </a:cubicBezTo>
                  <a:cubicBezTo>
                    <a:pt x="61660" y="84306"/>
                    <a:pt x="58727" y="63951"/>
                    <a:pt x="64937" y="52911"/>
                  </a:cubicBezTo>
                  <a:cubicBezTo>
                    <a:pt x="73562" y="38076"/>
                    <a:pt x="86155" y="36523"/>
                    <a:pt x="97195" y="35316"/>
                  </a:cubicBezTo>
                  <a:cubicBezTo>
                    <a:pt x="103578" y="34453"/>
                    <a:pt x="109616" y="33763"/>
                    <a:pt x="115135" y="30831"/>
                  </a:cubicBezTo>
                  <a:cubicBezTo>
                    <a:pt x="121173" y="27898"/>
                    <a:pt x="124278" y="23068"/>
                    <a:pt x="127728" y="18238"/>
                  </a:cubicBezTo>
                  <a:cubicBezTo>
                    <a:pt x="132731" y="11166"/>
                    <a:pt x="138423" y="3058"/>
                    <a:pt x="152396" y="125"/>
                  </a:cubicBezTo>
                  <a:cubicBezTo>
                    <a:pt x="155673" y="-565"/>
                    <a:pt x="158778" y="1678"/>
                    <a:pt x="159468" y="4783"/>
                  </a:cubicBezTo>
                  <a:cubicBezTo>
                    <a:pt x="160158" y="8060"/>
                    <a:pt x="157916" y="11166"/>
                    <a:pt x="154811" y="11855"/>
                  </a:cubicBezTo>
                  <a:cubicBezTo>
                    <a:pt x="145668" y="13580"/>
                    <a:pt x="142218" y="18583"/>
                    <a:pt x="137733" y="25138"/>
                  </a:cubicBezTo>
                  <a:cubicBezTo>
                    <a:pt x="133938" y="30658"/>
                    <a:pt x="129453" y="36868"/>
                    <a:pt x="121000" y="41526"/>
                  </a:cubicBezTo>
                  <a:cubicBezTo>
                    <a:pt x="113583" y="45321"/>
                    <a:pt x="105821" y="46528"/>
                    <a:pt x="98920" y="47391"/>
                  </a:cubicBezTo>
                  <a:cubicBezTo>
                    <a:pt x="88398" y="48598"/>
                    <a:pt x="80980" y="49461"/>
                    <a:pt x="75460" y="59121"/>
                  </a:cubicBezTo>
                  <a:cubicBezTo>
                    <a:pt x="71148" y="66366"/>
                    <a:pt x="74253" y="86203"/>
                    <a:pt x="76322" y="100521"/>
                  </a:cubicBezTo>
                  <a:cubicBezTo>
                    <a:pt x="77530" y="108629"/>
                    <a:pt x="78738" y="116391"/>
                    <a:pt x="78738" y="122256"/>
                  </a:cubicBezTo>
                  <a:cubicBezTo>
                    <a:pt x="78738" y="128466"/>
                    <a:pt x="78910" y="134331"/>
                    <a:pt x="79083" y="139852"/>
                  </a:cubicBezTo>
                  <a:cubicBezTo>
                    <a:pt x="79945" y="166417"/>
                    <a:pt x="80808" y="187462"/>
                    <a:pt x="58037" y="205919"/>
                  </a:cubicBezTo>
                  <a:cubicBezTo>
                    <a:pt x="56312" y="207127"/>
                    <a:pt x="53725" y="208852"/>
                    <a:pt x="50102" y="211439"/>
                  </a:cubicBezTo>
                  <a:cubicBezTo>
                    <a:pt x="39407" y="218512"/>
                    <a:pt x="10772" y="237659"/>
                    <a:pt x="12669" y="248355"/>
                  </a:cubicBezTo>
                  <a:cubicBezTo>
                    <a:pt x="13360" y="252495"/>
                    <a:pt x="20432" y="256463"/>
                    <a:pt x="31645" y="259567"/>
                  </a:cubicBezTo>
                  <a:cubicBezTo>
                    <a:pt x="34922" y="260430"/>
                    <a:pt x="36820" y="263707"/>
                    <a:pt x="35957" y="266812"/>
                  </a:cubicBezTo>
                  <a:cubicBezTo>
                    <a:pt x="34922" y="269400"/>
                    <a:pt x="32680" y="271297"/>
                    <a:pt x="29920" y="271297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78" name="Gráfico 1344">
              <a:extLst>
                <a:ext uri="{FF2B5EF4-FFF2-40B4-BE49-F238E27FC236}">
                  <a16:creationId xmlns:a16="http://schemas.microsoft.com/office/drawing/2014/main" id="{290002CD-98C6-47A7-B957-7971B1928F51}"/>
                </a:ext>
              </a:extLst>
            </p:cNvPr>
            <p:cNvSpPr/>
            <p:nvPr/>
          </p:nvSpPr>
          <p:spPr>
            <a:xfrm>
              <a:off x="8403385" y="5402952"/>
              <a:ext cx="176648" cy="288179"/>
            </a:xfrm>
            <a:custGeom>
              <a:avLst/>
              <a:gdLst>
                <a:gd name="connsiteX0" fmla="*/ 38545 w 176648"/>
                <a:gd name="connsiteY0" fmla="*/ 288180 h 288179"/>
                <a:gd name="connsiteX1" fmla="*/ 34232 w 176648"/>
                <a:gd name="connsiteY1" fmla="*/ 287490 h 288179"/>
                <a:gd name="connsiteX2" fmla="*/ 422 w 176648"/>
                <a:gd name="connsiteY2" fmla="*/ 260235 h 288179"/>
                <a:gd name="connsiteX3" fmla="*/ 46825 w 176648"/>
                <a:gd name="connsiteY3" fmla="*/ 202619 h 288179"/>
                <a:gd name="connsiteX4" fmla="*/ 53035 w 176648"/>
                <a:gd name="connsiteY4" fmla="*/ 198307 h 288179"/>
                <a:gd name="connsiteX5" fmla="*/ 66662 w 176648"/>
                <a:gd name="connsiteY5" fmla="*/ 148799 h 288179"/>
                <a:gd name="connsiteX6" fmla="*/ 66145 w 176648"/>
                <a:gd name="connsiteY6" fmla="*/ 130513 h 288179"/>
                <a:gd name="connsiteX7" fmla="*/ 64248 w 176648"/>
                <a:gd name="connsiteY7" fmla="*/ 112746 h 288179"/>
                <a:gd name="connsiteX8" fmla="*/ 65800 w 176648"/>
                <a:gd name="connsiteY8" fmla="*/ 57200 h 288179"/>
                <a:gd name="connsiteX9" fmla="*/ 104613 w 176648"/>
                <a:gd name="connsiteY9" fmla="*/ 35293 h 288179"/>
                <a:gd name="connsiteX10" fmla="*/ 119448 w 176648"/>
                <a:gd name="connsiteY10" fmla="*/ 31843 h 288179"/>
                <a:gd name="connsiteX11" fmla="*/ 128936 w 176648"/>
                <a:gd name="connsiteY11" fmla="*/ 22010 h 288179"/>
                <a:gd name="connsiteX12" fmla="*/ 159123 w 176648"/>
                <a:gd name="connsiteY12" fmla="*/ 275 h 288179"/>
                <a:gd name="connsiteX13" fmla="*/ 176373 w 176648"/>
                <a:gd name="connsiteY13" fmla="*/ 11833 h 288179"/>
                <a:gd name="connsiteX14" fmla="*/ 164988 w 176648"/>
                <a:gd name="connsiteY14" fmla="*/ 29083 h 288179"/>
                <a:gd name="connsiteX15" fmla="*/ 153258 w 176648"/>
                <a:gd name="connsiteY15" fmla="*/ 38743 h 288179"/>
                <a:gd name="connsiteX16" fmla="*/ 133593 w 176648"/>
                <a:gd name="connsiteY16" fmla="*/ 57890 h 288179"/>
                <a:gd name="connsiteX17" fmla="*/ 108581 w 176648"/>
                <a:gd name="connsiteY17" fmla="*/ 64618 h 288179"/>
                <a:gd name="connsiteX18" fmla="*/ 91503 w 176648"/>
                <a:gd name="connsiteY18" fmla="*/ 72208 h 288179"/>
                <a:gd name="connsiteX19" fmla="*/ 93400 w 176648"/>
                <a:gd name="connsiteY19" fmla="*/ 107571 h 288179"/>
                <a:gd name="connsiteX20" fmla="*/ 95988 w 176648"/>
                <a:gd name="connsiteY20" fmla="*/ 131031 h 288179"/>
                <a:gd name="connsiteX21" fmla="*/ 96333 w 176648"/>
                <a:gd name="connsiteY21" fmla="*/ 148281 h 288179"/>
                <a:gd name="connsiteX22" fmla="*/ 72182 w 176648"/>
                <a:gd name="connsiteY22" fmla="*/ 221422 h 288179"/>
                <a:gd name="connsiteX23" fmla="*/ 67697 w 176648"/>
                <a:gd name="connsiteY23" fmla="*/ 224699 h 288179"/>
                <a:gd name="connsiteX24" fmla="*/ 63902 w 176648"/>
                <a:gd name="connsiteY24" fmla="*/ 227460 h 288179"/>
                <a:gd name="connsiteX25" fmla="*/ 30437 w 176648"/>
                <a:gd name="connsiteY25" fmla="*/ 255232 h 288179"/>
                <a:gd name="connsiteX26" fmla="*/ 42685 w 176648"/>
                <a:gd name="connsiteY26" fmla="*/ 260062 h 288179"/>
                <a:gd name="connsiteX27" fmla="*/ 53035 w 176648"/>
                <a:gd name="connsiteY27" fmla="*/ 278002 h 288179"/>
                <a:gd name="connsiteX28" fmla="*/ 38545 w 176648"/>
                <a:gd name="connsiteY28" fmla="*/ 288180 h 288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76648" h="288179">
                  <a:moveTo>
                    <a:pt x="38545" y="288180"/>
                  </a:moveTo>
                  <a:lnTo>
                    <a:pt x="34232" y="287490"/>
                  </a:lnTo>
                  <a:cubicBezTo>
                    <a:pt x="27332" y="285764"/>
                    <a:pt x="4044" y="279900"/>
                    <a:pt x="422" y="260235"/>
                  </a:cubicBezTo>
                  <a:cubicBezTo>
                    <a:pt x="-3545" y="237982"/>
                    <a:pt x="21122" y="219524"/>
                    <a:pt x="46825" y="202619"/>
                  </a:cubicBezTo>
                  <a:cubicBezTo>
                    <a:pt x="49585" y="200721"/>
                    <a:pt x="52000" y="199169"/>
                    <a:pt x="53035" y="198307"/>
                  </a:cubicBezTo>
                  <a:cubicBezTo>
                    <a:pt x="67352" y="186749"/>
                    <a:pt x="67525" y="174674"/>
                    <a:pt x="66662" y="148799"/>
                  </a:cubicBezTo>
                  <a:cubicBezTo>
                    <a:pt x="66490" y="142589"/>
                    <a:pt x="66145" y="136896"/>
                    <a:pt x="66145" y="130513"/>
                  </a:cubicBezTo>
                  <a:cubicBezTo>
                    <a:pt x="66145" y="126546"/>
                    <a:pt x="65110" y="119474"/>
                    <a:pt x="64248" y="112746"/>
                  </a:cubicBezTo>
                  <a:cubicBezTo>
                    <a:pt x="61315" y="92219"/>
                    <a:pt x="58210" y="70483"/>
                    <a:pt x="65800" y="57200"/>
                  </a:cubicBezTo>
                  <a:cubicBezTo>
                    <a:pt x="76668" y="38570"/>
                    <a:pt x="92710" y="36673"/>
                    <a:pt x="104613" y="35293"/>
                  </a:cubicBezTo>
                  <a:cubicBezTo>
                    <a:pt x="110995" y="34431"/>
                    <a:pt x="115653" y="33913"/>
                    <a:pt x="119448" y="31843"/>
                  </a:cubicBezTo>
                  <a:cubicBezTo>
                    <a:pt x="123588" y="29773"/>
                    <a:pt x="126003" y="26323"/>
                    <a:pt x="128936" y="22010"/>
                  </a:cubicBezTo>
                  <a:cubicBezTo>
                    <a:pt x="134110" y="14593"/>
                    <a:pt x="141528" y="3725"/>
                    <a:pt x="159123" y="275"/>
                  </a:cubicBezTo>
                  <a:cubicBezTo>
                    <a:pt x="167058" y="-1277"/>
                    <a:pt x="174821" y="3897"/>
                    <a:pt x="176373" y="11833"/>
                  </a:cubicBezTo>
                  <a:cubicBezTo>
                    <a:pt x="177926" y="19768"/>
                    <a:pt x="172750" y="27531"/>
                    <a:pt x="164988" y="29083"/>
                  </a:cubicBezTo>
                  <a:cubicBezTo>
                    <a:pt x="159295" y="30118"/>
                    <a:pt x="157743" y="32188"/>
                    <a:pt x="153258" y="38743"/>
                  </a:cubicBezTo>
                  <a:cubicBezTo>
                    <a:pt x="149463" y="44091"/>
                    <a:pt x="143943" y="52198"/>
                    <a:pt x="133593" y="57890"/>
                  </a:cubicBezTo>
                  <a:cubicBezTo>
                    <a:pt x="124278" y="62720"/>
                    <a:pt x="115135" y="63755"/>
                    <a:pt x="108581" y="64618"/>
                  </a:cubicBezTo>
                  <a:cubicBezTo>
                    <a:pt x="98058" y="65825"/>
                    <a:pt x="94607" y="66516"/>
                    <a:pt x="91503" y="72208"/>
                  </a:cubicBezTo>
                  <a:cubicBezTo>
                    <a:pt x="88742" y="76866"/>
                    <a:pt x="92020" y="98428"/>
                    <a:pt x="93400" y="107571"/>
                  </a:cubicBezTo>
                  <a:cubicBezTo>
                    <a:pt x="94780" y="116023"/>
                    <a:pt x="95988" y="124476"/>
                    <a:pt x="95988" y="131031"/>
                  </a:cubicBezTo>
                  <a:cubicBezTo>
                    <a:pt x="95988" y="137068"/>
                    <a:pt x="96160" y="142761"/>
                    <a:pt x="96333" y="148281"/>
                  </a:cubicBezTo>
                  <a:cubicBezTo>
                    <a:pt x="97195" y="175364"/>
                    <a:pt x="98058" y="200377"/>
                    <a:pt x="72182" y="221422"/>
                  </a:cubicBezTo>
                  <a:cubicBezTo>
                    <a:pt x="70803" y="222457"/>
                    <a:pt x="69422" y="223492"/>
                    <a:pt x="67697" y="224699"/>
                  </a:cubicBezTo>
                  <a:lnTo>
                    <a:pt x="63902" y="227460"/>
                  </a:lnTo>
                  <a:cubicBezTo>
                    <a:pt x="38200" y="244537"/>
                    <a:pt x="31990" y="252472"/>
                    <a:pt x="30437" y="255232"/>
                  </a:cubicBezTo>
                  <a:cubicBezTo>
                    <a:pt x="32162" y="256440"/>
                    <a:pt x="35785" y="258165"/>
                    <a:pt x="42685" y="260062"/>
                  </a:cubicBezTo>
                  <a:cubicBezTo>
                    <a:pt x="50447" y="262132"/>
                    <a:pt x="55105" y="270239"/>
                    <a:pt x="53035" y="278002"/>
                  </a:cubicBezTo>
                  <a:cubicBezTo>
                    <a:pt x="50447" y="284212"/>
                    <a:pt x="44755" y="288180"/>
                    <a:pt x="38545" y="288180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sp>
        <p:nvSpPr>
          <p:cNvPr id="385" name="Forma Livre: Forma 384">
            <a:extLst>
              <a:ext uri="{FF2B5EF4-FFF2-40B4-BE49-F238E27FC236}">
                <a16:creationId xmlns:a16="http://schemas.microsoft.com/office/drawing/2014/main" id="{B24FD935-13DD-F1B9-CC59-ACEAAC2C23E1}"/>
              </a:ext>
            </a:extLst>
          </p:cNvPr>
          <p:cNvSpPr/>
          <p:nvPr/>
        </p:nvSpPr>
        <p:spPr>
          <a:xfrm>
            <a:off x="8200965" y="5095854"/>
            <a:ext cx="179283" cy="277720"/>
          </a:xfrm>
          <a:custGeom>
            <a:avLst/>
            <a:gdLst>
              <a:gd name="connsiteX0" fmla="*/ 98873 w 179283"/>
              <a:gd name="connsiteY0" fmla="*/ 0 h 277720"/>
              <a:gd name="connsiteX1" fmla="*/ 103084 w 179283"/>
              <a:gd name="connsiteY1" fmla="*/ 22658 h 277720"/>
              <a:gd name="connsiteX2" fmla="*/ 106346 w 179283"/>
              <a:gd name="connsiteY2" fmla="*/ 27914 h 277720"/>
              <a:gd name="connsiteX3" fmla="*/ 93232 w 179283"/>
              <a:gd name="connsiteY3" fmla="*/ 33610 h 277720"/>
              <a:gd name="connsiteX4" fmla="*/ 42387 w 179283"/>
              <a:gd name="connsiteY4" fmla="*/ 69511 h 277720"/>
              <a:gd name="connsiteX5" fmla="*/ 28587 w 179283"/>
              <a:gd name="connsiteY5" fmla="*/ 96421 h 277720"/>
              <a:gd name="connsiteX6" fmla="*/ 98622 w 179283"/>
              <a:gd name="connsiteY6" fmla="*/ 166802 h 277720"/>
              <a:gd name="connsiteX7" fmla="*/ 178663 w 179283"/>
              <a:gd name="connsiteY7" fmla="*/ 265817 h 277720"/>
              <a:gd name="connsiteX8" fmla="*/ 164863 w 179283"/>
              <a:gd name="connsiteY8" fmla="*/ 277720 h 277720"/>
              <a:gd name="connsiteX9" fmla="*/ 164001 w 179283"/>
              <a:gd name="connsiteY9" fmla="*/ 277720 h 277720"/>
              <a:gd name="connsiteX10" fmla="*/ 153478 w 179283"/>
              <a:gd name="connsiteY10" fmla="*/ 272200 h 277720"/>
              <a:gd name="connsiteX11" fmla="*/ 150546 w 179283"/>
              <a:gd name="connsiteY11" fmla="*/ 261160 h 277720"/>
              <a:gd name="connsiteX12" fmla="*/ 83615 w 179283"/>
              <a:gd name="connsiteY12" fmla="*/ 191297 h 277720"/>
              <a:gd name="connsiteX13" fmla="*/ 124 w 179283"/>
              <a:gd name="connsiteY13" fmla="*/ 98664 h 277720"/>
              <a:gd name="connsiteX14" fmla="*/ 22722 w 179283"/>
              <a:gd name="connsiteY14" fmla="*/ 48638 h 277720"/>
              <a:gd name="connsiteX15" fmla="*/ 78677 w 179283"/>
              <a:gd name="connsiteY15" fmla="*/ 8791 h 27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9283" h="277720">
                <a:moveTo>
                  <a:pt x="98873" y="0"/>
                </a:moveTo>
                <a:lnTo>
                  <a:pt x="103084" y="22658"/>
                </a:lnTo>
                <a:lnTo>
                  <a:pt x="106346" y="27914"/>
                </a:lnTo>
                <a:lnTo>
                  <a:pt x="93232" y="33610"/>
                </a:lnTo>
                <a:cubicBezTo>
                  <a:pt x="74516" y="43809"/>
                  <a:pt x="56187" y="56142"/>
                  <a:pt x="42387" y="69511"/>
                </a:cubicBezTo>
                <a:cubicBezTo>
                  <a:pt x="32382" y="79171"/>
                  <a:pt x="28070" y="87796"/>
                  <a:pt x="28587" y="96421"/>
                </a:cubicBezTo>
                <a:cubicBezTo>
                  <a:pt x="30312" y="118847"/>
                  <a:pt x="66537" y="144204"/>
                  <a:pt x="98622" y="166802"/>
                </a:cubicBezTo>
                <a:cubicBezTo>
                  <a:pt x="143473" y="198197"/>
                  <a:pt x="184873" y="227177"/>
                  <a:pt x="178663" y="265817"/>
                </a:cubicBezTo>
                <a:cubicBezTo>
                  <a:pt x="178318" y="272200"/>
                  <a:pt x="172108" y="277720"/>
                  <a:pt x="164863" y="277720"/>
                </a:cubicBezTo>
                <a:lnTo>
                  <a:pt x="164001" y="277720"/>
                </a:lnTo>
                <a:cubicBezTo>
                  <a:pt x="159171" y="277203"/>
                  <a:pt x="155893" y="275133"/>
                  <a:pt x="153478" y="272200"/>
                </a:cubicBezTo>
                <a:cubicBezTo>
                  <a:pt x="151063" y="269095"/>
                  <a:pt x="150028" y="264955"/>
                  <a:pt x="150546" y="261160"/>
                </a:cubicBezTo>
                <a:cubicBezTo>
                  <a:pt x="153823" y="240460"/>
                  <a:pt x="116563" y="214412"/>
                  <a:pt x="83615" y="191297"/>
                </a:cubicBezTo>
                <a:cubicBezTo>
                  <a:pt x="43940" y="163524"/>
                  <a:pt x="3057" y="135061"/>
                  <a:pt x="124" y="98664"/>
                </a:cubicBezTo>
                <a:cubicBezTo>
                  <a:pt x="-1083" y="81069"/>
                  <a:pt x="6507" y="64163"/>
                  <a:pt x="22722" y="48638"/>
                </a:cubicBezTo>
                <a:cubicBezTo>
                  <a:pt x="38075" y="33717"/>
                  <a:pt x="58085" y="20089"/>
                  <a:pt x="78677" y="8791"/>
                </a:cubicBezTo>
                <a:close/>
              </a:path>
            </a:pathLst>
          </a:custGeom>
          <a:solidFill>
            <a:srgbClr val="F59D24"/>
          </a:solidFill>
          <a:ln w="172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BR">
              <a:latin typeface="Manrope" pitchFamily="2" charset="0"/>
            </a:endParaRPr>
          </a:p>
        </p:txBody>
      </p:sp>
      <p:grpSp>
        <p:nvGrpSpPr>
          <p:cNvPr id="560" name="Gráfico 1344">
            <a:extLst>
              <a:ext uri="{FF2B5EF4-FFF2-40B4-BE49-F238E27FC236}">
                <a16:creationId xmlns:a16="http://schemas.microsoft.com/office/drawing/2014/main" id="{D974209C-C424-480C-BD6A-B482E2D6530C}"/>
              </a:ext>
            </a:extLst>
          </p:cNvPr>
          <p:cNvGrpSpPr/>
          <p:nvPr/>
        </p:nvGrpSpPr>
        <p:grpSpPr>
          <a:xfrm>
            <a:off x="7861281" y="4093470"/>
            <a:ext cx="358695" cy="1069998"/>
            <a:chOff x="7981027" y="4201956"/>
            <a:chExt cx="358695" cy="1069998"/>
          </a:xfrm>
          <a:solidFill>
            <a:srgbClr val="F59D24"/>
          </a:solidFill>
        </p:grpSpPr>
        <p:sp>
          <p:nvSpPr>
            <p:cNvPr id="573" name="Gráfico 1344">
              <a:extLst>
                <a:ext uri="{FF2B5EF4-FFF2-40B4-BE49-F238E27FC236}">
                  <a16:creationId xmlns:a16="http://schemas.microsoft.com/office/drawing/2014/main" id="{4E1FC16C-A635-4A82-9423-395ECA250593}"/>
                </a:ext>
              </a:extLst>
            </p:cNvPr>
            <p:cNvSpPr/>
            <p:nvPr/>
          </p:nvSpPr>
          <p:spPr>
            <a:xfrm>
              <a:off x="7990129" y="4211172"/>
              <a:ext cx="341722" cy="1049050"/>
            </a:xfrm>
            <a:custGeom>
              <a:avLst/>
              <a:gdLst>
                <a:gd name="connsiteX0" fmla="*/ 312593 w 341722"/>
                <a:gd name="connsiteY0" fmla="*/ 1049051 h 1049050"/>
                <a:gd name="connsiteX1" fmla="*/ 310178 w 341722"/>
                <a:gd name="connsiteY1" fmla="*/ 1035251 h 1049050"/>
                <a:gd name="connsiteX2" fmla="*/ 312593 w 341722"/>
                <a:gd name="connsiteY2" fmla="*/ 987641 h 1049050"/>
                <a:gd name="connsiteX3" fmla="*/ 305520 w 341722"/>
                <a:gd name="connsiteY3" fmla="*/ 959868 h 1049050"/>
                <a:gd name="connsiteX4" fmla="*/ 297930 w 341722"/>
                <a:gd name="connsiteY4" fmla="*/ 921745 h 1049050"/>
                <a:gd name="connsiteX5" fmla="*/ 313800 w 341722"/>
                <a:gd name="connsiteY5" fmla="*/ 888452 h 1049050"/>
                <a:gd name="connsiteX6" fmla="*/ 326738 w 341722"/>
                <a:gd name="connsiteY6" fmla="*/ 862922 h 1049050"/>
                <a:gd name="connsiteX7" fmla="*/ 321736 w 341722"/>
                <a:gd name="connsiteY7" fmla="*/ 851365 h 1049050"/>
                <a:gd name="connsiteX8" fmla="*/ 315008 w 341722"/>
                <a:gd name="connsiteY8" fmla="*/ 834977 h 1049050"/>
                <a:gd name="connsiteX9" fmla="*/ 322943 w 341722"/>
                <a:gd name="connsiteY9" fmla="*/ 815829 h 1049050"/>
                <a:gd name="connsiteX10" fmla="*/ 327255 w 341722"/>
                <a:gd name="connsiteY10" fmla="*/ 808929 h 1049050"/>
                <a:gd name="connsiteX11" fmla="*/ 315698 w 341722"/>
                <a:gd name="connsiteY11" fmla="*/ 778224 h 1049050"/>
                <a:gd name="connsiteX12" fmla="*/ 298620 w 341722"/>
                <a:gd name="connsiteY12" fmla="*/ 763044 h 1049050"/>
                <a:gd name="connsiteX13" fmla="*/ 293273 w 341722"/>
                <a:gd name="connsiteY13" fmla="*/ 720436 h 1049050"/>
                <a:gd name="connsiteX14" fmla="*/ 298275 w 341722"/>
                <a:gd name="connsiteY14" fmla="*/ 699391 h 1049050"/>
                <a:gd name="connsiteX15" fmla="*/ 289650 w 341722"/>
                <a:gd name="connsiteY15" fmla="*/ 682831 h 1049050"/>
                <a:gd name="connsiteX16" fmla="*/ 280507 w 341722"/>
                <a:gd name="connsiteY16" fmla="*/ 667306 h 1049050"/>
                <a:gd name="connsiteX17" fmla="*/ 279472 w 341722"/>
                <a:gd name="connsiteY17" fmla="*/ 641948 h 1049050"/>
                <a:gd name="connsiteX18" fmla="*/ 280335 w 341722"/>
                <a:gd name="connsiteY18" fmla="*/ 630908 h 1049050"/>
                <a:gd name="connsiteX19" fmla="*/ 268260 w 341722"/>
                <a:gd name="connsiteY19" fmla="*/ 602790 h 1049050"/>
                <a:gd name="connsiteX20" fmla="*/ 252045 w 341722"/>
                <a:gd name="connsiteY20" fmla="*/ 587783 h 1049050"/>
                <a:gd name="connsiteX21" fmla="*/ 249457 w 341722"/>
                <a:gd name="connsiteY21" fmla="*/ 585023 h 1049050"/>
                <a:gd name="connsiteX22" fmla="*/ 210472 w 341722"/>
                <a:gd name="connsiteY22" fmla="*/ 535170 h 1049050"/>
                <a:gd name="connsiteX23" fmla="*/ 221857 w 341722"/>
                <a:gd name="connsiteY23" fmla="*/ 492217 h 1049050"/>
                <a:gd name="connsiteX24" fmla="*/ 233070 w 341722"/>
                <a:gd name="connsiteY24" fmla="*/ 468240 h 1049050"/>
                <a:gd name="connsiteX25" fmla="*/ 225825 w 341722"/>
                <a:gd name="connsiteY25" fmla="*/ 457199 h 1049050"/>
                <a:gd name="connsiteX26" fmla="*/ 215819 w 341722"/>
                <a:gd name="connsiteY26" fmla="*/ 439777 h 1049050"/>
                <a:gd name="connsiteX27" fmla="*/ 230482 w 341722"/>
                <a:gd name="connsiteY27" fmla="*/ 412177 h 1049050"/>
                <a:gd name="connsiteX28" fmla="*/ 236347 w 341722"/>
                <a:gd name="connsiteY28" fmla="*/ 405104 h 1049050"/>
                <a:gd name="connsiteX29" fmla="*/ 244455 w 341722"/>
                <a:gd name="connsiteY29" fmla="*/ 393201 h 1049050"/>
                <a:gd name="connsiteX30" fmla="*/ 270675 w 341722"/>
                <a:gd name="connsiteY30" fmla="*/ 351801 h 1049050"/>
                <a:gd name="connsiteX31" fmla="*/ 240832 w 341722"/>
                <a:gd name="connsiteY31" fmla="*/ 291771 h 1049050"/>
                <a:gd name="connsiteX32" fmla="*/ 244627 w 341722"/>
                <a:gd name="connsiteY32" fmla="*/ 222597 h 1049050"/>
                <a:gd name="connsiteX33" fmla="*/ 238590 w 341722"/>
                <a:gd name="connsiteY33" fmla="*/ 177230 h 1049050"/>
                <a:gd name="connsiteX34" fmla="*/ 234450 w 341722"/>
                <a:gd name="connsiteY34" fmla="*/ 170157 h 1049050"/>
                <a:gd name="connsiteX35" fmla="*/ 228240 w 341722"/>
                <a:gd name="connsiteY35" fmla="*/ 157565 h 1049050"/>
                <a:gd name="connsiteX36" fmla="*/ 220477 w 341722"/>
                <a:gd name="connsiteY36" fmla="*/ 142384 h 1049050"/>
                <a:gd name="connsiteX37" fmla="*/ 213750 w 341722"/>
                <a:gd name="connsiteY37" fmla="*/ 133242 h 1049050"/>
                <a:gd name="connsiteX38" fmla="*/ 202882 w 341722"/>
                <a:gd name="connsiteY38" fmla="*/ 115474 h 1049050"/>
                <a:gd name="connsiteX39" fmla="*/ 198397 w 341722"/>
                <a:gd name="connsiteY39" fmla="*/ 86321 h 1049050"/>
                <a:gd name="connsiteX40" fmla="*/ 186667 w 341722"/>
                <a:gd name="connsiteY40" fmla="*/ 50269 h 1049050"/>
                <a:gd name="connsiteX41" fmla="*/ 133709 w 341722"/>
                <a:gd name="connsiteY41" fmla="*/ 15424 h 1049050"/>
                <a:gd name="connsiteX42" fmla="*/ 92309 w 341722"/>
                <a:gd name="connsiteY42" fmla="*/ 17838 h 1049050"/>
                <a:gd name="connsiteX43" fmla="*/ 69366 w 341722"/>
                <a:gd name="connsiteY43" fmla="*/ 23876 h 1049050"/>
                <a:gd name="connsiteX44" fmla="*/ 3470 w 341722"/>
                <a:gd name="connsiteY44" fmla="*/ 14906 h 1049050"/>
                <a:gd name="connsiteX45" fmla="*/ 538 w 341722"/>
                <a:gd name="connsiteY45" fmla="*/ 6971 h 1049050"/>
                <a:gd name="connsiteX46" fmla="*/ 8473 w 341722"/>
                <a:gd name="connsiteY46" fmla="*/ 4039 h 1049050"/>
                <a:gd name="connsiteX47" fmla="*/ 67814 w 341722"/>
                <a:gd name="connsiteY47" fmla="*/ 11973 h 1049050"/>
                <a:gd name="connsiteX48" fmla="*/ 88686 w 341722"/>
                <a:gd name="connsiteY48" fmla="*/ 6453 h 1049050"/>
                <a:gd name="connsiteX49" fmla="*/ 138884 w 341722"/>
                <a:gd name="connsiteY49" fmla="*/ 4556 h 1049050"/>
                <a:gd name="connsiteX50" fmla="*/ 195292 w 341722"/>
                <a:gd name="connsiteY50" fmla="*/ 41644 h 1049050"/>
                <a:gd name="connsiteX51" fmla="*/ 210817 w 341722"/>
                <a:gd name="connsiteY51" fmla="*/ 85632 h 1049050"/>
                <a:gd name="connsiteX52" fmla="*/ 214440 w 341722"/>
                <a:gd name="connsiteY52" fmla="*/ 111162 h 1049050"/>
                <a:gd name="connsiteX53" fmla="*/ 223410 w 341722"/>
                <a:gd name="connsiteY53" fmla="*/ 125480 h 1049050"/>
                <a:gd name="connsiteX54" fmla="*/ 231000 w 341722"/>
                <a:gd name="connsiteY54" fmla="*/ 136002 h 1049050"/>
                <a:gd name="connsiteX55" fmla="*/ 239280 w 341722"/>
                <a:gd name="connsiteY55" fmla="*/ 152390 h 1049050"/>
                <a:gd name="connsiteX56" fmla="*/ 245145 w 341722"/>
                <a:gd name="connsiteY56" fmla="*/ 164120 h 1049050"/>
                <a:gd name="connsiteX57" fmla="*/ 249285 w 341722"/>
                <a:gd name="connsiteY57" fmla="*/ 171192 h 1049050"/>
                <a:gd name="connsiteX58" fmla="*/ 256357 w 341722"/>
                <a:gd name="connsiteY58" fmla="*/ 225875 h 1049050"/>
                <a:gd name="connsiteX59" fmla="*/ 281370 w 341722"/>
                <a:gd name="connsiteY59" fmla="*/ 343866 h 1049050"/>
                <a:gd name="connsiteX60" fmla="*/ 286372 w 341722"/>
                <a:gd name="connsiteY60" fmla="*/ 346281 h 1049050"/>
                <a:gd name="connsiteX61" fmla="*/ 284303 w 341722"/>
                <a:gd name="connsiteY61" fmla="*/ 351456 h 1049050"/>
                <a:gd name="connsiteX62" fmla="*/ 254632 w 341722"/>
                <a:gd name="connsiteY62" fmla="*/ 399756 h 1049050"/>
                <a:gd name="connsiteX63" fmla="*/ 246525 w 341722"/>
                <a:gd name="connsiteY63" fmla="*/ 411486 h 1049050"/>
                <a:gd name="connsiteX64" fmla="*/ 240142 w 341722"/>
                <a:gd name="connsiteY64" fmla="*/ 419594 h 1049050"/>
                <a:gd name="connsiteX65" fmla="*/ 228585 w 341722"/>
                <a:gd name="connsiteY65" fmla="*/ 438742 h 1049050"/>
                <a:gd name="connsiteX66" fmla="*/ 234967 w 341722"/>
                <a:gd name="connsiteY66" fmla="*/ 448574 h 1049050"/>
                <a:gd name="connsiteX67" fmla="*/ 245662 w 341722"/>
                <a:gd name="connsiteY67" fmla="*/ 467205 h 1049050"/>
                <a:gd name="connsiteX68" fmla="*/ 231862 w 341722"/>
                <a:gd name="connsiteY68" fmla="*/ 499462 h 1049050"/>
                <a:gd name="connsiteX69" fmla="*/ 222202 w 341722"/>
                <a:gd name="connsiteY69" fmla="*/ 530858 h 1049050"/>
                <a:gd name="connsiteX70" fmla="*/ 258945 w 341722"/>
                <a:gd name="connsiteY70" fmla="*/ 576915 h 1049050"/>
                <a:gd name="connsiteX71" fmla="*/ 261532 w 341722"/>
                <a:gd name="connsiteY71" fmla="*/ 579848 h 1049050"/>
                <a:gd name="connsiteX72" fmla="*/ 276368 w 341722"/>
                <a:gd name="connsiteY72" fmla="*/ 593475 h 1049050"/>
                <a:gd name="connsiteX73" fmla="*/ 293100 w 341722"/>
                <a:gd name="connsiteY73" fmla="*/ 631081 h 1049050"/>
                <a:gd name="connsiteX74" fmla="*/ 292237 w 341722"/>
                <a:gd name="connsiteY74" fmla="*/ 643673 h 1049050"/>
                <a:gd name="connsiteX75" fmla="*/ 292928 w 341722"/>
                <a:gd name="connsiteY75" fmla="*/ 664201 h 1049050"/>
                <a:gd name="connsiteX76" fmla="*/ 300173 w 341722"/>
                <a:gd name="connsiteY76" fmla="*/ 676103 h 1049050"/>
                <a:gd name="connsiteX77" fmla="*/ 311041 w 341722"/>
                <a:gd name="connsiteY77" fmla="*/ 699391 h 1049050"/>
                <a:gd name="connsiteX78" fmla="*/ 305175 w 341722"/>
                <a:gd name="connsiteY78" fmla="*/ 725439 h 1049050"/>
                <a:gd name="connsiteX79" fmla="*/ 308798 w 341722"/>
                <a:gd name="connsiteY79" fmla="*/ 756144 h 1049050"/>
                <a:gd name="connsiteX80" fmla="*/ 323633 w 341722"/>
                <a:gd name="connsiteY80" fmla="*/ 769082 h 1049050"/>
                <a:gd name="connsiteX81" fmla="*/ 339848 w 341722"/>
                <a:gd name="connsiteY81" fmla="*/ 812207 h 1049050"/>
                <a:gd name="connsiteX82" fmla="*/ 332948 w 341722"/>
                <a:gd name="connsiteY82" fmla="*/ 824110 h 1049050"/>
                <a:gd name="connsiteX83" fmla="*/ 327773 w 341722"/>
                <a:gd name="connsiteY83" fmla="*/ 835667 h 1049050"/>
                <a:gd name="connsiteX84" fmla="*/ 332258 w 341722"/>
                <a:gd name="connsiteY84" fmla="*/ 845500 h 1049050"/>
                <a:gd name="connsiteX85" fmla="*/ 339330 w 341722"/>
                <a:gd name="connsiteY85" fmla="*/ 864302 h 1049050"/>
                <a:gd name="connsiteX86" fmla="*/ 324496 w 341722"/>
                <a:gd name="connsiteY86" fmla="*/ 895870 h 1049050"/>
                <a:gd name="connsiteX87" fmla="*/ 310523 w 341722"/>
                <a:gd name="connsiteY87" fmla="*/ 923815 h 1049050"/>
                <a:gd name="connsiteX88" fmla="*/ 317423 w 341722"/>
                <a:gd name="connsiteY88" fmla="*/ 956935 h 1049050"/>
                <a:gd name="connsiteX89" fmla="*/ 325013 w 341722"/>
                <a:gd name="connsiteY89" fmla="*/ 987813 h 1049050"/>
                <a:gd name="connsiteX90" fmla="*/ 322598 w 341722"/>
                <a:gd name="connsiteY90" fmla="*/ 1037148 h 1049050"/>
                <a:gd name="connsiteX91" fmla="*/ 321908 w 341722"/>
                <a:gd name="connsiteY91" fmla="*/ 1044566 h 1049050"/>
                <a:gd name="connsiteX92" fmla="*/ 316043 w 341722"/>
                <a:gd name="connsiteY92" fmla="*/ 1044566 h 1049050"/>
                <a:gd name="connsiteX93" fmla="*/ 312593 w 341722"/>
                <a:gd name="connsiteY93" fmla="*/ 1049051 h 1049050"/>
                <a:gd name="connsiteX94" fmla="*/ 312593 w 341722"/>
                <a:gd name="connsiteY94" fmla="*/ 1049051 h 1049050"/>
                <a:gd name="connsiteX95" fmla="*/ 312593 w 341722"/>
                <a:gd name="connsiteY95" fmla="*/ 1049051 h 10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41722" h="1049050">
                  <a:moveTo>
                    <a:pt x="312593" y="1049051"/>
                  </a:moveTo>
                  <a:cubicBezTo>
                    <a:pt x="309315" y="1047154"/>
                    <a:pt x="309315" y="1046291"/>
                    <a:pt x="310178" y="1035251"/>
                  </a:cubicBezTo>
                  <a:cubicBezTo>
                    <a:pt x="311213" y="1022658"/>
                    <a:pt x="313110" y="999371"/>
                    <a:pt x="312593" y="987641"/>
                  </a:cubicBezTo>
                  <a:cubicBezTo>
                    <a:pt x="312248" y="978671"/>
                    <a:pt x="308970" y="969528"/>
                    <a:pt x="305520" y="959868"/>
                  </a:cubicBezTo>
                  <a:cubicBezTo>
                    <a:pt x="301208" y="947448"/>
                    <a:pt x="296723" y="934510"/>
                    <a:pt x="297930" y="921745"/>
                  </a:cubicBezTo>
                  <a:cubicBezTo>
                    <a:pt x="298965" y="910705"/>
                    <a:pt x="306728" y="899320"/>
                    <a:pt x="313800" y="888452"/>
                  </a:cubicBezTo>
                  <a:cubicBezTo>
                    <a:pt x="320010" y="879310"/>
                    <a:pt x="326220" y="869822"/>
                    <a:pt x="326738" y="862922"/>
                  </a:cubicBezTo>
                  <a:cubicBezTo>
                    <a:pt x="326910" y="858955"/>
                    <a:pt x="324668" y="855505"/>
                    <a:pt x="321736" y="851365"/>
                  </a:cubicBezTo>
                  <a:cubicBezTo>
                    <a:pt x="318458" y="846707"/>
                    <a:pt x="315008" y="841532"/>
                    <a:pt x="315008" y="834977"/>
                  </a:cubicBezTo>
                  <a:cubicBezTo>
                    <a:pt x="315008" y="824972"/>
                    <a:pt x="319493" y="819797"/>
                    <a:pt x="322943" y="815829"/>
                  </a:cubicBezTo>
                  <a:cubicBezTo>
                    <a:pt x="325013" y="813242"/>
                    <a:pt x="326566" y="811517"/>
                    <a:pt x="327255" y="808929"/>
                  </a:cubicBezTo>
                  <a:cubicBezTo>
                    <a:pt x="331740" y="789782"/>
                    <a:pt x="326393" y="785814"/>
                    <a:pt x="315698" y="778224"/>
                  </a:cubicBezTo>
                  <a:cubicBezTo>
                    <a:pt x="310350" y="774429"/>
                    <a:pt x="304313" y="770117"/>
                    <a:pt x="298620" y="763044"/>
                  </a:cubicBezTo>
                  <a:cubicBezTo>
                    <a:pt x="283440" y="744759"/>
                    <a:pt x="288788" y="731821"/>
                    <a:pt x="293273" y="720436"/>
                  </a:cubicBezTo>
                  <a:cubicBezTo>
                    <a:pt x="295860" y="714054"/>
                    <a:pt x="298448" y="707499"/>
                    <a:pt x="298275" y="699391"/>
                  </a:cubicBezTo>
                  <a:cubicBezTo>
                    <a:pt x="298103" y="694044"/>
                    <a:pt x="293963" y="688523"/>
                    <a:pt x="289650" y="682831"/>
                  </a:cubicBezTo>
                  <a:cubicBezTo>
                    <a:pt x="286028" y="678001"/>
                    <a:pt x="282060" y="672826"/>
                    <a:pt x="280507" y="667306"/>
                  </a:cubicBezTo>
                  <a:cubicBezTo>
                    <a:pt x="277747" y="657991"/>
                    <a:pt x="278610" y="649883"/>
                    <a:pt x="279472" y="641948"/>
                  </a:cubicBezTo>
                  <a:cubicBezTo>
                    <a:pt x="279817" y="638153"/>
                    <a:pt x="280335" y="634530"/>
                    <a:pt x="280335" y="630908"/>
                  </a:cubicBezTo>
                  <a:cubicBezTo>
                    <a:pt x="280335" y="612105"/>
                    <a:pt x="277058" y="609518"/>
                    <a:pt x="268260" y="602790"/>
                  </a:cubicBezTo>
                  <a:cubicBezTo>
                    <a:pt x="263775" y="599168"/>
                    <a:pt x="258427" y="594855"/>
                    <a:pt x="252045" y="587783"/>
                  </a:cubicBezTo>
                  <a:lnTo>
                    <a:pt x="249457" y="585023"/>
                  </a:lnTo>
                  <a:cubicBezTo>
                    <a:pt x="231517" y="565358"/>
                    <a:pt x="214267" y="545520"/>
                    <a:pt x="210472" y="535170"/>
                  </a:cubicBezTo>
                  <a:cubicBezTo>
                    <a:pt x="203227" y="515505"/>
                    <a:pt x="213750" y="502567"/>
                    <a:pt x="221857" y="492217"/>
                  </a:cubicBezTo>
                  <a:cubicBezTo>
                    <a:pt x="228240" y="484282"/>
                    <a:pt x="233587" y="477555"/>
                    <a:pt x="233070" y="468240"/>
                  </a:cubicBezTo>
                  <a:cubicBezTo>
                    <a:pt x="232725" y="463927"/>
                    <a:pt x="230137" y="461167"/>
                    <a:pt x="225825" y="457199"/>
                  </a:cubicBezTo>
                  <a:cubicBezTo>
                    <a:pt x="221512" y="453232"/>
                    <a:pt x="216337" y="448057"/>
                    <a:pt x="215819" y="439777"/>
                  </a:cubicBezTo>
                  <a:cubicBezTo>
                    <a:pt x="215129" y="429772"/>
                    <a:pt x="223582" y="420112"/>
                    <a:pt x="230482" y="412177"/>
                  </a:cubicBezTo>
                  <a:cubicBezTo>
                    <a:pt x="232897" y="409589"/>
                    <a:pt x="234967" y="407001"/>
                    <a:pt x="236347" y="405104"/>
                  </a:cubicBezTo>
                  <a:cubicBezTo>
                    <a:pt x="238935" y="401309"/>
                    <a:pt x="241695" y="397169"/>
                    <a:pt x="244455" y="393201"/>
                  </a:cubicBezTo>
                  <a:cubicBezTo>
                    <a:pt x="253942" y="379574"/>
                    <a:pt x="264638" y="364393"/>
                    <a:pt x="270675" y="351801"/>
                  </a:cubicBezTo>
                  <a:cubicBezTo>
                    <a:pt x="251183" y="338518"/>
                    <a:pt x="243592" y="312298"/>
                    <a:pt x="240832" y="291771"/>
                  </a:cubicBezTo>
                  <a:cubicBezTo>
                    <a:pt x="237210" y="264860"/>
                    <a:pt x="239970" y="237605"/>
                    <a:pt x="244627" y="222597"/>
                  </a:cubicBezTo>
                  <a:cubicBezTo>
                    <a:pt x="251700" y="199482"/>
                    <a:pt x="249630" y="196205"/>
                    <a:pt x="238590" y="177230"/>
                  </a:cubicBezTo>
                  <a:cubicBezTo>
                    <a:pt x="237382" y="175160"/>
                    <a:pt x="236002" y="172745"/>
                    <a:pt x="234450" y="170157"/>
                  </a:cubicBezTo>
                  <a:cubicBezTo>
                    <a:pt x="231862" y="165672"/>
                    <a:pt x="229965" y="161360"/>
                    <a:pt x="228240" y="157565"/>
                  </a:cubicBezTo>
                  <a:cubicBezTo>
                    <a:pt x="225825" y="152735"/>
                    <a:pt x="223927" y="147905"/>
                    <a:pt x="220477" y="142384"/>
                  </a:cubicBezTo>
                  <a:cubicBezTo>
                    <a:pt x="218407" y="138935"/>
                    <a:pt x="215992" y="136002"/>
                    <a:pt x="213750" y="133242"/>
                  </a:cubicBezTo>
                  <a:cubicBezTo>
                    <a:pt x="209610" y="128412"/>
                    <a:pt x="205642" y="123064"/>
                    <a:pt x="202882" y="115474"/>
                  </a:cubicBezTo>
                  <a:cubicBezTo>
                    <a:pt x="199260" y="105297"/>
                    <a:pt x="198742" y="95637"/>
                    <a:pt x="198397" y="86321"/>
                  </a:cubicBezTo>
                  <a:cubicBezTo>
                    <a:pt x="197707" y="72866"/>
                    <a:pt x="197362" y="61136"/>
                    <a:pt x="186667" y="50269"/>
                  </a:cubicBezTo>
                  <a:cubicBezTo>
                    <a:pt x="177179" y="40954"/>
                    <a:pt x="145957" y="21289"/>
                    <a:pt x="133709" y="15424"/>
                  </a:cubicBezTo>
                  <a:cubicBezTo>
                    <a:pt x="119736" y="9041"/>
                    <a:pt x="106971" y="13008"/>
                    <a:pt x="92309" y="17838"/>
                  </a:cubicBezTo>
                  <a:cubicBezTo>
                    <a:pt x="85064" y="20254"/>
                    <a:pt x="77301" y="22668"/>
                    <a:pt x="69366" y="23876"/>
                  </a:cubicBezTo>
                  <a:cubicBezTo>
                    <a:pt x="46596" y="26809"/>
                    <a:pt x="23825" y="23876"/>
                    <a:pt x="3470" y="14906"/>
                  </a:cubicBezTo>
                  <a:cubicBezTo>
                    <a:pt x="538" y="13699"/>
                    <a:pt x="-842" y="10076"/>
                    <a:pt x="538" y="6971"/>
                  </a:cubicBezTo>
                  <a:cubicBezTo>
                    <a:pt x="1745" y="4039"/>
                    <a:pt x="5540" y="2658"/>
                    <a:pt x="8473" y="4039"/>
                  </a:cubicBezTo>
                  <a:cubicBezTo>
                    <a:pt x="26758" y="11973"/>
                    <a:pt x="47113" y="14734"/>
                    <a:pt x="67814" y="11973"/>
                  </a:cubicBezTo>
                  <a:cubicBezTo>
                    <a:pt x="74714" y="11111"/>
                    <a:pt x="81269" y="8696"/>
                    <a:pt x="88686" y="6453"/>
                  </a:cubicBezTo>
                  <a:cubicBezTo>
                    <a:pt x="104384" y="1278"/>
                    <a:pt x="120599" y="-4069"/>
                    <a:pt x="138884" y="4556"/>
                  </a:cubicBezTo>
                  <a:cubicBezTo>
                    <a:pt x="152339" y="10939"/>
                    <a:pt x="184769" y="31294"/>
                    <a:pt x="195292" y="41644"/>
                  </a:cubicBezTo>
                  <a:cubicBezTo>
                    <a:pt x="209437" y="55789"/>
                    <a:pt x="210127" y="70796"/>
                    <a:pt x="210817" y="85632"/>
                  </a:cubicBezTo>
                  <a:cubicBezTo>
                    <a:pt x="211162" y="93912"/>
                    <a:pt x="211507" y="102709"/>
                    <a:pt x="214440" y="111162"/>
                  </a:cubicBezTo>
                  <a:cubicBezTo>
                    <a:pt x="216337" y="116855"/>
                    <a:pt x="219615" y="120994"/>
                    <a:pt x="223410" y="125480"/>
                  </a:cubicBezTo>
                  <a:cubicBezTo>
                    <a:pt x="225997" y="128757"/>
                    <a:pt x="228585" y="131862"/>
                    <a:pt x="231000" y="136002"/>
                  </a:cubicBezTo>
                  <a:cubicBezTo>
                    <a:pt x="234622" y="142212"/>
                    <a:pt x="237210" y="147387"/>
                    <a:pt x="239280" y="152390"/>
                  </a:cubicBezTo>
                  <a:cubicBezTo>
                    <a:pt x="241005" y="156185"/>
                    <a:pt x="242730" y="160152"/>
                    <a:pt x="245145" y="164120"/>
                  </a:cubicBezTo>
                  <a:cubicBezTo>
                    <a:pt x="246697" y="166707"/>
                    <a:pt x="247905" y="168950"/>
                    <a:pt x="249285" y="171192"/>
                  </a:cubicBezTo>
                  <a:cubicBezTo>
                    <a:pt x="261705" y="192237"/>
                    <a:pt x="264465" y="198965"/>
                    <a:pt x="256357" y="225875"/>
                  </a:cubicBezTo>
                  <a:cubicBezTo>
                    <a:pt x="248077" y="253130"/>
                    <a:pt x="246697" y="326098"/>
                    <a:pt x="281370" y="343866"/>
                  </a:cubicBezTo>
                  <a:lnTo>
                    <a:pt x="286372" y="346281"/>
                  </a:lnTo>
                  <a:lnTo>
                    <a:pt x="284303" y="351456"/>
                  </a:lnTo>
                  <a:cubicBezTo>
                    <a:pt x="278265" y="365946"/>
                    <a:pt x="265845" y="383886"/>
                    <a:pt x="254632" y="399756"/>
                  </a:cubicBezTo>
                  <a:cubicBezTo>
                    <a:pt x="251872" y="403896"/>
                    <a:pt x="249112" y="407864"/>
                    <a:pt x="246525" y="411486"/>
                  </a:cubicBezTo>
                  <a:cubicBezTo>
                    <a:pt x="244800" y="414074"/>
                    <a:pt x="242385" y="416661"/>
                    <a:pt x="240142" y="419594"/>
                  </a:cubicBezTo>
                  <a:cubicBezTo>
                    <a:pt x="234967" y="425632"/>
                    <a:pt x="228067" y="433739"/>
                    <a:pt x="228585" y="438742"/>
                  </a:cubicBezTo>
                  <a:cubicBezTo>
                    <a:pt x="228757" y="442364"/>
                    <a:pt x="231000" y="444434"/>
                    <a:pt x="234967" y="448574"/>
                  </a:cubicBezTo>
                  <a:cubicBezTo>
                    <a:pt x="239452" y="452887"/>
                    <a:pt x="244972" y="458234"/>
                    <a:pt x="245662" y="467205"/>
                  </a:cubicBezTo>
                  <a:cubicBezTo>
                    <a:pt x="246697" y="481004"/>
                    <a:pt x="238762" y="490837"/>
                    <a:pt x="231862" y="499462"/>
                  </a:cubicBezTo>
                  <a:cubicBezTo>
                    <a:pt x="223754" y="509467"/>
                    <a:pt x="217200" y="517402"/>
                    <a:pt x="222202" y="530858"/>
                  </a:cubicBezTo>
                  <a:cubicBezTo>
                    <a:pt x="225825" y="540690"/>
                    <a:pt x="248940" y="566047"/>
                    <a:pt x="258945" y="576915"/>
                  </a:cubicBezTo>
                  <a:lnTo>
                    <a:pt x="261532" y="579848"/>
                  </a:lnTo>
                  <a:cubicBezTo>
                    <a:pt x="267398" y="586230"/>
                    <a:pt x="272055" y="590025"/>
                    <a:pt x="276368" y="593475"/>
                  </a:cubicBezTo>
                  <a:cubicBezTo>
                    <a:pt x="287235" y="601928"/>
                    <a:pt x="292928" y="607620"/>
                    <a:pt x="293100" y="631081"/>
                  </a:cubicBezTo>
                  <a:cubicBezTo>
                    <a:pt x="293100" y="635393"/>
                    <a:pt x="292755" y="639533"/>
                    <a:pt x="292237" y="643673"/>
                  </a:cubicBezTo>
                  <a:cubicBezTo>
                    <a:pt x="291375" y="650918"/>
                    <a:pt x="290685" y="657301"/>
                    <a:pt x="292928" y="664201"/>
                  </a:cubicBezTo>
                  <a:cubicBezTo>
                    <a:pt x="293963" y="667824"/>
                    <a:pt x="297240" y="671963"/>
                    <a:pt x="300173" y="676103"/>
                  </a:cubicBezTo>
                  <a:cubicBezTo>
                    <a:pt x="305175" y="683003"/>
                    <a:pt x="310695" y="690421"/>
                    <a:pt x="311041" y="699391"/>
                  </a:cubicBezTo>
                  <a:cubicBezTo>
                    <a:pt x="311385" y="710086"/>
                    <a:pt x="308280" y="718194"/>
                    <a:pt x="305175" y="725439"/>
                  </a:cubicBezTo>
                  <a:cubicBezTo>
                    <a:pt x="300690" y="736479"/>
                    <a:pt x="298103" y="743379"/>
                    <a:pt x="308798" y="756144"/>
                  </a:cubicBezTo>
                  <a:cubicBezTo>
                    <a:pt x="313455" y="761836"/>
                    <a:pt x="318630" y="765459"/>
                    <a:pt x="323633" y="769082"/>
                  </a:cubicBezTo>
                  <a:cubicBezTo>
                    <a:pt x="335191" y="777361"/>
                    <a:pt x="346230" y="785124"/>
                    <a:pt x="339848" y="812207"/>
                  </a:cubicBezTo>
                  <a:cubicBezTo>
                    <a:pt x="338640" y="817727"/>
                    <a:pt x="335535" y="821177"/>
                    <a:pt x="332948" y="824110"/>
                  </a:cubicBezTo>
                  <a:cubicBezTo>
                    <a:pt x="330015" y="827559"/>
                    <a:pt x="327773" y="830147"/>
                    <a:pt x="327773" y="835667"/>
                  </a:cubicBezTo>
                  <a:cubicBezTo>
                    <a:pt x="327773" y="838945"/>
                    <a:pt x="329843" y="841877"/>
                    <a:pt x="332258" y="845500"/>
                  </a:cubicBezTo>
                  <a:cubicBezTo>
                    <a:pt x="335708" y="850330"/>
                    <a:pt x="339848" y="856367"/>
                    <a:pt x="339330" y="864302"/>
                  </a:cubicBezTo>
                  <a:cubicBezTo>
                    <a:pt x="338640" y="874480"/>
                    <a:pt x="331740" y="884830"/>
                    <a:pt x="324496" y="895870"/>
                  </a:cubicBezTo>
                  <a:cubicBezTo>
                    <a:pt x="318113" y="905530"/>
                    <a:pt x="311385" y="915535"/>
                    <a:pt x="310523" y="923815"/>
                  </a:cubicBezTo>
                  <a:cubicBezTo>
                    <a:pt x="309488" y="933993"/>
                    <a:pt x="313283" y="945205"/>
                    <a:pt x="317423" y="956935"/>
                  </a:cubicBezTo>
                  <a:cubicBezTo>
                    <a:pt x="320873" y="966941"/>
                    <a:pt x="324496" y="977463"/>
                    <a:pt x="325013" y="987813"/>
                  </a:cubicBezTo>
                  <a:cubicBezTo>
                    <a:pt x="325875" y="1000406"/>
                    <a:pt x="323805" y="1024211"/>
                    <a:pt x="322598" y="1037148"/>
                  </a:cubicBezTo>
                  <a:cubicBezTo>
                    <a:pt x="322425" y="1040599"/>
                    <a:pt x="321908" y="1044049"/>
                    <a:pt x="321908" y="1044566"/>
                  </a:cubicBezTo>
                  <a:lnTo>
                    <a:pt x="316043" y="1044566"/>
                  </a:lnTo>
                  <a:lnTo>
                    <a:pt x="312593" y="1049051"/>
                  </a:lnTo>
                  <a:lnTo>
                    <a:pt x="312593" y="1049051"/>
                  </a:lnTo>
                  <a:lnTo>
                    <a:pt x="312593" y="1049051"/>
                  </a:ln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74" name="Gráfico 1344">
              <a:extLst>
                <a:ext uri="{FF2B5EF4-FFF2-40B4-BE49-F238E27FC236}">
                  <a16:creationId xmlns:a16="http://schemas.microsoft.com/office/drawing/2014/main" id="{8AFF426D-4DB0-4B41-8713-BBC6DD7F789A}"/>
                </a:ext>
              </a:extLst>
            </p:cNvPr>
            <p:cNvSpPr/>
            <p:nvPr/>
          </p:nvSpPr>
          <p:spPr>
            <a:xfrm>
              <a:off x="7981027" y="4201956"/>
              <a:ext cx="358695" cy="1069998"/>
            </a:xfrm>
            <a:custGeom>
              <a:avLst/>
              <a:gdLst>
                <a:gd name="connsiteX0" fmla="*/ 324627 w 358695"/>
                <a:gd name="connsiteY0" fmla="*/ 1069998 h 1069998"/>
                <a:gd name="connsiteX1" fmla="*/ 317209 w 358695"/>
                <a:gd name="connsiteY1" fmla="*/ 1065513 h 1069998"/>
                <a:gd name="connsiteX2" fmla="*/ 310654 w 358695"/>
                <a:gd name="connsiteY2" fmla="*/ 1043605 h 1069998"/>
                <a:gd name="connsiteX3" fmla="*/ 313069 w 358695"/>
                <a:gd name="connsiteY3" fmla="*/ 997203 h 1069998"/>
                <a:gd name="connsiteX4" fmla="*/ 306514 w 358695"/>
                <a:gd name="connsiteY4" fmla="*/ 971845 h 1069998"/>
                <a:gd name="connsiteX5" fmla="*/ 298579 w 358695"/>
                <a:gd name="connsiteY5" fmla="*/ 929927 h 1069998"/>
                <a:gd name="connsiteX6" fmla="*/ 314622 w 358695"/>
                <a:gd name="connsiteY6" fmla="*/ 894564 h 1069998"/>
                <a:gd name="connsiteX7" fmla="*/ 315829 w 358695"/>
                <a:gd name="connsiteY7" fmla="*/ 892839 h 1069998"/>
                <a:gd name="connsiteX8" fmla="*/ 327387 w 358695"/>
                <a:gd name="connsiteY8" fmla="*/ 871449 h 1069998"/>
                <a:gd name="connsiteX9" fmla="*/ 323937 w 358695"/>
                <a:gd name="connsiteY9" fmla="*/ 865411 h 1069998"/>
                <a:gd name="connsiteX10" fmla="*/ 315829 w 358695"/>
                <a:gd name="connsiteY10" fmla="*/ 844021 h 1069998"/>
                <a:gd name="connsiteX11" fmla="*/ 325662 w 358695"/>
                <a:gd name="connsiteY11" fmla="*/ 819526 h 1069998"/>
                <a:gd name="connsiteX12" fmla="*/ 328422 w 358695"/>
                <a:gd name="connsiteY12" fmla="*/ 815904 h 1069998"/>
                <a:gd name="connsiteX13" fmla="*/ 320142 w 358695"/>
                <a:gd name="connsiteY13" fmla="*/ 794341 h 1069998"/>
                <a:gd name="connsiteX14" fmla="*/ 301339 w 358695"/>
                <a:gd name="connsiteY14" fmla="*/ 777608 h 1069998"/>
                <a:gd name="connsiteX15" fmla="*/ 294439 w 358695"/>
                <a:gd name="connsiteY15" fmla="*/ 726893 h 1069998"/>
                <a:gd name="connsiteX16" fmla="*/ 298924 w 358695"/>
                <a:gd name="connsiteY16" fmla="*/ 708608 h 1069998"/>
                <a:gd name="connsiteX17" fmla="*/ 292024 w 358695"/>
                <a:gd name="connsiteY17" fmla="*/ 696878 h 1069998"/>
                <a:gd name="connsiteX18" fmla="*/ 281501 w 358695"/>
                <a:gd name="connsiteY18" fmla="*/ 678765 h 1069998"/>
                <a:gd name="connsiteX19" fmla="*/ 280122 w 358695"/>
                <a:gd name="connsiteY19" fmla="*/ 649957 h 1069998"/>
                <a:gd name="connsiteX20" fmla="*/ 280984 w 358695"/>
                <a:gd name="connsiteY20" fmla="*/ 639780 h 1069998"/>
                <a:gd name="connsiteX21" fmla="*/ 272359 w 358695"/>
                <a:gd name="connsiteY21" fmla="*/ 618389 h 1069998"/>
                <a:gd name="connsiteX22" fmla="*/ 254937 w 358695"/>
                <a:gd name="connsiteY22" fmla="*/ 602520 h 1069998"/>
                <a:gd name="connsiteX23" fmla="*/ 252349 w 358695"/>
                <a:gd name="connsiteY23" fmla="*/ 599759 h 1069998"/>
                <a:gd name="connsiteX24" fmla="*/ 211466 w 358695"/>
                <a:gd name="connsiteY24" fmla="*/ 546974 h 1069998"/>
                <a:gd name="connsiteX25" fmla="*/ 224059 w 358695"/>
                <a:gd name="connsiteY25" fmla="*/ 495914 h 1069998"/>
                <a:gd name="connsiteX26" fmla="*/ 233546 w 358695"/>
                <a:gd name="connsiteY26" fmla="*/ 477801 h 1069998"/>
                <a:gd name="connsiteX27" fmla="*/ 228889 w 358695"/>
                <a:gd name="connsiteY27" fmla="*/ 472453 h 1069998"/>
                <a:gd name="connsiteX28" fmla="*/ 216124 w 358695"/>
                <a:gd name="connsiteY28" fmla="*/ 449338 h 1069998"/>
                <a:gd name="connsiteX29" fmla="*/ 232684 w 358695"/>
                <a:gd name="connsiteY29" fmla="*/ 415528 h 1069998"/>
                <a:gd name="connsiteX30" fmla="*/ 237859 w 358695"/>
                <a:gd name="connsiteY30" fmla="*/ 409318 h 1069998"/>
                <a:gd name="connsiteX31" fmla="*/ 246139 w 358695"/>
                <a:gd name="connsiteY31" fmla="*/ 397243 h 1069998"/>
                <a:gd name="connsiteX32" fmla="*/ 248209 w 358695"/>
                <a:gd name="connsiteY32" fmla="*/ 393793 h 1069998"/>
                <a:gd name="connsiteX33" fmla="*/ 268219 w 358695"/>
                <a:gd name="connsiteY33" fmla="*/ 362915 h 1069998"/>
                <a:gd name="connsiteX34" fmla="*/ 240791 w 358695"/>
                <a:gd name="connsiteY34" fmla="*/ 301850 h 1069998"/>
                <a:gd name="connsiteX35" fmla="*/ 244931 w 358695"/>
                <a:gd name="connsiteY35" fmla="*/ 228882 h 1069998"/>
                <a:gd name="connsiteX36" fmla="*/ 239928 w 358695"/>
                <a:gd name="connsiteY36" fmla="*/ 190759 h 1069998"/>
                <a:gd name="connsiteX37" fmla="*/ 235616 w 358695"/>
                <a:gd name="connsiteY37" fmla="*/ 183341 h 1069998"/>
                <a:gd name="connsiteX38" fmla="*/ 228889 w 358695"/>
                <a:gd name="connsiteY38" fmla="*/ 169886 h 1069998"/>
                <a:gd name="connsiteX39" fmla="*/ 227336 w 358695"/>
                <a:gd name="connsiteY39" fmla="*/ 166609 h 1069998"/>
                <a:gd name="connsiteX40" fmla="*/ 221643 w 358695"/>
                <a:gd name="connsiteY40" fmla="*/ 155741 h 1069998"/>
                <a:gd name="connsiteX41" fmla="*/ 216124 w 358695"/>
                <a:gd name="connsiteY41" fmla="*/ 148151 h 1069998"/>
                <a:gd name="connsiteX42" fmla="*/ 203358 w 358695"/>
                <a:gd name="connsiteY42" fmla="*/ 127451 h 1069998"/>
                <a:gd name="connsiteX43" fmla="*/ 198356 w 358695"/>
                <a:gd name="connsiteY43" fmla="*/ 95711 h 1069998"/>
                <a:gd name="connsiteX44" fmla="*/ 189041 w 358695"/>
                <a:gd name="connsiteY44" fmla="*/ 65178 h 1069998"/>
                <a:gd name="connsiteX45" fmla="*/ 138498 w 358695"/>
                <a:gd name="connsiteY45" fmla="*/ 32058 h 1069998"/>
                <a:gd name="connsiteX46" fmla="*/ 103480 w 358695"/>
                <a:gd name="connsiteY46" fmla="*/ 34818 h 1069998"/>
                <a:gd name="connsiteX47" fmla="*/ 78985 w 358695"/>
                <a:gd name="connsiteY47" fmla="*/ 41200 h 1069998"/>
                <a:gd name="connsiteX48" fmla="*/ 8604 w 358695"/>
                <a:gd name="connsiteY48" fmla="*/ 31540 h 1069998"/>
                <a:gd name="connsiteX49" fmla="*/ 1015 w 358695"/>
                <a:gd name="connsiteY49" fmla="*/ 23778 h 1069998"/>
                <a:gd name="connsiteX50" fmla="*/ 1187 w 358695"/>
                <a:gd name="connsiteY50" fmla="*/ 12393 h 1069998"/>
                <a:gd name="connsiteX51" fmla="*/ 20335 w 358695"/>
                <a:gd name="connsiteY51" fmla="*/ 4803 h 1069998"/>
                <a:gd name="connsiteX52" fmla="*/ 75190 w 358695"/>
                <a:gd name="connsiteY52" fmla="*/ 12048 h 1069998"/>
                <a:gd name="connsiteX53" fmla="*/ 91923 w 358695"/>
                <a:gd name="connsiteY53" fmla="*/ 7735 h 1069998"/>
                <a:gd name="connsiteX54" fmla="*/ 94510 w 358695"/>
                <a:gd name="connsiteY54" fmla="*/ 6873 h 1069998"/>
                <a:gd name="connsiteX55" fmla="*/ 150918 w 358695"/>
                <a:gd name="connsiteY55" fmla="*/ 5320 h 1069998"/>
                <a:gd name="connsiteX56" fmla="*/ 209741 w 358695"/>
                <a:gd name="connsiteY56" fmla="*/ 44133 h 1069998"/>
                <a:gd name="connsiteX57" fmla="*/ 227681 w 358695"/>
                <a:gd name="connsiteY57" fmla="*/ 93813 h 1069998"/>
                <a:gd name="connsiteX58" fmla="*/ 227854 w 358695"/>
                <a:gd name="connsiteY58" fmla="*/ 95711 h 1069998"/>
                <a:gd name="connsiteX59" fmla="*/ 230959 w 358695"/>
                <a:gd name="connsiteY59" fmla="*/ 116929 h 1069998"/>
                <a:gd name="connsiteX60" fmla="*/ 238376 w 358695"/>
                <a:gd name="connsiteY60" fmla="*/ 128486 h 1069998"/>
                <a:gd name="connsiteX61" fmla="*/ 246829 w 358695"/>
                <a:gd name="connsiteY61" fmla="*/ 140216 h 1069998"/>
                <a:gd name="connsiteX62" fmla="*/ 255626 w 358695"/>
                <a:gd name="connsiteY62" fmla="*/ 157639 h 1069998"/>
                <a:gd name="connsiteX63" fmla="*/ 260974 w 358695"/>
                <a:gd name="connsiteY63" fmla="*/ 168334 h 1069998"/>
                <a:gd name="connsiteX64" fmla="*/ 264941 w 358695"/>
                <a:gd name="connsiteY64" fmla="*/ 175234 h 1069998"/>
                <a:gd name="connsiteX65" fmla="*/ 272876 w 358695"/>
                <a:gd name="connsiteY65" fmla="*/ 236817 h 1069998"/>
                <a:gd name="connsiteX66" fmla="*/ 293577 w 358695"/>
                <a:gd name="connsiteY66" fmla="*/ 344630 h 1069998"/>
                <a:gd name="connsiteX67" fmla="*/ 305651 w 358695"/>
                <a:gd name="connsiteY67" fmla="*/ 350323 h 1069998"/>
                <a:gd name="connsiteX68" fmla="*/ 300304 w 358695"/>
                <a:gd name="connsiteY68" fmla="*/ 363088 h 1069998"/>
                <a:gd name="connsiteX69" fmla="*/ 269771 w 358695"/>
                <a:gd name="connsiteY69" fmla="*/ 412940 h 1069998"/>
                <a:gd name="connsiteX70" fmla="*/ 261664 w 358695"/>
                <a:gd name="connsiteY70" fmla="*/ 424671 h 1069998"/>
                <a:gd name="connsiteX71" fmla="*/ 257351 w 358695"/>
                <a:gd name="connsiteY71" fmla="*/ 430190 h 1069998"/>
                <a:gd name="connsiteX72" fmla="*/ 254937 w 358695"/>
                <a:gd name="connsiteY72" fmla="*/ 433123 h 1069998"/>
                <a:gd name="connsiteX73" fmla="*/ 245104 w 358695"/>
                <a:gd name="connsiteY73" fmla="*/ 446751 h 1069998"/>
                <a:gd name="connsiteX74" fmla="*/ 249071 w 358695"/>
                <a:gd name="connsiteY74" fmla="*/ 450718 h 1069998"/>
                <a:gd name="connsiteX75" fmla="*/ 262354 w 358695"/>
                <a:gd name="connsiteY75" fmla="*/ 474869 h 1069998"/>
                <a:gd name="connsiteX76" fmla="*/ 246829 w 358695"/>
                <a:gd name="connsiteY76" fmla="*/ 512991 h 1069998"/>
                <a:gd name="connsiteX77" fmla="*/ 238549 w 358695"/>
                <a:gd name="connsiteY77" fmla="*/ 536106 h 1069998"/>
                <a:gd name="connsiteX78" fmla="*/ 272876 w 358695"/>
                <a:gd name="connsiteY78" fmla="*/ 578542 h 1069998"/>
                <a:gd name="connsiteX79" fmla="*/ 276327 w 358695"/>
                <a:gd name="connsiteY79" fmla="*/ 582509 h 1069998"/>
                <a:gd name="connsiteX80" fmla="*/ 289954 w 358695"/>
                <a:gd name="connsiteY80" fmla="*/ 595102 h 1069998"/>
                <a:gd name="connsiteX81" fmla="*/ 309964 w 358695"/>
                <a:gd name="connsiteY81" fmla="*/ 639262 h 1069998"/>
                <a:gd name="connsiteX82" fmla="*/ 309102 w 358695"/>
                <a:gd name="connsiteY82" fmla="*/ 652890 h 1069998"/>
                <a:gd name="connsiteX83" fmla="*/ 309446 w 358695"/>
                <a:gd name="connsiteY83" fmla="*/ 669795 h 1069998"/>
                <a:gd name="connsiteX84" fmla="*/ 313932 w 358695"/>
                <a:gd name="connsiteY84" fmla="*/ 677212 h 1069998"/>
                <a:gd name="connsiteX85" fmla="*/ 315484 w 358695"/>
                <a:gd name="connsiteY85" fmla="*/ 679455 h 1069998"/>
                <a:gd name="connsiteX86" fmla="*/ 327904 w 358695"/>
                <a:gd name="connsiteY86" fmla="*/ 707228 h 1069998"/>
                <a:gd name="connsiteX87" fmla="*/ 321522 w 358695"/>
                <a:gd name="connsiteY87" fmla="*/ 736898 h 1069998"/>
                <a:gd name="connsiteX88" fmla="*/ 323764 w 358695"/>
                <a:gd name="connsiteY88" fmla="*/ 758806 h 1069998"/>
                <a:gd name="connsiteX89" fmla="*/ 336184 w 358695"/>
                <a:gd name="connsiteY89" fmla="*/ 769673 h 1069998"/>
                <a:gd name="connsiteX90" fmla="*/ 356712 w 358695"/>
                <a:gd name="connsiteY90" fmla="*/ 822286 h 1069998"/>
                <a:gd name="connsiteX91" fmla="*/ 348087 w 358695"/>
                <a:gd name="connsiteY91" fmla="*/ 837811 h 1069998"/>
                <a:gd name="connsiteX92" fmla="*/ 344810 w 358695"/>
                <a:gd name="connsiteY92" fmla="*/ 843849 h 1069998"/>
                <a:gd name="connsiteX93" fmla="*/ 347397 w 358695"/>
                <a:gd name="connsiteY93" fmla="*/ 847989 h 1069998"/>
                <a:gd name="connsiteX94" fmla="*/ 356539 w 358695"/>
                <a:gd name="connsiteY94" fmla="*/ 872829 h 1069998"/>
                <a:gd name="connsiteX95" fmla="*/ 340669 w 358695"/>
                <a:gd name="connsiteY95" fmla="*/ 908019 h 1069998"/>
                <a:gd name="connsiteX96" fmla="*/ 327732 w 358695"/>
                <a:gd name="connsiteY96" fmla="*/ 932687 h 1069998"/>
                <a:gd name="connsiteX97" fmla="*/ 334115 w 358695"/>
                <a:gd name="connsiteY97" fmla="*/ 962012 h 1069998"/>
                <a:gd name="connsiteX98" fmla="*/ 342049 w 358695"/>
                <a:gd name="connsiteY98" fmla="*/ 995477 h 1069998"/>
                <a:gd name="connsiteX99" fmla="*/ 339807 w 358695"/>
                <a:gd name="connsiteY99" fmla="*/ 1043260 h 1069998"/>
                <a:gd name="connsiteX100" fmla="*/ 339634 w 358695"/>
                <a:gd name="connsiteY100" fmla="*/ 1045847 h 1069998"/>
                <a:gd name="connsiteX101" fmla="*/ 339117 w 358695"/>
                <a:gd name="connsiteY101" fmla="*/ 1051368 h 1069998"/>
                <a:gd name="connsiteX102" fmla="*/ 339117 w 358695"/>
                <a:gd name="connsiteY102" fmla="*/ 1059993 h 1069998"/>
                <a:gd name="connsiteX103" fmla="*/ 329457 w 358695"/>
                <a:gd name="connsiteY103" fmla="*/ 1061200 h 1069998"/>
                <a:gd name="connsiteX104" fmla="*/ 324627 w 358695"/>
                <a:gd name="connsiteY104" fmla="*/ 1069998 h 1069998"/>
                <a:gd name="connsiteX105" fmla="*/ 15677 w 358695"/>
                <a:gd name="connsiteY105" fmla="*/ 15843 h 1069998"/>
                <a:gd name="connsiteX106" fmla="*/ 15677 w 358695"/>
                <a:gd name="connsiteY106" fmla="*/ 15843 h 1069998"/>
                <a:gd name="connsiteX107" fmla="*/ 15677 w 358695"/>
                <a:gd name="connsiteY107" fmla="*/ 15843 h 106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358695" h="1069998">
                  <a:moveTo>
                    <a:pt x="324627" y="1069998"/>
                  </a:moveTo>
                  <a:lnTo>
                    <a:pt x="317209" y="1065513"/>
                  </a:lnTo>
                  <a:cubicBezTo>
                    <a:pt x="309274" y="1060856"/>
                    <a:pt x="309792" y="1054990"/>
                    <a:pt x="310654" y="1043605"/>
                  </a:cubicBezTo>
                  <a:cubicBezTo>
                    <a:pt x="311517" y="1033083"/>
                    <a:pt x="313587" y="1008588"/>
                    <a:pt x="313069" y="997203"/>
                  </a:cubicBezTo>
                  <a:cubicBezTo>
                    <a:pt x="312724" y="989267"/>
                    <a:pt x="309446" y="980470"/>
                    <a:pt x="306514" y="971845"/>
                  </a:cubicBezTo>
                  <a:cubicBezTo>
                    <a:pt x="302029" y="959079"/>
                    <a:pt x="297026" y="944589"/>
                    <a:pt x="298579" y="929927"/>
                  </a:cubicBezTo>
                  <a:cubicBezTo>
                    <a:pt x="299786" y="917334"/>
                    <a:pt x="307377" y="905777"/>
                    <a:pt x="314622" y="894564"/>
                  </a:cubicBezTo>
                  <a:lnTo>
                    <a:pt x="315829" y="892839"/>
                  </a:lnTo>
                  <a:cubicBezTo>
                    <a:pt x="320314" y="886112"/>
                    <a:pt x="327042" y="876279"/>
                    <a:pt x="327387" y="871449"/>
                  </a:cubicBezTo>
                  <a:cubicBezTo>
                    <a:pt x="327387" y="870414"/>
                    <a:pt x="325662" y="867654"/>
                    <a:pt x="323937" y="865411"/>
                  </a:cubicBezTo>
                  <a:cubicBezTo>
                    <a:pt x="320487" y="860409"/>
                    <a:pt x="315829" y="853509"/>
                    <a:pt x="315829" y="844021"/>
                  </a:cubicBezTo>
                  <a:cubicBezTo>
                    <a:pt x="315829" y="831084"/>
                    <a:pt x="322039" y="823838"/>
                    <a:pt x="325662" y="819526"/>
                  </a:cubicBezTo>
                  <a:cubicBezTo>
                    <a:pt x="327214" y="817629"/>
                    <a:pt x="328250" y="816421"/>
                    <a:pt x="328422" y="815904"/>
                  </a:cubicBezTo>
                  <a:cubicBezTo>
                    <a:pt x="331527" y="802448"/>
                    <a:pt x="329974" y="801413"/>
                    <a:pt x="320142" y="794341"/>
                  </a:cubicBezTo>
                  <a:cubicBezTo>
                    <a:pt x="314449" y="790373"/>
                    <a:pt x="307722" y="785543"/>
                    <a:pt x="301339" y="777608"/>
                  </a:cubicBezTo>
                  <a:cubicBezTo>
                    <a:pt x="283054" y="755701"/>
                    <a:pt x="289609" y="738968"/>
                    <a:pt x="294439" y="726893"/>
                  </a:cubicBezTo>
                  <a:cubicBezTo>
                    <a:pt x="296854" y="720855"/>
                    <a:pt x="299097" y="715163"/>
                    <a:pt x="298924" y="708608"/>
                  </a:cubicBezTo>
                  <a:cubicBezTo>
                    <a:pt x="298751" y="706020"/>
                    <a:pt x="294956" y="700673"/>
                    <a:pt x="292024" y="696878"/>
                  </a:cubicBezTo>
                  <a:cubicBezTo>
                    <a:pt x="288056" y="691530"/>
                    <a:pt x="283571" y="685493"/>
                    <a:pt x="281501" y="678765"/>
                  </a:cubicBezTo>
                  <a:cubicBezTo>
                    <a:pt x="278224" y="667552"/>
                    <a:pt x="279259" y="658237"/>
                    <a:pt x="280122" y="649957"/>
                  </a:cubicBezTo>
                  <a:cubicBezTo>
                    <a:pt x="280639" y="645990"/>
                    <a:pt x="280984" y="642885"/>
                    <a:pt x="280984" y="639780"/>
                  </a:cubicBezTo>
                  <a:cubicBezTo>
                    <a:pt x="280984" y="625117"/>
                    <a:pt x="279949" y="624427"/>
                    <a:pt x="272359" y="618389"/>
                  </a:cubicBezTo>
                  <a:cubicBezTo>
                    <a:pt x="267356" y="614422"/>
                    <a:pt x="261664" y="609764"/>
                    <a:pt x="254937" y="602520"/>
                  </a:cubicBezTo>
                  <a:lnTo>
                    <a:pt x="252349" y="599759"/>
                  </a:lnTo>
                  <a:cubicBezTo>
                    <a:pt x="226991" y="572159"/>
                    <a:pt x="215261" y="556807"/>
                    <a:pt x="211466" y="546974"/>
                  </a:cubicBezTo>
                  <a:cubicBezTo>
                    <a:pt x="202496" y="522996"/>
                    <a:pt x="215434" y="506781"/>
                    <a:pt x="224059" y="495914"/>
                  </a:cubicBezTo>
                  <a:cubicBezTo>
                    <a:pt x="230268" y="488324"/>
                    <a:pt x="233891" y="483494"/>
                    <a:pt x="233546" y="477801"/>
                  </a:cubicBezTo>
                  <a:cubicBezTo>
                    <a:pt x="233374" y="476939"/>
                    <a:pt x="232338" y="475558"/>
                    <a:pt x="228889" y="472453"/>
                  </a:cubicBezTo>
                  <a:cubicBezTo>
                    <a:pt x="224403" y="468314"/>
                    <a:pt x="216986" y="461241"/>
                    <a:pt x="216124" y="449338"/>
                  </a:cubicBezTo>
                  <a:cubicBezTo>
                    <a:pt x="215261" y="435711"/>
                    <a:pt x="224921" y="424498"/>
                    <a:pt x="232684" y="415528"/>
                  </a:cubicBezTo>
                  <a:cubicBezTo>
                    <a:pt x="234926" y="413113"/>
                    <a:pt x="236824" y="410870"/>
                    <a:pt x="237859" y="409318"/>
                  </a:cubicBezTo>
                  <a:cubicBezTo>
                    <a:pt x="240446" y="405523"/>
                    <a:pt x="243206" y="401383"/>
                    <a:pt x="246139" y="397243"/>
                  </a:cubicBezTo>
                  <a:lnTo>
                    <a:pt x="248209" y="393793"/>
                  </a:lnTo>
                  <a:cubicBezTo>
                    <a:pt x="255109" y="383788"/>
                    <a:pt x="262871" y="372575"/>
                    <a:pt x="268219" y="362915"/>
                  </a:cubicBezTo>
                  <a:cubicBezTo>
                    <a:pt x="250451" y="347045"/>
                    <a:pt x="243551" y="321342"/>
                    <a:pt x="240791" y="301850"/>
                  </a:cubicBezTo>
                  <a:cubicBezTo>
                    <a:pt x="236824" y="273042"/>
                    <a:pt x="240101" y="244407"/>
                    <a:pt x="244931" y="228882"/>
                  </a:cubicBezTo>
                  <a:cubicBezTo>
                    <a:pt x="250796" y="209734"/>
                    <a:pt x="250279" y="208699"/>
                    <a:pt x="239928" y="190759"/>
                  </a:cubicBezTo>
                  <a:lnTo>
                    <a:pt x="235616" y="183341"/>
                  </a:lnTo>
                  <a:cubicBezTo>
                    <a:pt x="232856" y="178511"/>
                    <a:pt x="230786" y="174027"/>
                    <a:pt x="228889" y="169886"/>
                  </a:cubicBezTo>
                  <a:lnTo>
                    <a:pt x="227336" y="166609"/>
                  </a:lnTo>
                  <a:cubicBezTo>
                    <a:pt x="225784" y="163159"/>
                    <a:pt x="224059" y="159709"/>
                    <a:pt x="221643" y="155741"/>
                  </a:cubicBezTo>
                  <a:cubicBezTo>
                    <a:pt x="219918" y="152981"/>
                    <a:pt x="218021" y="150394"/>
                    <a:pt x="216124" y="148151"/>
                  </a:cubicBezTo>
                  <a:cubicBezTo>
                    <a:pt x="211466" y="142458"/>
                    <a:pt x="206636" y="136249"/>
                    <a:pt x="203358" y="127451"/>
                  </a:cubicBezTo>
                  <a:cubicBezTo>
                    <a:pt x="199218" y="115894"/>
                    <a:pt x="198701" y="105198"/>
                    <a:pt x="198356" y="95711"/>
                  </a:cubicBezTo>
                  <a:cubicBezTo>
                    <a:pt x="197666" y="82601"/>
                    <a:pt x="197321" y="73631"/>
                    <a:pt x="189041" y="65178"/>
                  </a:cubicBezTo>
                  <a:cubicBezTo>
                    <a:pt x="180416" y="56725"/>
                    <a:pt x="150055" y="37578"/>
                    <a:pt x="138498" y="32058"/>
                  </a:cubicBezTo>
                  <a:cubicBezTo>
                    <a:pt x="128148" y="27228"/>
                    <a:pt x="118315" y="29988"/>
                    <a:pt x="103480" y="34818"/>
                  </a:cubicBezTo>
                  <a:cubicBezTo>
                    <a:pt x="95545" y="37405"/>
                    <a:pt x="87437" y="39993"/>
                    <a:pt x="78985" y="41200"/>
                  </a:cubicBezTo>
                  <a:cubicBezTo>
                    <a:pt x="54490" y="44478"/>
                    <a:pt x="30167" y="41028"/>
                    <a:pt x="8604" y="31540"/>
                  </a:cubicBezTo>
                  <a:cubicBezTo>
                    <a:pt x="5155" y="30161"/>
                    <a:pt x="2394" y="27228"/>
                    <a:pt x="1015" y="23778"/>
                  </a:cubicBezTo>
                  <a:cubicBezTo>
                    <a:pt x="-366" y="20155"/>
                    <a:pt x="-366" y="16015"/>
                    <a:pt x="1187" y="12393"/>
                  </a:cubicBezTo>
                  <a:cubicBezTo>
                    <a:pt x="4292" y="5148"/>
                    <a:pt x="12917" y="1697"/>
                    <a:pt x="20335" y="4803"/>
                  </a:cubicBezTo>
                  <a:cubicBezTo>
                    <a:pt x="37240" y="12048"/>
                    <a:pt x="56215" y="14635"/>
                    <a:pt x="75190" y="12048"/>
                  </a:cubicBezTo>
                  <a:cubicBezTo>
                    <a:pt x="80537" y="11357"/>
                    <a:pt x="85712" y="9633"/>
                    <a:pt x="91923" y="7735"/>
                  </a:cubicBezTo>
                  <a:lnTo>
                    <a:pt x="94510" y="6873"/>
                  </a:lnTo>
                  <a:cubicBezTo>
                    <a:pt x="111070" y="1525"/>
                    <a:pt x="129700" y="-4685"/>
                    <a:pt x="150918" y="5320"/>
                  </a:cubicBezTo>
                  <a:cubicBezTo>
                    <a:pt x="165236" y="12048"/>
                    <a:pt x="198528" y="32920"/>
                    <a:pt x="209741" y="44133"/>
                  </a:cubicBezTo>
                  <a:cubicBezTo>
                    <a:pt x="226301" y="60520"/>
                    <a:pt x="226991" y="78288"/>
                    <a:pt x="227681" y="93813"/>
                  </a:cubicBezTo>
                  <a:lnTo>
                    <a:pt x="227854" y="95711"/>
                  </a:lnTo>
                  <a:cubicBezTo>
                    <a:pt x="228199" y="103128"/>
                    <a:pt x="228543" y="110201"/>
                    <a:pt x="230959" y="116929"/>
                  </a:cubicBezTo>
                  <a:cubicBezTo>
                    <a:pt x="232511" y="121413"/>
                    <a:pt x="235098" y="124691"/>
                    <a:pt x="238376" y="128486"/>
                  </a:cubicBezTo>
                  <a:cubicBezTo>
                    <a:pt x="241481" y="132281"/>
                    <a:pt x="244241" y="135731"/>
                    <a:pt x="246829" y="140216"/>
                  </a:cubicBezTo>
                  <a:cubicBezTo>
                    <a:pt x="250451" y="146426"/>
                    <a:pt x="253384" y="151946"/>
                    <a:pt x="255626" y="157639"/>
                  </a:cubicBezTo>
                  <a:cubicBezTo>
                    <a:pt x="257179" y="161089"/>
                    <a:pt x="258731" y="164539"/>
                    <a:pt x="260974" y="168334"/>
                  </a:cubicBezTo>
                  <a:lnTo>
                    <a:pt x="264941" y="175234"/>
                  </a:lnTo>
                  <a:cubicBezTo>
                    <a:pt x="278052" y="197486"/>
                    <a:pt x="282019" y="206629"/>
                    <a:pt x="272876" y="236817"/>
                  </a:cubicBezTo>
                  <a:cubicBezTo>
                    <a:pt x="264941" y="262520"/>
                    <a:pt x="264769" y="329795"/>
                    <a:pt x="293577" y="344630"/>
                  </a:cubicBezTo>
                  <a:lnTo>
                    <a:pt x="305651" y="350323"/>
                  </a:lnTo>
                  <a:lnTo>
                    <a:pt x="300304" y="363088"/>
                  </a:lnTo>
                  <a:cubicBezTo>
                    <a:pt x="294094" y="377923"/>
                    <a:pt x="281847" y="395863"/>
                    <a:pt x="269771" y="412940"/>
                  </a:cubicBezTo>
                  <a:cubicBezTo>
                    <a:pt x="267011" y="416908"/>
                    <a:pt x="264251" y="421048"/>
                    <a:pt x="261664" y="424671"/>
                  </a:cubicBezTo>
                  <a:cubicBezTo>
                    <a:pt x="260629" y="426396"/>
                    <a:pt x="259076" y="428121"/>
                    <a:pt x="257351" y="430190"/>
                  </a:cubicBezTo>
                  <a:lnTo>
                    <a:pt x="254937" y="433123"/>
                  </a:lnTo>
                  <a:cubicBezTo>
                    <a:pt x="252521" y="436056"/>
                    <a:pt x="245621" y="443818"/>
                    <a:pt x="245104" y="446751"/>
                  </a:cubicBezTo>
                  <a:cubicBezTo>
                    <a:pt x="245449" y="447096"/>
                    <a:pt x="247346" y="448994"/>
                    <a:pt x="249071" y="450718"/>
                  </a:cubicBezTo>
                  <a:cubicBezTo>
                    <a:pt x="253901" y="455376"/>
                    <a:pt x="261491" y="462449"/>
                    <a:pt x="262354" y="474869"/>
                  </a:cubicBezTo>
                  <a:cubicBezTo>
                    <a:pt x="263734" y="492119"/>
                    <a:pt x="253901" y="504194"/>
                    <a:pt x="246829" y="512991"/>
                  </a:cubicBezTo>
                  <a:cubicBezTo>
                    <a:pt x="238549" y="523169"/>
                    <a:pt x="235271" y="527654"/>
                    <a:pt x="238549" y="536106"/>
                  </a:cubicBezTo>
                  <a:cubicBezTo>
                    <a:pt x="241481" y="544041"/>
                    <a:pt x="265114" y="570089"/>
                    <a:pt x="272876" y="578542"/>
                  </a:cubicBezTo>
                  <a:lnTo>
                    <a:pt x="276327" y="582509"/>
                  </a:lnTo>
                  <a:cubicBezTo>
                    <a:pt x="281329" y="588030"/>
                    <a:pt x="285469" y="591479"/>
                    <a:pt x="289954" y="595102"/>
                  </a:cubicBezTo>
                  <a:cubicBezTo>
                    <a:pt x="302202" y="604590"/>
                    <a:pt x="309619" y="612352"/>
                    <a:pt x="309964" y="639262"/>
                  </a:cubicBezTo>
                  <a:cubicBezTo>
                    <a:pt x="309964" y="643920"/>
                    <a:pt x="309446" y="648405"/>
                    <a:pt x="309102" y="652890"/>
                  </a:cubicBezTo>
                  <a:cubicBezTo>
                    <a:pt x="308239" y="659962"/>
                    <a:pt x="307894" y="664965"/>
                    <a:pt x="309446" y="669795"/>
                  </a:cubicBezTo>
                  <a:cubicBezTo>
                    <a:pt x="309964" y="671520"/>
                    <a:pt x="312034" y="674452"/>
                    <a:pt x="313932" y="677212"/>
                  </a:cubicBezTo>
                  <a:lnTo>
                    <a:pt x="315484" y="679455"/>
                  </a:lnTo>
                  <a:cubicBezTo>
                    <a:pt x="321004" y="687045"/>
                    <a:pt x="327387" y="696015"/>
                    <a:pt x="327904" y="707228"/>
                  </a:cubicBezTo>
                  <a:cubicBezTo>
                    <a:pt x="328422" y="720166"/>
                    <a:pt x="324455" y="729826"/>
                    <a:pt x="321522" y="736898"/>
                  </a:cubicBezTo>
                  <a:cubicBezTo>
                    <a:pt x="317382" y="747076"/>
                    <a:pt x="316347" y="749836"/>
                    <a:pt x="323764" y="758806"/>
                  </a:cubicBezTo>
                  <a:cubicBezTo>
                    <a:pt x="327559" y="763463"/>
                    <a:pt x="331699" y="766568"/>
                    <a:pt x="336184" y="769673"/>
                  </a:cubicBezTo>
                  <a:cubicBezTo>
                    <a:pt x="349294" y="778988"/>
                    <a:pt x="364130" y="789856"/>
                    <a:pt x="356712" y="822286"/>
                  </a:cubicBezTo>
                  <a:cubicBezTo>
                    <a:pt x="354987" y="829876"/>
                    <a:pt x="351019" y="834361"/>
                    <a:pt x="348087" y="837811"/>
                  </a:cubicBezTo>
                  <a:cubicBezTo>
                    <a:pt x="345154" y="841089"/>
                    <a:pt x="344810" y="841606"/>
                    <a:pt x="344810" y="843849"/>
                  </a:cubicBezTo>
                  <a:cubicBezTo>
                    <a:pt x="344982" y="844366"/>
                    <a:pt x="346362" y="846436"/>
                    <a:pt x="347397" y="847989"/>
                  </a:cubicBezTo>
                  <a:cubicBezTo>
                    <a:pt x="351537" y="854026"/>
                    <a:pt x="357057" y="861962"/>
                    <a:pt x="356539" y="872829"/>
                  </a:cubicBezTo>
                  <a:cubicBezTo>
                    <a:pt x="355677" y="885249"/>
                    <a:pt x="348432" y="896289"/>
                    <a:pt x="340669" y="908019"/>
                  </a:cubicBezTo>
                  <a:cubicBezTo>
                    <a:pt x="334977" y="916644"/>
                    <a:pt x="328422" y="926477"/>
                    <a:pt x="327732" y="932687"/>
                  </a:cubicBezTo>
                  <a:cubicBezTo>
                    <a:pt x="326869" y="940967"/>
                    <a:pt x="330319" y="951144"/>
                    <a:pt x="334115" y="962012"/>
                  </a:cubicBezTo>
                  <a:cubicBezTo>
                    <a:pt x="337910" y="973225"/>
                    <a:pt x="341705" y="983920"/>
                    <a:pt x="342049" y="995477"/>
                  </a:cubicBezTo>
                  <a:cubicBezTo>
                    <a:pt x="342912" y="1007725"/>
                    <a:pt x="341014" y="1029115"/>
                    <a:pt x="339807" y="1043260"/>
                  </a:cubicBezTo>
                  <a:lnTo>
                    <a:pt x="339634" y="1045847"/>
                  </a:lnTo>
                  <a:cubicBezTo>
                    <a:pt x="339462" y="1047745"/>
                    <a:pt x="339289" y="1049815"/>
                    <a:pt x="339117" y="1051368"/>
                  </a:cubicBezTo>
                  <a:lnTo>
                    <a:pt x="339117" y="1059993"/>
                  </a:lnTo>
                  <a:lnTo>
                    <a:pt x="329457" y="1061200"/>
                  </a:lnTo>
                  <a:lnTo>
                    <a:pt x="324627" y="1069998"/>
                  </a:lnTo>
                  <a:close/>
                  <a:moveTo>
                    <a:pt x="15677" y="15843"/>
                  </a:moveTo>
                  <a:cubicBezTo>
                    <a:pt x="15677" y="15843"/>
                    <a:pt x="15677" y="15843"/>
                    <a:pt x="15677" y="15843"/>
                  </a:cubicBezTo>
                  <a:cubicBezTo>
                    <a:pt x="15677" y="15843"/>
                    <a:pt x="15677" y="15843"/>
                    <a:pt x="15677" y="15843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61" name="Gráfico 1344">
            <a:extLst>
              <a:ext uri="{FF2B5EF4-FFF2-40B4-BE49-F238E27FC236}">
                <a16:creationId xmlns:a16="http://schemas.microsoft.com/office/drawing/2014/main" id="{7B78B37F-E6F0-4799-AEAE-7A8EF816C5C8}"/>
              </a:ext>
            </a:extLst>
          </p:cNvPr>
          <p:cNvGrpSpPr/>
          <p:nvPr/>
        </p:nvGrpSpPr>
        <p:grpSpPr>
          <a:xfrm>
            <a:off x="7942165" y="4031485"/>
            <a:ext cx="54614" cy="83520"/>
            <a:chOff x="8061911" y="4139971"/>
            <a:chExt cx="54614" cy="83520"/>
          </a:xfrm>
          <a:solidFill>
            <a:srgbClr val="F59D24"/>
          </a:solidFill>
        </p:grpSpPr>
        <p:sp>
          <p:nvSpPr>
            <p:cNvPr id="571" name="Gráfico 1344">
              <a:extLst>
                <a:ext uri="{FF2B5EF4-FFF2-40B4-BE49-F238E27FC236}">
                  <a16:creationId xmlns:a16="http://schemas.microsoft.com/office/drawing/2014/main" id="{BD6B64DB-424C-4663-9EED-0B0A79AE1011}"/>
                </a:ext>
              </a:extLst>
            </p:cNvPr>
            <p:cNvSpPr/>
            <p:nvPr/>
          </p:nvSpPr>
          <p:spPr>
            <a:xfrm>
              <a:off x="8070381" y="4148547"/>
              <a:ext cx="37379" cy="66318"/>
            </a:xfrm>
            <a:custGeom>
              <a:avLst/>
              <a:gdLst>
                <a:gd name="connsiteX0" fmla="*/ 31204 w 37379"/>
                <a:gd name="connsiteY0" fmla="*/ 66319 h 66318"/>
                <a:gd name="connsiteX1" fmla="*/ 26719 w 37379"/>
                <a:gd name="connsiteY1" fmla="*/ 64248 h 66318"/>
                <a:gd name="connsiteX2" fmla="*/ 12057 w 37379"/>
                <a:gd name="connsiteY2" fmla="*/ 34233 h 66318"/>
                <a:gd name="connsiteX3" fmla="*/ 1017 w 37379"/>
                <a:gd name="connsiteY3" fmla="*/ 9393 h 66318"/>
                <a:gd name="connsiteX4" fmla="*/ 2742 w 37379"/>
                <a:gd name="connsiteY4" fmla="*/ 940 h 66318"/>
                <a:gd name="connsiteX5" fmla="*/ 11022 w 37379"/>
                <a:gd name="connsiteY5" fmla="*/ 2666 h 66318"/>
                <a:gd name="connsiteX6" fmla="*/ 23270 w 37379"/>
                <a:gd name="connsiteY6" fmla="*/ 29748 h 66318"/>
                <a:gd name="connsiteX7" fmla="*/ 36034 w 37379"/>
                <a:gd name="connsiteY7" fmla="*/ 56313 h 66318"/>
                <a:gd name="connsiteX8" fmla="*/ 35172 w 37379"/>
                <a:gd name="connsiteY8" fmla="*/ 64766 h 66318"/>
                <a:gd name="connsiteX9" fmla="*/ 31204 w 37379"/>
                <a:gd name="connsiteY9" fmla="*/ 66319 h 66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379" h="66318">
                  <a:moveTo>
                    <a:pt x="31204" y="66319"/>
                  </a:moveTo>
                  <a:cubicBezTo>
                    <a:pt x="29479" y="66319"/>
                    <a:pt x="27754" y="65456"/>
                    <a:pt x="26719" y="64248"/>
                  </a:cubicBezTo>
                  <a:cubicBezTo>
                    <a:pt x="19819" y="55623"/>
                    <a:pt x="15852" y="44928"/>
                    <a:pt x="12057" y="34233"/>
                  </a:cubicBezTo>
                  <a:cubicBezTo>
                    <a:pt x="8952" y="25608"/>
                    <a:pt x="5674" y="16810"/>
                    <a:pt x="1017" y="9393"/>
                  </a:cubicBezTo>
                  <a:cubicBezTo>
                    <a:pt x="-881" y="6633"/>
                    <a:pt x="-18" y="3010"/>
                    <a:pt x="2742" y="940"/>
                  </a:cubicBezTo>
                  <a:cubicBezTo>
                    <a:pt x="5501" y="-785"/>
                    <a:pt x="9124" y="-94"/>
                    <a:pt x="11022" y="2666"/>
                  </a:cubicBezTo>
                  <a:cubicBezTo>
                    <a:pt x="16542" y="11118"/>
                    <a:pt x="19819" y="20605"/>
                    <a:pt x="23270" y="29748"/>
                  </a:cubicBezTo>
                  <a:cubicBezTo>
                    <a:pt x="26892" y="39926"/>
                    <a:pt x="30169" y="49413"/>
                    <a:pt x="36034" y="56313"/>
                  </a:cubicBezTo>
                  <a:cubicBezTo>
                    <a:pt x="38104" y="58901"/>
                    <a:pt x="37760" y="62524"/>
                    <a:pt x="35172" y="64766"/>
                  </a:cubicBezTo>
                  <a:cubicBezTo>
                    <a:pt x="33792" y="65801"/>
                    <a:pt x="32412" y="66319"/>
                    <a:pt x="31204" y="66319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72" name="Gráfico 1344">
              <a:extLst>
                <a:ext uri="{FF2B5EF4-FFF2-40B4-BE49-F238E27FC236}">
                  <a16:creationId xmlns:a16="http://schemas.microsoft.com/office/drawing/2014/main" id="{126A69E9-F818-4BD7-A37A-A1C008E61514}"/>
                </a:ext>
              </a:extLst>
            </p:cNvPr>
            <p:cNvSpPr/>
            <p:nvPr/>
          </p:nvSpPr>
          <p:spPr>
            <a:xfrm>
              <a:off x="8061911" y="4139971"/>
              <a:ext cx="54614" cy="83520"/>
            </a:xfrm>
            <a:custGeom>
              <a:avLst/>
              <a:gdLst>
                <a:gd name="connsiteX0" fmla="*/ 39674 w 54614"/>
                <a:gd name="connsiteY0" fmla="*/ 83520 h 83520"/>
                <a:gd name="connsiteX1" fmla="*/ 28634 w 54614"/>
                <a:gd name="connsiteY1" fmla="*/ 78172 h 83520"/>
                <a:gd name="connsiteX2" fmla="*/ 12764 w 54614"/>
                <a:gd name="connsiteY2" fmla="*/ 46260 h 83520"/>
                <a:gd name="connsiteX3" fmla="*/ 2414 w 54614"/>
                <a:gd name="connsiteY3" fmla="*/ 22455 h 83520"/>
                <a:gd name="connsiteX4" fmla="*/ 6381 w 54614"/>
                <a:gd name="connsiteY4" fmla="*/ 2444 h 83520"/>
                <a:gd name="connsiteX5" fmla="*/ 26736 w 54614"/>
                <a:gd name="connsiteY5" fmla="*/ 6412 h 83520"/>
                <a:gd name="connsiteX6" fmla="*/ 39674 w 54614"/>
                <a:gd name="connsiteY6" fmla="*/ 34702 h 83520"/>
                <a:gd name="connsiteX7" fmla="*/ 51231 w 54614"/>
                <a:gd name="connsiteY7" fmla="*/ 59370 h 83520"/>
                <a:gd name="connsiteX8" fmla="*/ 49334 w 54614"/>
                <a:gd name="connsiteY8" fmla="*/ 79897 h 83520"/>
                <a:gd name="connsiteX9" fmla="*/ 39674 w 54614"/>
                <a:gd name="connsiteY9" fmla="*/ 83520 h 83520"/>
                <a:gd name="connsiteX10" fmla="*/ 16731 w 54614"/>
                <a:gd name="connsiteY10" fmla="*/ 13139 h 83520"/>
                <a:gd name="connsiteX11" fmla="*/ 16731 w 54614"/>
                <a:gd name="connsiteY11" fmla="*/ 13139 h 83520"/>
                <a:gd name="connsiteX12" fmla="*/ 16731 w 54614"/>
                <a:gd name="connsiteY12" fmla="*/ 13139 h 8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614" h="83520">
                  <a:moveTo>
                    <a:pt x="39674" y="83520"/>
                  </a:moveTo>
                  <a:cubicBezTo>
                    <a:pt x="35361" y="83520"/>
                    <a:pt x="31221" y="81450"/>
                    <a:pt x="28634" y="78172"/>
                  </a:cubicBezTo>
                  <a:cubicBezTo>
                    <a:pt x="20871" y="68512"/>
                    <a:pt x="16731" y="57300"/>
                    <a:pt x="12764" y="46260"/>
                  </a:cubicBezTo>
                  <a:cubicBezTo>
                    <a:pt x="9314" y="36945"/>
                    <a:pt x="6381" y="28837"/>
                    <a:pt x="2414" y="22455"/>
                  </a:cubicBezTo>
                  <a:cubicBezTo>
                    <a:pt x="-1899" y="16072"/>
                    <a:pt x="-346" y="7102"/>
                    <a:pt x="6381" y="2444"/>
                  </a:cubicBezTo>
                  <a:cubicBezTo>
                    <a:pt x="13453" y="-2041"/>
                    <a:pt x="22251" y="-143"/>
                    <a:pt x="26736" y="6412"/>
                  </a:cubicBezTo>
                  <a:cubicBezTo>
                    <a:pt x="32774" y="15555"/>
                    <a:pt x="36224" y="25215"/>
                    <a:pt x="39674" y="34702"/>
                  </a:cubicBezTo>
                  <a:cubicBezTo>
                    <a:pt x="43296" y="44880"/>
                    <a:pt x="46401" y="53677"/>
                    <a:pt x="51231" y="59370"/>
                  </a:cubicBezTo>
                  <a:cubicBezTo>
                    <a:pt x="56407" y="65580"/>
                    <a:pt x="55544" y="74550"/>
                    <a:pt x="49334" y="79897"/>
                  </a:cubicBezTo>
                  <a:cubicBezTo>
                    <a:pt x="45884" y="82485"/>
                    <a:pt x="42779" y="83520"/>
                    <a:pt x="39674" y="83520"/>
                  </a:cubicBezTo>
                  <a:close/>
                  <a:moveTo>
                    <a:pt x="16731" y="13139"/>
                  </a:moveTo>
                  <a:cubicBezTo>
                    <a:pt x="16731" y="13139"/>
                    <a:pt x="16904" y="13312"/>
                    <a:pt x="16731" y="13139"/>
                  </a:cubicBezTo>
                  <a:cubicBezTo>
                    <a:pt x="16904" y="13312"/>
                    <a:pt x="16731" y="13139"/>
                    <a:pt x="16731" y="13139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62" name="Gráfico 1344">
            <a:extLst>
              <a:ext uri="{FF2B5EF4-FFF2-40B4-BE49-F238E27FC236}">
                <a16:creationId xmlns:a16="http://schemas.microsoft.com/office/drawing/2014/main" id="{FE747457-AC3F-470C-8863-16D866CB8B70}"/>
              </a:ext>
            </a:extLst>
          </p:cNvPr>
          <p:cNvGrpSpPr/>
          <p:nvPr/>
        </p:nvGrpSpPr>
        <p:grpSpPr>
          <a:xfrm>
            <a:off x="8099397" y="3934263"/>
            <a:ext cx="129181" cy="352553"/>
            <a:chOff x="8219143" y="4042749"/>
            <a:chExt cx="129181" cy="352553"/>
          </a:xfrm>
          <a:solidFill>
            <a:srgbClr val="F59D24"/>
          </a:solidFill>
        </p:grpSpPr>
        <p:sp>
          <p:nvSpPr>
            <p:cNvPr id="569" name="Gráfico 1344">
              <a:extLst>
                <a:ext uri="{FF2B5EF4-FFF2-40B4-BE49-F238E27FC236}">
                  <a16:creationId xmlns:a16="http://schemas.microsoft.com/office/drawing/2014/main" id="{2CF5144D-6F8D-41C1-87D7-DC497E1D713A}"/>
                </a:ext>
              </a:extLst>
            </p:cNvPr>
            <p:cNvSpPr/>
            <p:nvPr/>
          </p:nvSpPr>
          <p:spPr>
            <a:xfrm>
              <a:off x="8227748" y="4051410"/>
              <a:ext cx="111614" cy="335267"/>
            </a:xfrm>
            <a:custGeom>
              <a:avLst/>
              <a:gdLst>
                <a:gd name="connsiteX0" fmla="*/ 5974 w 111614"/>
                <a:gd name="connsiteY0" fmla="*/ 335268 h 335267"/>
                <a:gd name="connsiteX1" fmla="*/ 1833 w 111614"/>
                <a:gd name="connsiteY1" fmla="*/ 333542 h 335267"/>
                <a:gd name="connsiteX2" fmla="*/ 1661 w 111614"/>
                <a:gd name="connsiteY2" fmla="*/ 325262 h 335267"/>
                <a:gd name="connsiteX3" fmla="*/ 30986 w 111614"/>
                <a:gd name="connsiteY3" fmla="*/ 283344 h 335267"/>
                <a:gd name="connsiteX4" fmla="*/ 53929 w 111614"/>
                <a:gd name="connsiteY4" fmla="*/ 249017 h 335267"/>
                <a:gd name="connsiteX5" fmla="*/ 74111 w 111614"/>
                <a:gd name="connsiteY5" fmla="*/ 195369 h 335267"/>
                <a:gd name="connsiteX6" fmla="*/ 84979 w 111614"/>
                <a:gd name="connsiteY6" fmla="*/ 154831 h 335267"/>
                <a:gd name="connsiteX7" fmla="*/ 93949 w 111614"/>
                <a:gd name="connsiteY7" fmla="*/ 138616 h 335267"/>
                <a:gd name="connsiteX8" fmla="*/ 98951 w 111614"/>
                <a:gd name="connsiteY8" fmla="*/ 116536 h 335267"/>
                <a:gd name="connsiteX9" fmla="*/ 84117 w 111614"/>
                <a:gd name="connsiteY9" fmla="*/ 95146 h 335267"/>
                <a:gd name="connsiteX10" fmla="*/ 69281 w 111614"/>
                <a:gd name="connsiteY10" fmla="*/ 75998 h 335267"/>
                <a:gd name="connsiteX11" fmla="*/ 74284 w 111614"/>
                <a:gd name="connsiteY11" fmla="*/ 29423 h 335267"/>
                <a:gd name="connsiteX12" fmla="*/ 85842 w 111614"/>
                <a:gd name="connsiteY12" fmla="*/ 4410 h 335267"/>
                <a:gd name="connsiteX13" fmla="*/ 93086 w 111614"/>
                <a:gd name="connsiteY13" fmla="*/ 98 h 335267"/>
                <a:gd name="connsiteX14" fmla="*/ 97399 w 111614"/>
                <a:gd name="connsiteY14" fmla="*/ 7342 h 335267"/>
                <a:gd name="connsiteX15" fmla="*/ 84461 w 111614"/>
                <a:gd name="connsiteY15" fmla="*/ 35460 h 335267"/>
                <a:gd name="connsiteX16" fmla="*/ 80149 w 111614"/>
                <a:gd name="connsiteY16" fmla="*/ 70651 h 335267"/>
                <a:gd name="connsiteX17" fmla="*/ 92742 w 111614"/>
                <a:gd name="connsiteY17" fmla="*/ 87038 h 335267"/>
                <a:gd name="connsiteX18" fmla="*/ 110337 w 111614"/>
                <a:gd name="connsiteY18" fmla="*/ 113776 h 335267"/>
                <a:gd name="connsiteX19" fmla="*/ 103609 w 111614"/>
                <a:gd name="connsiteY19" fmla="*/ 144999 h 335267"/>
                <a:gd name="connsiteX20" fmla="*/ 95674 w 111614"/>
                <a:gd name="connsiteY20" fmla="*/ 159144 h 335267"/>
                <a:gd name="connsiteX21" fmla="*/ 85324 w 111614"/>
                <a:gd name="connsiteY21" fmla="*/ 197611 h 335267"/>
                <a:gd name="connsiteX22" fmla="*/ 63071 w 111614"/>
                <a:gd name="connsiteY22" fmla="*/ 256090 h 335267"/>
                <a:gd name="connsiteX23" fmla="*/ 40819 w 111614"/>
                <a:gd name="connsiteY23" fmla="*/ 289900 h 335267"/>
                <a:gd name="connsiteX24" fmla="*/ 10113 w 111614"/>
                <a:gd name="connsiteY24" fmla="*/ 333715 h 335267"/>
                <a:gd name="connsiteX25" fmla="*/ 5974 w 111614"/>
                <a:gd name="connsiteY25" fmla="*/ 335268 h 335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1614" h="335267">
                  <a:moveTo>
                    <a:pt x="5974" y="335268"/>
                  </a:moveTo>
                  <a:cubicBezTo>
                    <a:pt x="4421" y="335268"/>
                    <a:pt x="3041" y="334922"/>
                    <a:pt x="1833" y="333542"/>
                  </a:cubicBezTo>
                  <a:cubicBezTo>
                    <a:pt x="-582" y="331128"/>
                    <a:pt x="-582" y="327505"/>
                    <a:pt x="1661" y="325262"/>
                  </a:cubicBezTo>
                  <a:cubicBezTo>
                    <a:pt x="9596" y="316982"/>
                    <a:pt x="20464" y="299904"/>
                    <a:pt x="30986" y="283344"/>
                  </a:cubicBezTo>
                  <a:cubicBezTo>
                    <a:pt x="38749" y="271097"/>
                    <a:pt x="46684" y="258504"/>
                    <a:pt x="53929" y="249017"/>
                  </a:cubicBezTo>
                  <a:cubicBezTo>
                    <a:pt x="67211" y="231249"/>
                    <a:pt x="70489" y="213826"/>
                    <a:pt x="74111" y="195369"/>
                  </a:cubicBezTo>
                  <a:cubicBezTo>
                    <a:pt x="76527" y="182259"/>
                    <a:pt x="79287" y="169149"/>
                    <a:pt x="84979" y="154831"/>
                  </a:cubicBezTo>
                  <a:cubicBezTo>
                    <a:pt x="87912" y="147586"/>
                    <a:pt x="91361" y="142583"/>
                    <a:pt x="93949" y="138616"/>
                  </a:cubicBezTo>
                  <a:cubicBezTo>
                    <a:pt x="98951" y="131371"/>
                    <a:pt x="101539" y="127749"/>
                    <a:pt x="98951" y="116536"/>
                  </a:cubicBezTo>
                  <a:cubicBezTo>
                    <a:pt x="97226" y="109291"/>
                    <a:pt x="90672" y="102218"/>
                    <a:pt x="84117" y="95146"/>
                  </a:cubicBezTo>
                  <a:cubicBezTo>
                    <a:pt x="78596" y="89108"/>
                    <a:pt x="72731" y="82725"/>
                    <a:pt x="69281" y="75998"/>
                  </a:cubicBezTo>
                  <a:cubicBezTo>
                    <a:pt x="58931" y="54608"/>
                    <a:pt x="66349" y="42533"/>
                    <a:pt x="74284" y="29423"/>
                  </a:cubicBezTo>
                  <a:cubicBezTo>
                    <a:pt x="78596" y="22178"/>
                    <a:pt x="83082" y="14760"/>
                    <a:pt x="85842" y="4410"/>
                  </a:cubicBezTo>
                  <a:cubicBezTo>
                    <a:pt x="86704" y="1133"/>
                    <a:pt x="89982" y="-420"/>
                    <a:pt x="93086" y="98"/>
                  </a:cubicBezTo>
                  <a:cubicBezTo>
                    <a:pt x="96364" y="960"/>
                    <a:pt x="98261" y="4238"/>
                    <a:pt x="97399" y="7342"/>
                  </a:cubicBezTo>
                  <a:cubicBezTo>
                    <a:pt x="94121" y="19590"/>
                    <a:pt x="89119" y="27870"/>
                    <a:pt x="84461" y="35460"/>
                  </a:cubicBezTo>
                  <a:cubicBezTo>
                    <a:pt x="77217" y="47708"/>
                    <a:pt x="72731" y="55126"/>
                    <a:pt x="80149" y="70651"/>
                  </a:cubicBezTo>
                  <a:cubicBezTo>
                    <a:pt x="82736" y="75998"/>
                    <a:pt x="87739" y="81346"/>
                    <a:pt x="92742" y="87038"/>
                  </a:cubicBezTo>
                  <a:cubicBezTo>
                    <a:pt x="100332" y="95146"/>
                    <a:pt x="107922" y="103426"/>
                    <a:pt x="110337" y="113776"/>
                  </a:cubicBezTo>
                  <a:cubicBezTo>
                    <a:pt x="113959" y="129646"/>
                    <a:pt x="109302" y="136891"/>
                    <a:pt x="103609" y="144999"/>
                  </a:cubicBezTo>
                  <a:cubicBezTo>
                    <a:pt x="101021" y="148794"/>
                    <a:pt x="98261" y="153106"/>
                    <a:pt x="95674" y="159144"/>
                  </a:cubicBezTo>
                  <a:cubicBezTo>
                    <a:pt x="90154" y="172426"/>
                    <a:pt x="87739" y="185191"/>
                    <a:pt x="85324" y="197611"/>
                  </a:cubicBezTo>
                  <a:cubicBezTo>
                    <a:pt x="81701" y="216587"/>
                    <a:pt x="77734" y="236079"/>
                    <a:pt x="63071" y="256090"/>
                  </a:cubicBezTo>
                  <a:cubicBezTo>
                    <a:pt x="56171" y="265232"/>
                    <a:pt x="48236" y="277824"/>
                    <a:pt x="40819" y="289900"/>
                  </a:cubicBezTo>
                  <a:cubicBezTo>
                    <a:pt x="29433" y="307840"/>
                    <a:pt x="18911" y="324573"/>
                    <a:pt x="10113" y="333715"/>
                  </a:cubicBezTo>
                  <a:cubicBezTo>
                    <a:pt x="8906" y="334922"/>
                    <a:pt x="7526" y="335268"/>
                    <a:pt x="5974" y="335268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70" name="Gráfico 1344">
              <a:extLst>
                <a:ext uri="{FF2B5EF4-FFF2-40B4-BE49-F238E27FC236}">
                  <a16:creationId xmlns:a16="http://schemas.microsoft.com/office/drawing/2014/main" id="{23BB2C6B-B4DA-4979-BDDE-FF0D88628C31}"/>
                </a:ext>
              </a:extLst>
            </p:cNvPr>
            <p:cNvSpPr/>
            <p:nvPr/>
          </p:nvSpPr>
          <p:spPr>
            <a:xfrm>
              <a:off x="8219143" y="4042749"/>
              <a:ext cx="129181" cy="352553"/>
            </a:xfrm>
            <a:custGeom>
              <a:avLst/>
              <a:gdLst>
                <a:gd name="connsiteX0" fmla="*/ 14578 w 129181"/>
                <a:gd name="connsiteY0" fmla="*/ 352554 h 352553"/>
                <a:gd name="connsiteX1" fmla="*/ 3883 w 129181"/>
                <a:gd name="connsiteY1" fmla="*/ 347724 h 352553"/>
                <a:gd name="connsiteX2" fmla="*/ 3883 w 129181"/>
                <a:gd name="connsiteY2" fmla="*/ 328058 h 352553"/>
                <a:gd name="connsiteX3" fmla="*/ 32345 w 129181"/>
                <a:gd name="connsiteY3" fmla="*/ 287348 h 352553"/>
                <a:gd name="connsiteX4" fmla="*/ 33207 w 129181"/>
                <a:gd name="connsiteY4" fmla="*/ 285968 h 352553"/>
                <a:gd name="connsiteX5" fmla="*/ 55633 w 129181"/>
                <a:gd name="connsiteY5" fmla="*/ 252503 h 352553"/>
                <a:gd name="connsiteX6" fmla="*/ 73918 w 129181"/>
                <a:gd name="connsiteY6" fmla="*/ 203858 h 352553"/>
                <a:gd name="connsiteX7" fmla="*/ 85648 w 129181"/>
                <a:gd name="connsiteY7" fmla="*/ 160387 h 352553"/>
                <a:gd name="connsiteX8" fmla="*/ 94273 w 129181"/>
                <a:gd name="connsiteY8" fmla="*/ 144345 h 352553"/>
                <a:gd name="connsiteX9" fmla="*/ 95308 w 129181"/>
                <a:gd name="connsiteY9" fmla="*/ 142792 h 352553"/>
                <a:gd name="connsiteX10" fmla="*/ 99103 w 129181"/>
                <a:gd name="connsiteY10" fmla="*/ 127439 h 352553"/>
                <a:gd name="connsiteX11" fmla="*/ 87200 w 129181"/>
                <a:gd name="connsiteY11" fmla="*/ 110707 h 352553"/>
                <a:gd name="connsiteX12" fmla="*/ 70295 w 129181"/>
                <a:gd name="connsiteY12" fmla="*/ 88626 h 352553"/>
                <a:gd name="connsiteX13" fmla="*/ 75643 w 129181"/>
                <a:gd name="connsiteY13" fmla="*/ 33599 h 352553"/>
                <a:gd name="connsiteX14" fmla="*/ 86338 w 129181"/>
                <a:gd name="connsiteY14" fmla="*/ 10829 h 352553"/>
                <a:gd name="connsiteX15" fmla="*/ 103588 w 129181"/>
                <a:gd name="connsiteY15" fmla="*/ 306 h 352553"/>
                <a:gd name="connsiteX16" fmla="*/ 113076 w 129181"/>
                <a:gd name="connsiteY16" fmla="*/ 7034 h 352553"/>
                <a:gd name="connsiteX17" fmla="*/ 114628 w 129181"/>
                <a:gd name="connsiteY17" fmla="*/ 18246 h 352553"/>
                <a:gd name="connsiteX18" fmla="*/ 101691 w 129181"/>
                <a:gd name="connsiteY18" fmla="*/ 47054 h 352553"/>
                <a:gd name="connsiteX19" fmla="*/ 100828 w 129181"/>
                <a:gd name="connsiteY19" fmla="*/ 48607 h 352553"/>
                <a:gd name="connsiteX20" fmla="*/ 96860 w 129181"/>
                <a:gd name="connsiteY20" fmla="*/ 75689 h 352553"/>
                <a:gd name="connsiteX21" fmla="*/ 107038 w 129181"/>
                <a:gd name="connsiteY21" fmla="*/ 88972 h 352553"/>
                <a:gd name="connsiteX22" fmla="*/ 127738 w 129181"/>
                <a:gd name="connsiteY22" fmla="*/ 120712 h 352553"/>
                <a:gd name="connsiteX23" fmla="*/ 119803 w 129181"/>
                <a:gd name="connsiteY23" fmla="*/ 158662 h 352553"/>
                <a:gd name="connsiteX24" fmla="*/ 112731 w 129181"/>
                <a:gd name="connsiteY24" fmla="*/ 171255 h 352553"/>
                <a:gd name="connsiteX25" fmla="*/ 103243 w 129181"/>
                <a:gd name="connsiteY25" fmla="*/ 206963 h 352553"/>
                <a:gd name="connsiteX26" fmla="*/ 79266 w 129181"/>
                <a:gd name="connsiteY26" fmla="*/ 269925 h 352553"/>
                <a:gd name="connsiteX27" fmla="*/ 57358 w 129181"/>
                <a:gd name="connsiteY27" fmla="*/ 303218 h 352553"/>
                <a:gd name="connsiteX28" fmla="*/ 25617 w 129181"/>
                <a:gd name="connsiteY28" fmla="*/ 348414 h 352553"/>
                <a:gd name="connsiteX29" fmla="*/ 14578 w 129181"/>
                <a:gd name="connsiteY29" fmla="*/ 352554 h 352553"/>
                <a:gd name="connsiteX30" fmla="*/ 102898 w 129181"/>
                <a:gd name="connsiteY30" fmla="*/ 15141 h 352553"/>
                <a:gd name="connsiteX31" fmla="*/ 102898 w 129181"/>
                <a:gd name="connsiteY31" fmla="*/ 15141 h 352553"/>
                <a:gd name="connsiteX32" fmla="*/ 102898 w 129181"/>
                <a:gd name="connsiteY32" fmla="*/ 15141 h 352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9181" h="352553">
                  <a:moveTo>
                    <a:pt x="14578" y="352554"/>
                  </a:moveTo>
                  <a:cubicBezTo>
                    <a:pt x="10265" y="352554"/>
                    <a:pt x="6470" y="350829"/>
                    <a:pt x="3883" y="347724"/>
                  </a:cubicBezTo>
                  <a:cubicBezTo>
                    <a:pt x="-1120" y="342721"/>
                    <a:pt x="-1465" y="333751"/>
                    <a:pt x="3883" y="328058"/>
                  </a:cubicBezTo>
                  <a:cubicBezTo>
                    <a:pt x="11472" y="320123"/>
                    <a:pt x="22512" y="302701"/>
                    <a:pt x="32345" y="287348"/>
                  </a:cubicBezTo>
                  <a:lnTo>
                    <a:pt x="33207" y="285968"/>
                  </a:lnTo>
                  <a:cubicBezTo>
                    <a:pt x="40625" y="274238"/>
                    <a:pt x="48388" y="261991"/>
                    <a:pt x="55633" y="252503"/>
                  </a:cubicBezTo>
                  <a:cubicBezTo>
                    <a:pt x="67363" y="236806"/>
                    <a:pt x="70468" y="221453"/>
                    <a:pt x="73918" y="203858"/>
                  </a:cubicBezTo>
                  <a:cubicBezTo>
                    <a:pt x="76333" y="190403"/>
                    <a:pt x="79266" y="175913"/>
                    <a:pt x="85648" y="160387"/>
                  </a:cubicBezTo>
                  <a:cubicBezTo>
                    <a:pt x="88580" y="153314"/>
                    <a:pt x="91686" y="148312"/>
                    <a:pt x="94273" y="144345"/>
                  </a:cubicBezTo>
                  <a:lnTo>
                    <a:pt x="95308" y="142792"/>
                  </a:lnTo>
                  <a:cubicBezTo>
                    <a:pt x="99965" y="135892"/>
                    <a:pt x="100828" y="134685"/>
                    <a:pt x="99103" y="127439"/>
                  </a:cubicBezTo>
                  <a:cubicBezTo>
                    <a:pt x="98068" y="122609"/>
                    <a:pt x="92375" y="116572"/>
                    <a:pt x="87200" y="110707"/>
                  </a:cubicBezTo>
                  <a:cubicBezTo>
                    <a:pt x="80128" y="103117"/>
                    <a:pt x="74263" y="96389"/>
                    <a:pt x="70295" y="88626"/>
                  </a:cubicBezTo>
                  <a:cubicBezTo>
                    <a:pt x="57875" y="62751"/>
                    <a:pt x="67708" y="46709"/>
                    <a:pt x="75643" y="33599"/>
                  </a:cubicBezTo>
                  <a:cubicBezTo>
                    <a:pt x="79955" y="26181"/>
                    <a:pt x="83923" y="19626"/>
                    <a:pt x="86338" y="10829"/>
                  </a:cubicBezTo>
                  <a:cubicBezTo>
                    <a:pt x="88408" y="3239"/>
                    <a:pt x="95826" y="-1247"/>
                    <a:pt x="103588" y="306"/>
                  </a:cubicBezTo>
                  <a:cubicBezTo>
                    <a:pt x="107901" y="1514"/>
                    <a:pt x="111006" y="3756"/>
                    <a:pt x="113076" y="7034"/>
                  </a:cubicBezTo>
                  <a:cubicBezTo>
                    <a:pt x="115146" y="10483"/>
                    <a:pt x="115663" y="14451"/>
                    <a:pt x="114628" y="18246"/>
                  </a:cubicBezTo>
                  <a:cubicBezTo>
                    <a:pt x="111351" y="30839"/>
                    <a:pt x="106176" y="39464"/>
                    <a:pt x="101691" y="47054"/>
                  </a:cubicBezTo>
                  <a:lnTo>
                    <a:pt x="100828" y="48607"/>
                  </a:lnTo>
                  <a:cubicBezTo>
                    <a:pt x="93756" y="60337"/>
                    <a:pt x="91513" y="64304"/>
                    <a:pt x="96860" y="75689"/>
                  </a:cubicBezTo>
                  <a:cubicBezTo>
                    <a:pt x="98758" y="79484"/>
                    <a:pt x="102725" y="84142"/>
                    <a:pt x="107038" y="88972"/>
                  </a:cubicBezTo>
                  <a:cubicBezTo>
                    <a:pt x="116008" y="98632"/>
                    <a:pt x="124806" y="108292"/>
                    <a:pt x="127738" y="120712"/>
                  </a:cubicBezTo>
                  <a:cubicBezTo>
                    <a:pt x="132223" y="140550"/>
                    <a:pt x="125323" y="150555"/>
                    <a:pt x="119803" y="158662"/>
                  </a:cubicBezTo>
                  <a:cubicBezTo>
                    <a:pt x="117216" y="162457"/>
                    <a:pt x="114973" y="166080"/>
                    <a:pt x="112731" y="171255"/>
                  </a:cubicBezTo>
                  <a:cubicBezTo>
                    <a:pt x="107728" y="183330"/>
                    <a:pt x="105313" y="195405"/>
                    <a:pt x="103243" y="206963"/>
                  </a:cubicBezTo>
                  <a:cubicBezTo>
                    <a:pt x="99448" y="226800"/>
                    <a:pt x="95308" y="248018"/>
                    <a:pt x="79266" y="269925"/>
                  </a:cubicBezTo>
                  <a:cubicBezTo>
                    <a:pt x="72365" y="279068"/>
                    <a:pt x="64430" y="291833"/>
                    <a:pt x="57358" y="303218"/>
                  </a:cubicBezTo>
                  <a:cubicBezTo>
                    <a:pt x="45628" y="321849"/>
                    <a:pt x="34933" y="338753"/>
                    <a:pt x="25617" y="348414"/>
                  </a:cubicBezTo>
                  <a:cubicBezTo>
                    <a:pt x="21133" y="351519"/>
                    <a:pt x="18027" y="352554"/>
                    <a:pt x="14578" y="352554"/>
                  </a:cubicBezTo>
                  <a:close/>
                  <a:moveTo>
                    <a:pt x="102898" y="15141"/>
                  </a:moveTo>
                  <a:cubicBezTo>
                    <a:pt x="102898" y="15141"/>
                    <a:pt x="102898" y="15141"/>
                    <a:pt x="102898" y="15141"/>
                  </a:cubicBezTo>
                  <a:cubicBezTo>
                    <a:pt x="102898" y="15141"/>
                    <a:pt x="102898" y="15141"/>
                    <a:pt x="102898" y="15141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63" name="Gráfico 1344">
            <a:extLst>
              <a:ext uri="{FF2B5EF4-FFF2-40B4-BE49-F238E27FC236}">
                <a16:creationId xmlns:a16="http://schemas.microsoft.com/office/drawing/2014/main" id="{BB14E5DD-C86D-41DA-81A4-51A7671CAE97}"/>
              </a:ext>
            </a:extLst>
          </p:cNvPr>
          <p:cNvGrpSpPr/>
          <p:nvPr/>
        </p:nvGrpSpPr>
        <p:grpSpPr>
          <a:xfrm>
            <a:off x="8090975" y="4565693"/>
            <a:ext cx="903615" cy="1004532"/>
            <a:chOff x="8210721" y="4674179"/>
            <a:chExt cx="903615" cy="1004532"/>
          </a:xfrm>
          <a:solidFill>
            <a:srgbClr val="F59D24"/>
          </a:solidFill>
        </p:grpSpPr>
        <p:sp>
          <p:nvSpPr>
            <p:cNvPr id="567" name="Gráfico 1344">
              <a:extLst>
                <a:ext uri="{FF2B5EF4-FFF2-40B4-BE49-F238E27FC236}">
                  <a16:creationId xmlns:a16="http://schemas.microsoft.com/office/drawing/2014/main" id="{58B7AF5B-3AF3-4316-AAD7-B46541F0FA0F}"/>
                </a:ext>
              </a:extLst>
            </p:cNvPr>
            <p:cNvSpPr/>
            <p:nvPr/>
          </p:nvSpPr>
          <p:spPr>
            <a:xfrm>
              <a:off x="8219618" y="4683041"/>
              <a:ext cx="885641" cy="987045"/>
            </a:xfrm>
            <a:custGeom>
              <a:avLst/>
              <a:gdLst>
                <a:gd name="connsiteX0" fmla="*/ 850561 w 885641"/>
                <a:gd name="connsiteY0" fmla="*/ 987045 h 987045"/>
                <a:gd name="connsiteX1" fmla="*/ 847628 w 885641"/>
                <a:gd name="connsiteY1" fmla="*/ 986355 h 987045"/>
                <a:gd name="connsiteX2" fmla="*/ 845214 w 885641"/>
                <a:gd name="connsiteY2" fmla="*/ 978248 h 987045"/>
                <a:gd name="connsiteX3" fmla="*/ 853321 w 885641"/>
                <a:gd name="connsiteY3" fmla="*/ 964965 h 987045"/>
                <a:gd name="connsiteX4" fmla="*/ 870744 w 885641"/>
                <a:gd name="connsiteY4" fmla="*/ 891652 h 987045"/>
                <a:gd name="connsiteX5" fmla="*/ 857289 w 885641"/>
                <a:gd name="connsiteY5" fmla="*/ 861809 h 987045"/>
                <a:gd name="connsiteX6" fmla="*/ 839349 w 885641"/>
                <a:gd name="connsiteY6" fmla="*/ 814889 h 987045"/>
                <a:gd name="connsiteX7" fmla="*/ 838314 w 885641"/>
                <a:gd name="connsiteY7" fmla="*/ 782114 h 987045"/>
                <a:gd name="connsiteX8" fmla="*/ 832793 w 885641"/>
                <a:gd name="connsiteY8" fmla="*/ 735021 h 987045"/>
                <a:gd name="connsiteX9" fmla="*/ 774488 w 885641"/>
                <a:gd name="connsiteY9" fmla="*/ 677578 h 987045"/>
                <a:gd name="connsiteX10" fmla="*/ 708938 w 885641"/>
                <a:gd name="connsiteY10" fmla="*/ 610303 h 987045"/>
                <a:gd name="connsiteX11" fmla="*/ 691860 w 885641"/>
                <a:gd name="connsiteY11" fmla="*/ 579597 h 987045"/>
                <a:gd name="connsiteX12" fmla="*/ 641490 w 885641"/>
                <a:gd name="connsiteY12" fmla="*/ 465229 h 987045"/>
                <a:gd name="connsiteX13" fmla="*/ 619754 w 885641"/>
                <a:gd name="connsiteY13" fmla="*/ 410028 h 987045"/>
                <a:gd name="connsiteX14" fmla="*/ 610439 w 885641"/>
                <a:gd name="connsiteY14" fmla="*/ 389846 h 987045"/>
                <a:gd name="connsiteX15" fmla="*/ 574904 w 885641"/>
                <a:gd name="connsiteY15" fmla="*/ 357071 h 987045"/>
                <a:gd name="connsiteX16" fmla="*/ 551271 w 885641"/>
                <a:gd name="connsiteY16" fmla="*/ 344996 h 987045"/>
                <a:gd name="connsiteX17" fmla="*/ 546959 w 885641"/>
                <a:gd name="connsiteY17" fmla="*/ 342236 h 987045"/>
                <a:gd name="connsiteX18" fmla="*/ 530571 w 885641"/>
                <a:gd name="connsiteY18" fmla="*/ 316706 h 987045"/>
                <a:gd name="connsiteX19" fmla="*/ 489688 w 885641"/>
                <a:gd name="connsiteY19" fmla="*/ 281343 h 987045"/>
                <a:gd name="connsiteX20" fmla="*/ 472266 w 885641"/>
                <a:gd name="connsiteY20" fmla="*/ 261160 h 987045"/>
                <a:gd name="connsiteX21" fmla="*/ 441388 w 885641"/>
                <a:gd name="connsiteY21" fmla="*/ 245635 h 987045"/>
                <a:gd name="connsiteX22" fmla="*/ 407405 w 885641"/>
                <a:gd name="connsiteY22" fmla="*/ 227522 h 987045"/>
                <a:gd name="connsiteX23" fmla="*/ 338922 w 885641"/>
                <a:gd name="connsiteY23" fmla="*/ 135751 h 987045"/>
                <a:gd name="connsiteX24" fmla="*/ 282342 w 885641"/>
                <a:gd name="connsiteY24" fmla="*/ 77101 h 987045"/>
                <a:gd name="connsiteX25" fmla="*/ 253362 w 885641"/>
                <a:gd name="connsiteY25" fmla="*/ 71754 h 987045"/>
                <a:gd name="connsiteX26" fmla="*/ 218862 w 885641"/>
                <a:gd name="connsiteY26" fmla="*/ 65371 h 987045"/>
                <a:gd name="connsiteX27" fmla="*/ 209546 w 885641"/>
                <a:gd name="connsiteY27" fmla="*/ 62611 h 987045"/>
                <a:gd name="connsiteX28" fmla="*/ 182809 w 885641"/>
                <a:gd name="connsiteY28" fmla="*/ 53469 h 987045"/>
                <a:gd name="connsiteX29" fmla="*/ 169526 w 885641"/>
                <a:gd name="connsiteY29" fmla="*/ 37771 h 987045"/>
                <a:gd name="connsiteX30" fmla="*/ 158831 w 885641"/>
                <a:gd name="connsiteY30" fmla="*/ 25178 h 987045"/>
                <a:gd name="connsiteX31" fmla="*/ 111566 w 885641"/>
                <a:gd name="connsiteY31" fmla="*/ 26213 h 987045"/>
                <a:gd name="connsiteX32" fmla="*/ 79135 w 885641"/>
                <a:gd name="connsiteY32" fmla="*/ 28801 h 987045"/>
                <a:gd name="connsiteX33" fmla="*/ 3925 w 885641"/>
                <a:gd name="connsiteY33" fmla="*/ 11378 h 987045"/>
                <a:gd name="connsiteX34" fmla="*/ 302 w 885641"/>
                <a:gd name="connsiteY34" fmla="*/ 3961 h 987045"/>
                <a:gd name="connsiteX35" fmla="*/ 7720 w 885641"/>
                <a:gd name="connsiteY35" fmla="*/ 338 h 987045"/>
                <a:gd name="connsiteX36" fmla="*/ 79653 w 885641"/>
                <a:gd name="connsiteY36" fmla="*/ 17243 h 987045"/>
                <a:gd name="connsiteX37" fmla="*/ 110013 w 885641"/>
                <a:gd name="connsiteY37" fmla="*/ 14656 h 987045"/>
                <a:gd name="connsiteX38" fmla="*/ 163834 w 885641"/>
                <a:gd name="connsiteY38" fmla="*/ 14656 h 987045"/>
                <a:gd name="connsiteX39" fmla="*/ 179531 w 885641"/>
                <a:gd name="connsiteY39" fmla="*/ 31733 h 987045"/>
                <a:gd name="connsiteX40" fmla="*/ 189364 w 885641"/>
                <a:gd name="connsiteY40" fmla="*/ 43809 h 987045"/>
                <a:gd name="connsiteX41" fmla="*/ 212824 w 885641"/>
                <a:gd name="connsiteY41" fmla="*/ 51399 h 987045"/>
                <a:gd name="connsiteX42" fmla="*/ 222657 w 885641"/>
                <a:gd name="connsiteY42" fmla="*/ 54159 h 987045"/>
                <a:gd name="connsiteX43" fmla="*/ 254914 w 885641"/>
                <a:gd name="connsiteY43" fmla="*/ 60196 h 987045"/>
                <a:gd name="connsiteX44" fmla="*/ 286482 w 885641"/>
                <a:gd name="connsiteY44" fmla="*/ 66234 h 987045"/>
                <a:gd name="connsiteX45" fmla="*/ 349790 w 885641"/>
                <a:gd name="connsiteY45" fmla="*/ 130749 h 987045"/>
                <a:gd name="connsiteX46" fmla="*/ 415858 w 885641"/>
                <a:gd name="connsiteY46" fmla="*/ 219415 h 987045"/>
                <a:gd name="connsiteX47" fmla="*/ 445010 w 885641"/>
                <a:gd name="connsiteY47" fmla="*/ 234595 h 987045"/>
                <a:gd name="connsiteX48" fmla="*/ 480201 w 885641"/>
                <a:gd name="connsiteY48" fmla="*/ 252535 h 987045"/>
                <a:gd name="connsiteX49" fmla="*/ 499176 w 885641"/>
                <a:gd name="connsiteY49" fmla="*/ 274098 h 987045"/>
                <a:gd name="connsiteX50" fmla="*/ 538162 w 885641"/>
                <a:gd name="connsiteY50" fmla="*/ 306700 h 987045"/>
                <a:gd name="connsiteX51" fmla="*/ 542992 w 885641"/>
                <a:gd name="connsiteY51" fmla="*/ 307735 h 987045"/>
                <a:gd name="connsiteX52" fmla="*/ 542819 w 885641"/>
                <a:gd name="connsiteY52" fmla="*/ 312565 h 987045"/>
                <a:gd name="connsiteX53" fmla="*/ 553687 w 885641"/>
                <a:gd name="connsiteY53" fmla="*/ 332231 h 987045"/>
                <a:gd name="connsiteX54" fmla="*/ 558344 w 885641"/>
                <a:gd name="connsiteY54" fmla="*/ 335163 h 987045"/>
                <a:gd name="connsiteX55" fmla="*/ 580079 w 885641"/>
                <a:gd name="connsiteY55" fmla="*/ 346203 h 987045"/>
                <a:gd name="connsiteX56" fmla="*/ 621824 w 885641"/>
                <a:gd name="connsiteY56" fmla="*/ 385189 h 987045"/>
                <a:gd name="connsiteX57" fmla="*/ 630967 w 885641"/>
                <a:gd name="connsiteY57" fmla="*/ 405026 h 987045"/>
                <a:gd name="connsiteX58" fmla="*/ 653564 w 885641"/>
                <a:gd name="connsiteY58" fmla="*/ 462814 h 987045"/>
                <a:gd name="connsiteX59" fmla="*/ 702555 w 885641"/>
                <a:gd name="connsiteY59" fmla="*/ 574077 h 987045"/>
                <a:gd name="connsiteX60" fmla="*/ 719805 w 885641"/>
                <a:gd name="connsiteY60" fmla="*/ 604955 h 987045"/>
                <a:gd name="connsiteX61" fmla="*/ 780870 w 885641"/>
                <a:gd name="connsiteY61" fmla="*/ 667573 h 987045"/>
                <a:gd name="connsiteX62" fmla="*/ 844006 w 885641"/>
                <a:gd name="connsiteY62" fmla="*/ 730191 h 987045"/>
                <a:gd name="connsiteX63" fmla="*/ 850561 w 885641"/>
                <a:gd name="connsiteY63" fmla="*/ 782631 h 987045"/>
                <a:gd name="connsiteX64" fmla="*/ 851423 w 885641"/>
                <a:gd name="connsiteY64" fmla="*/ 813509 h 987045"/>
                <a:gd name="connsiteX65" fmla="*/ 867984 w 885641"/>
                <a:gd name="connsiteY65" fmla="*/ 856290 h 987045"/>
                <a:gd name="connsiteX66" fmla="*/ 882301 w 885641"/>
                <a:gd name="connsiteY66" fmla="*/ 888375 h 987045"/>
                <a:gd name="connsiteX67" fmla="*/ 863326 w 885641"/>
                <a:gd name="connsiteY67" fmla="*/ 971175 h 987045"/>
                <a:gd name="connsiteX68" fmla="*/ 855564 w 885641"/>
                <a:gd name="connsiteY68" fmla="*/ 983768 h 987045"/>
                <a:gd name="connsiteX69" fmla="*/ 850561 w 885641"/>
                <a:gd name="connsiteY69" fmla="*/ 987045 h 98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85641" h="987045">
                  <a:moveTo>
                    <a:pt x="850561" y="987045"/>
                  </a:moveTo>
                  <a:cubicBezTo>
                    <a:pt x="849526" y="987045"/>
                    <a:pt x="848664" y="986873"/>
                    <a:pt x="847628" y="986355"/>
                  </a:cubicBezTo>
                  <a:cubicBezTo>
                    <a:pt x="844869" y="984631"/>
                    <a:pt x="843833" y="981008"/>
                    <a:pt x="845214" y="978248"/>
                  </a:cubicBezTo>
                  <a:cubicBezTo>
                    <a:pt x="847628" y="973763"/>
                    <a:pt x="850388" y="969450"/>
                    <a:pt x="853321" y="964965"/>
                  </a:cubicBezTo>
                  <a:cubicBezTo>
                    <a:pt x="866259" y="944265"/>
                    <a:pt x="879714" y="923220"/>
                    <a:pt x="870744" y="891652"/>
                  </a:cubicBezTo>
                  <a:cubicBezTo>
                    <a:pt x="867984" y="881647"/>
                    <a:pt x="862808" y="871987"/>
                    <a:pt x="857289" y="861809"/>
                  </a:cubicBezTo>
                  <a:cubicBezTo>
                    <a:pt x="849526" y="847492"/>
                    <a:pt x="841763" y="832656"/>
                    <a:pt x="839349" y="814889"/>
                  </a:cubicBezTo>
                  <a:cubicBezTo>
                    <a:pt x="837796" y="803849"/>
                    <a:pt x="838141" y="792809"/>
                    <a:pt x="838314" y="782114"/>
                  </a:cubicBezTo>
                  <a:cubicBezTo>
                    <a:pt x="838658" y="765036"/>
                    <a:pt x="839176" y="749166"/>
                    <a:pt x="832793" y="735021"/>
                  </a:cubicBezTo>
                  <a:cubicBezTo>
                    <a:pt x="820029" y="707248"/>
                    <a:pt x="790703" y="687066"/>
                    <a:pt x="774488" y="677578"/>
                  </a:cubicBezTo>
                  <a:cubicBezTo>
                    <a:pt x="744473" y="659810"/>
                    <a:pt x="728603" y="646700"/>
                    <a:pt x="708938" y="610303"/>
                  </a:cubicBezTo>
                  <a:cubicBezTo>
                    <a:pt x="703417" y="600125"/>
                    <a:pt x="697553" y="589602"/>
                    <a:pt x="691860" y="579597"/>
                  </a:cubicBezTo>
                  <a:cubicBezTo>
                    <a:pt x="671677" y="543890"/>
                    <a:pt x="650459" y="506457"/>
                    <a:pt x="641490" y="465229"/>
                  </a:cubicBezTo>
                  <a:cubicBezTo>
                    <a:pt x="637695" y="447289"/>
                    <a:pt x="628725" y="428314"/>
                    <a:pt x="619754" y="410028"/>
                  </a:cubicBezTo>
                  <a:cubicBezTo>
                    <a:pt x="616305" y="402956"/>
                    <a:pt x="613199" y="396401"/>
                    <a:pt x="610439" y="389846"/>
                  </a:cubicBezTo>
                  <a:cubicBezTo>
                    <a:pt x="601124" y="368111"/>
                    <a:pt x="589567" y="363281"/>
                    <a:pt x="574904" y="357071"/>
                  </a:cubicBezTo>
                  <a:cubicBezTo>
                    <a:pt x="567831" y="353793"/>
                    <a:pt x="559552" y="350688"/>
                    <a:pt x="551271" y="344996"/>
                  </a:cubicBezTo>
                  <a:cubicBezTo>
                    <a:pt x="549719" y="343961"/>
                    <a:pt x="548339" y="343098"/>
                    <a:pt x="546959" y="342236"/>
                  </a:cubicBezTo>
                  <a:cubicBezTo>
                    <a:pt x="538162" y="336543"/>
                    <a:pt x="530916" y="332058"/>
                    <a:pt x="530571" y="316706"/>
                  </a:cubicBezTo>
                  <a:cubicBezTo>
                    <a:pt x="512631" y="310668"/>
                    <a:pt x="500901" y="295833"/>
                    <a:pt x="489688" y="281343"/>
                  </a:cubicBezTo>
                  <a:cubicBezTo>
                    <a:pt x="483651" y="273925"/>
                    <a:pt x="478131" y="266680"/>
                    <a:pt x="472266" y="261160"/>
                  </a:cubicBezTo>
                  <a:cubicBezTo>
                    <a:pt x="462606" y="252363"/>
                    <a:pt x="452256" y="249258"/>
                    <a:pt x="441388" y="245635"/>
                  </a:cubicBezTo>
                  <a:cubicBezTo>
                    <a:pt x="429830" y="242012"/>
                    <a:pt x="417928" y="238217"/>
                    <a:pt x="407405" y="227522"/>
                  </a:cubicBezTo>
                  <a:cubicBezTo>
                    <a:pt x="384808" y="204752"/>
                    <a:pt x="354793" y="167664"/>
                    <a:pt x="338922" y="135751"/>
                  </a:cubicBezTo>
                  <a:cubicBezTo>
                    <a:pt x="322535" y="102976"/>
                    <a:pt x="312185" y="87451"/>
                    <a:pt x="282342" y="77101"/>
                  </a:cubicBezTo>
                  <a:cubicBezTo>
                    <a:pt x="272509" y="73651"/>
                    <a:pt x="263194" y="72789"/>
                    <a:pt x="253362" y="71754"/>
                  </a:cubicBezTo>
                  <a:cubicBezTo>
                    <a:pt x="242667" y="70719"/>
                    <a:pt x="231799" y="69338"/>
                    <a:pt x="218862" y="65371"/>
                  </a:cubicBezTo>
                  <a:cubicBezTo>
                    <a:pt x="216446" y="64681"/>
                    <a:pt x="213341" y="63646"/>
                    <a:pt x="209546" y="62611"/>
                  </a:cubicBezTo>
                  <a:cubicBezTo>
                    <a:pt x="196781" y="58989"/>
                    <a:pt x="187121" y="56229"/>
                    <a:pt x="182809" y="53469"/>
                  </a:cubicBezTo>
                  <a:cubicBezTo>
                    <a:pt x="177289" y="49846"/>
                    <a:pt x="173149" y="43636"/>
                    <a:pt x="169526" y="37771"/>
                  </a:cubicBezTo>
                  <a:cubicBezTo>
                    <a:pt x="166076" y="32423"/>
                    <a:pt x="162626" y="26903"/>
                    <a:pt x="158831" y="25178"/>
                  </a:cubicBezTo>
                  <a:cubicBezTo>
                    <a:pt x="150551" y="21383"/>
                    <a:pt x="128816" y="24143"/>
                    <a:pt x="111566" y="26213"/>
                  </a:cubicBezTo>
                  <a:cubicBezTo>
                    <a:pt x="99146" y="27766"/>
                    <a:pt x="87416" y="29146"/>
                    <a:pt x="79135" y="28801"/>
                  </a:cubicBezTo>
                  <a:cubicBezTo>
                    <a:pt x="50155" y="27249"/>
                    <a:pt x="26695" y="19141"/>
                    <a:pt x="3925" y="11378"/>
                  </a:cubicBezTo>
                  <a:cubicBezTo>
                    <a:pt x="992" y="10343"/>
                    <a:pt x="-733" y="6893"/>
                    <a:pt x="302" y="3961"/>
                  </a:cubicBezTo>
                  <a:cubicBezTo>
                    <a:pt x="1337" y="683"/>
                    <a:pt x="4787" y="-697"/>
                    <a:pt x="7720" y="338"/>
                  </a:cubicBezTo>
                  <a:cubicBezTo>
                    <a:pt x="30490" y="8273"/>
                    <a:pt x="52225" y="15863"/>
                    <a:pt x="79653" y="17243"/>
                  </a:cubicBezTo>
                  <a:cubicBezTo>
                    <a:pt x="86898" y="17588"/>
                    <a:pt x="98283" y="16208"/>
                    <a:pt x="110013" y="14656"/>
                  </a:cubicBezTo>
                  <a:cubicBezTo>
                    <a:pt x="130886" y="12068"/>
                    <a:pt x="152448" y="9308"/>
                    <a:pt x="163834" y="14656"/>
                  </a:cubicBezTo>
                  <a:cubicBezTo>
                    <a:pt x="170906" y="17933"/>
                    <a:pt x="175391" y="24833"/>
                    <a:pt x="179531" y="31733"/>
                  </a:cubicBezTo>
                  <a:cubicBezTo>
                    <a:pt x="182809" y="36563"/>
                    <a:pt x="185741" y="41566"/>
                    <a:pt x="189364" y="43809"/>
                  </a:cubicBezTo>
                  <a:cubicBezTo>
                    <a:pt x="192641" y="45878"/>
                    <a:pt x="205061" y="49329"/>
                    <a:pt x="212824" y="51399"/>
                  </a:cubicBezTo>
                  <a:cubicBezTo>
                    <a:pt x="216619" y="52434"/>
                    <a:pt x="220241" y="53469"/>
                    <a:pt x="222657" y="54159"/>
                  </a:cubicBezTo>
                  <a:cubicBezTo>
                    <a:pt x="234387" y="57954"/>
                    <a:pt x="244909" y="58989"/>
                    <a:pt x="254914" y="60196"/>
                  </a:cubicBezTo>
                  <a:cubicBezTo>
                    <a:pt x="264919" y="61231"/>
                    <a:pt x="275442" y="62266"/>
                    <a:pt x="286482" y="66234"/>
                  </a:cubicBezTo>
                  <a:cubicBezTo>
                    <a:pt x="320637" y="77791"/>
                    <a:pt x="332367" y="95559"/>
                    <a:pt x="349790" y="130749"/>
                  </a:cubicBezTo>
                  <a:cubicBezTo>
                    <a:pt x="362728" y="156969"/>
                    <a:pt x="390155" y="193367"/>
                    <a:pt x="415858" y="219415"/>
                  </a:cubicBezTo>
                  <a:cubicBezTo>
                    <a:pt x="424311" y="227867"/>
                    <a:pt x="434488" y="231145"/>
                    <a:pt x="445010" y="234595"/>
                  </a:cubicBezTo>
                  <a:cubicBezTo>
                    <a:pt x="456051" y="238217"/>
                    <a:pt x="468643" y="242012"/>
                    <a:pt x="480201" y="252535"/>
                  </a:cubicBezTo>
                  <a:cubicBezTo>
                    <a:pt x="487101" y="258745"/>
                    <a:pt x="493138" y="266680"/>
                    <a:pt x="499176" y="274098"/>
                  </a:cubicBezTo>
                  <a:cubicBezTo>
                    <a:pt x="510733" y="288760"/>
                    <a:pt x="521774" y="302905"/>
                    <a:pt x="538162" y="306700"/>
                  </a:cubicBezTo>
                  <a:lnTo>
                    <a:pt x="542992" y="307735"/>
                  </a:lnTo>
                  <a:lnTo>
                    <a:pt x="542819" y="312565"/>
                  </a:lnTo>
                  <a:cubicBezTo>
                    <a:pt x="542129" y="324985"/>
                    <a:pt x="544889" y="326366"/>
                    <a:pt x="553687" y="332231"/>
                  </a:cubicBezTo>
                  <a:cubicBezTo>
                    <a:pt x="555239" y="333093"/>
                    <a:pt x="556619" y="334128"/>
                    <a:pt x="558344" y="335163"/>
                  </a:cubicBezTo>
                  <a:cubicBezTo>
                    <a:pt x="565761" y="340338"/>
                    <a:pt x="573007" y="343270"/>
                    <a:pt x="580079" y="346203"/>
                  </a:cubicBezTo>
                  <a:cubicBezTo>
                    <a:pt x="595604" y="352758"/>
                    <a:pt x="610612" y="358968"/>
                    <a:pt x="621824" y="385189"/>
                  </a:cubicBezTo>
                  <a:cubicBezTo>
                    <a:pt x="624584" y="391398"/>
                    <a:pt x="627862" y="397954"/>
                    <a:pt x="630967" y="405026"/>
                  </a:cubicBezTo>
                  <a:cubicBezTo>
                    <a:pt x="639937" y="424001"/>
                    <a:pt x="649252" y="443666"/>
                    <a:pt x="653564" y="462814"/>
                  </a:cubicBezTo>
                  <a:cubicBezTo>
                    <a:pt x="662017" y="502489"/>
                    <a:pt x="681855" y="537162"/>
                    <a:pt x="702555" y="574077"/>
                  </a:cubicBezTo>
                  <a:cubicBezTo>
                    <a:pt x="708248" y="584083"/>
                    <a:pt x="714112" y="594605"/>
                    <a:pt x="719805" y="604955"/>
                  </a:cubicBezTo>
                  <a:cubicBezTo>
                    <a:pt x="737918" y="638593"/>
                    <a:pt x="750683" y="650150"/>
                    <a:pt x="780870" y="667573"/>
                  </a:cubicBezTo>
                  <a:cubicBezTo>
                    <a:pt x="798293" y="677751"/>
                    <a:pt x="829689" y="699485"/>
                    <a:pt x="844006" y="730191"/>
                  </a:cubicBezTo>
                  <a:cubicBezTo>
                    <a:pt x="851769" y="746751"/>
                    <a:pt x="851251" y="764864"/>
                    <a:pt x="850561" y="782631"/>
                  </a:cubicBezTo>
                  <a:cubicBezTo>
                    <a:pt x="850388" y="792809"/>
                    <a:pt x="850216" y="803504"/>
                    <a:pt x="851423" y="813509"/>
                  </a:cubicBezTo>
                  <a:cubicBezTo>
                    <a:pt x="853494" y="829034"/>
                    <a:pt x="861083" y="842834"/>
                    <a:pt x="867984" y="856290"/>
                  </a:cubicBezTo>
                  <a:cubicBezTo>
                    <a:pt x="873503" y="866467"/>
                    <a:pt x="879369" y="877162"/>
                    <a:pt x="882301" y="888375"/>
                  </a:cubicBezTo>
                  <a:cubicBezTo>
                    <a:pt x="892824" y="924773"/>
                    <a:pt x="876264" y="950648"/>
                    <a:pt x="863326" y="971175"/>
                  </a:cubicBezTo>
                  <a:cubicBezTo>
                    <a:pt x="860566" y="975660"/>
                    <a:pt x="857806" y="979628"/>
                    <a:pt x="855564" y="983768"/>
                  </a:cubicBezTo>
                  <a:cubicBezTo>
                    <a:pt x="854701" y="986010"/>
                    <a:pt x="852804" y="987045"/>
                    <a:pt x="850561" y="987045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68" name="Gráfico 1344">
              <a:extLst>
                <a:ext uri="{FF2B5EF4-FFF2-40B4-BE49-F238E27FC236}">
                  <a16:creationId xmlns:a16="http://schemas.microsoft.com/office/drawing/2014/main" id="{4D190075-4AFC-4825-98EE-573E62F23F61}"/>
                </a:ext>
              </a:extLst>
            </p:cNvPr>
            <p:cNvSpPr/>
            <p:nvPr/>
          </p:nvSpPr>
          <p:spPr>
            <a:xfrm>
              <a:off x="8210721" y="4674179"/>
              <a:ext cx="903615" cy="1004532"/>
            </a:xfrm>
            <a:custGeom>
              <a:avLst/>
              <a:gdLst>
                <a:gd name="connsiteX0" fmla="*/ 859459 w 903615"/>
                <a:gd name="connsiteY0" fmla="*/ 1004532 h 1004532"/>
                <a:gd name="connsiteX1" fmla="*/ 853249 w 903615"/>
                <a:gd name="connsiteY1" fmla="*/ 1003325 h 1004532"/>
                <a:gd name="connsiteX2" fmla="*/ 846521 w 903615"/>
                <a:gd name="connsiteY2" fmla="*/ 983142 h 1004532"/>
                <a:gd name="connsiteX3" fmla="*/ 854974 w 903615"/>
                <a:gd name="connsiteY3" fmla="*/ 969170 h 1004532"/>
                <a:gd name="connsiteX4" fmla="*/ 871361 w 903615"/>
                <a:gd name="connsiteY4" fmla="*/ 903102 h 1004532"/>
                <a:gd name="connsiteX5" fmla="*/ 858596 w 903615"/>
                <a:gd name="connsiteY5" fmla="*/ 874984 h 1004532"/>
                <a:gd name="connsiteX6" fmla="*/ 839793 w 903615"/>
                <a:gd name="connsiteY6" fmla="*/ 825131 h 1004532"/>
                <a:gd name="connsiteX7" fmla="*/ 838586 w 903615"/>
                <a:gd name="connsiteY7" fmla="*/ 790976 h 1004532"/>
                <a:gd name="connsiteX8" fmla="*/ 833756 w 903615"/>
                <a:gd name="connsiteY8" fmla="*/ 747678 h 1004532"/>
                <a:gd name="connsiteX9" fmla="*/ 779073 w 903615"/>
                <a:gd name="connsiteY9" fmla="*/ 694030 h 1004532"/>
                <a:gd name="connsiteX10" fmla="*/ 710417 w 903615"/>
                <a:gd name="connsiteY10" fmla="*/ 623304 h 1004532"/>
                <a:gd name="connsiteX11" fmla="*/ 693513 w 903615"/>
                <a:gd name="connsiteY11" fmla="*/ 592772 h 1004532"/>
                <a:gd name="connsiteX12" fmla="*/ 642280 w 903615"/>
                <a:gd name="connsiteY12" fmla="*/ 475816 h 1004532"/>
                <a:gd name="connsiteX13" fmla="*/ 621235 w 903615"/>
                <a:gd name="connsiteY13" fmla="*/ 422685 h 1004532"/>
                <a:gd name="connsiteX14" fmla="*/ 611575 w 903615"/>
                <a:gd name="connsiteY14" fmla="*/ 401986 h 1004532"/>
                <a:gd name="connsiteX15" fmla="*/ 580524 w 903615"/>
                <a:gd name="connsiteY15" fmla="*/ 373868 h 1004532"/>
                <a:gd name="connsiteX16" fmla="*/ 576384 w 903615"/>
                <a:gd name="connsiteY16" fmla="*/ 372143 h 1004532"/>
                <a:gd name="connsiteX17" fmla="*/ 555166 w 903615"/>
                <a:gd name="connsiteY17" fmla="*/ 360930 h 1004532"/>
                <a:gd name="connsiteX18" fmla="*/ 551026 w 903615"/>
                <a:gd name="connsiteY18" fmla="*/ 358170 h 1004532"/>
                <a:gd name="connsiteX19" fmla="*/ 531189 w 903615"/>
                <a:gd name="connsiteY19" fmla="*/ 331433 h 1004532"/>
                <a:gd name="connsiteX20" fmla="*/ 491514 w 903615"/>
                <a:gd name="connsiteY20" fmla="*/ 295207 h 1004532"/>
                <a:gd name="connsiteX21" fmla="*/ 489271 w 903615"/>
                <a:gd name="connsiteY21" fmla="*/ 292447 h 1004532"/>
                <a:gd name="connsiteX22" fmla="*/ 474953 w 903615"/>
                <a:gd name="connsiteY22" fmla="*/ 276059 h 1004532"/>
                <a:gd name="connsiteX23" fmla="*/ 448733 w 903615"/>
                <a:gd name="connsiteY23" fmla="*/ 262777 h 1004532"/>
                <a:gd name="connsiteX24" fmla="*/ 409921 w 903615"/>
                <a:gd name="connsiteY24" fmla="*/ 242077 h 1004532"/>
                <a:gd name="connsiteX25" fmla="*/ 339885 w 903615"/>
                <a:gd name="connsiteY25" fmla="*/ 148064 h 1004532"/>
                <a:gd name="connsiteX26" fmla="*/ 288307 w 903615"/>
                <a:gd name="connsiteY26" fmla="*/ 93898 h 1004532"/>
                <a:gd name="connsiteX27" fmla="*/ 262950 w 903615"/>
                <a:gd name="connsiteY27" fmla="*/ 89241 h 1004532"/>
                <a:gd name="connsiteX28" fmla="*/ 261225 w 903615"/>
                <a:gd name="connsiteY28" fmla="*/ 89068 h 1004532"/>
                <a:gd name="connsiteX29" fmla="*/ 224999 w 903615"/>
                <a:gd name="connsiteY29" fmla="*/ 82341 h 1004532"/>
                <a:gd name="connsiteX30" fmla="*/ 215857 w 903615"/>
                <a:gd name="connsiteY30" fmla="*/ 79581 h 1004532"/>
                <a:gd name="connsiteX31" fmla="*/ 186877 w 903615"/>
                <a:gd name="connsiteY31" fmla="*/ 69403 h 1004532"/>
                <a:gd name="connsiteX32" fmla="*/ 171006 w 903615"/>
                <a:gd name="connsiteY32" fmla="*/ 50945 h 1004532"/>
                <a:gd name="connsiteX33" fmla="*/ 164106 w 903615"/>
                <a:gd name="connsiteY33" fmla="*/ 41803 h 1004532"/>
                <a:gd name="connsiteX34" fmla="*/ 122189 w 903615"/>
                <a:gd name="connsiteY34" fmla="*/ 43528 h 1004532"/>
                <a:gd name="connsiteX35" fmla="*/ 119428 w 903615"/>
                <a:gd name="connsiteY35" fmla="*/ 43873 h 1004532"/>
                <a:gd name="connsiteX36" fmla="*/ 87343 w 903615"/>
                <a:gd name="connsiteY36" fmla="*/ 46288 h 1004532"/>
                <a:gd name="connsiteX37" fmla="*/ 9717 w 903615"/>
                <a:gd name="connsiteY37" fmla="*/ 28348 h 1004532"/>
                <a:gd name="connsiteX38" fmla="*/ 1438 w 903615"/>
                <a:gd name="connsiteY38" fmla="*/ 20758 h 1004532"/>
                <a:gd name="connsiteX39" fmla="*/ 920 w 903615"/>
                <a:gd name="connsiteY39" fmla="*/ 9717 h 1004532"/>
                <a:gd name="connsiteX40" fmla="*/ 8165 w 903615"/>
                <a:gd name="connsiteY40" fmla="*/ 1438 h 1004532"/>
                <a:gd name="connsiteX41" fmla="*/ 19377 w 903615"/>
                <a:gd name="connsiteY41" fmla="*/ 920 h 1004532"/>
                <a:gd name="connsiteX42" fmla="*/ 88723 w 903615"/>
                <a:gd name="connsiteY42" fmla="*/ 17307 h 1004532"/>
                <a:gd name="connsiteX43" fmla="*/ 116324 w 903615"/>
                <a:gd name="connsiteY43" fmla="*/ 14893 h 1004532"/>
                <a:gd name="connsiteX44" fmla="*/ 118738 w 903615"/>
                <a:gd name="connsiteY44" fmla="*/ 14548 h 1004532"/>
                <a:gd name="connsiteX45" fmla="*/ 176009 w 903615"/>
                <a:gd name="connsiteY45" fmla="*/ 15410 h 1004532"/>
                <a:gd name="connsiteX46" fmla="*/ 195502 w 903615"/>
                <a:gd name="connsiteY46" fmla="*/ 35593 h 1004532"/>
                <a:gd name="connsiteX47" fmla="*/ 202746 w 903615"/>
                <a:gd name="connsiteY47" fmla="*/ 45080 h 1004532"/>
                <a:gd name="connsiteX48" fmla="*/ 222412 w 903615"/>
                <a:gd name="connsiteY48" fmla="*/ 51290 h 1004532"/>
                <a:gd name="connsiteX49" fmla="*/ 233624 w 903615"/>
                <a:gd name="connsiteY49" fmla="*/ 54396 h 1004532"/>
                <a:gd name="connsiteX50" fmla="*/ 263985 w 903615"/>
                <a:gd name="connsiteY50" fmla="*/ 60088 h 1004532"/>
                <a:gd name="connsiteX51" fmla="*/ 297795 w 903615"/>
                <a:gd name="connsiteY51" fmla="*/ 66470 h 1004532"/>
                <a:gd name="connsiteX52" fmla="*/ 366105 w 903615"/>
                <a:gd name="connsiteY52" fmla="*/ 135299 h 1004532"/>
                <a:gd name="connsiteX53" fmla="*/ 430621 w 903615"/>
                <a:gd name="connsiteY53" fmla="*/ 221722 h 1004532"/>
                <a:gd name="connsiteX54" fmla="*/ 456323 w 903615"/>
                <a:gd name="connsiteY54" fmla="*/ 234659 h 1004532"/>
                <a:gd name="connsiteX55" fmla="*/ 494791 w 903615"/>
                <a:gd name="connsiteY55" fmla="*/ 254497 h 1004532"/>
                <a:gd name="connsiteX56" fmla="*/ 513594 w 903615"/>
                <a:gd name="connsiteY56" fmla="*/ 275542 h 1004532"/>
                <a:gd name="connsiteX57" fmla="*/ 514629 w 903615"/>
                <a:gd name="connsiteY57" fmla="*/ 276922 h 1004532"/>
                <a:gd name="connsiteX58" fmla="*/ 548956 w 903615"/>
                <a:gd name="connsiteY58" fmla="*/ 306592 h 1004532"/>
                <a:gd name="connsiteX59" fmla="*/ 560859 w 903615"/>
                <a:gd name="connsiteY59" fmla="*/ 309180 h 1004532"/>
                <a:gd name="connsiteX60" fmla="*/ 560342 w 903615"/>
                <a:gd name="connsiteY60" fmla="*/ 321255 h 1004532"/>
                <a:gd name="connsiteX61" fmla="*/ 566724 w 903615"/>
                <a:gd name="connsiteY61" fmla="*/ 332812 h 1004532"/>
                <a:gd name="connsiteX62" fmla="*/ 570174 w 903615"/>
                <a:gd name="connsiteY62" fmla="*/ 335055 h 1004532"/>
                <a:gd name="connsiteX63" fmla="*/ 571899 w 903615"/>
                <a:gd name="connsiteY63" fmla="*/ 336263 h 1004532"/>
                <a:gd name="connsiteX64" fmla="*/ 591564 w 903615"/>
                <a:gd name="connsiteY64" fmla="*/ 346268 h 1004532"/>
                <a:gd name="connsiteX65" fmla="*/ 638829 w 903615"/>
                <a:gd name="connsiteY65" fmla="*/ 390083 h 1004532"/>
                <a:gd name="connsiteX66" fmla="*/ 643487 w 903615"/>
                <a:gd name="connsiteY66" fmla="*/ 400088 h 1004532"/>
                <a:gd name="connsiteX67" fmla="*/ 647972 w 903615"/>
                <a:gd name="connsiteY67" fmla="*/ 409748 h 1004532"/>
                <a:gd name="connsiteX68" fmla="*/ 671087 w 903615"/>
                <a:gd name="connsiteY68" fmla="*/ 469261 h 1004532"/>
                <a:gd name="connsiteX69" fmla="*/ 717835 w 903615"/>
                <a:gd name="connsiteY69" fmla="*/ 575522 h 1004532"/>
                <a:gd name="connsiteX70" fmla="*/ 719388 w 903615"/>
                <a:gd name="connsiteY70" fmla="*/ 578109 h 1004532"/>
                <a:gd name="connsiteX71" fmla="*/ 736638 w 903615"/>
                <a:gd name="connsiteY71" fmla="*/ 608987 h 1004532"/>
                <a:gd name="connsiteX72" fmla="*/ 794426 w 903615"/>
                <a:gd name="connsiteY72" fmla="*/ 668328 h 1004532"/>
                <a:gd name="connsiteX73" fmla="*/ 861011 w 903615"/>
                <a:gd name="connsiteY73" fmla="*/ 734741 h 1004532"/>
                <a:gd name="connsiteX74" fmla="*/ 868429 w 903615"/>
                <a:gd name="connsiteY74" fmla="*/ 791148 h 1004532"/>
                <a:gd name="connsiteX75" fmla="*/ 869291 w 903615"/>
                <a:gd name="connsiteY75" fmla="*/ 820646 h 1004532"/>
                <a:gd name="connsiteX76" fmla="*/ 884299 w 903615"/>
                <a:gd name="connsiteY76" fmla="*/ 859286 h 1004532"/>
                <a:gd name="connsiteX77" fmla="*/ 899997 w 903615"/>
                <a:gd name="connsiteY77" fmla="*/ 894476 h 1004532"/>
                <a:gd name="connsiteX78" fmla="*/ 880159 w 903615"/>
                <a:gd name="connsiteY78" fmla="*/ 983832 h 1004532"/>
                <a:gd name="connsiteX79" fmla="*/ 877399 w 903615"/>
                <a:gd name="connsiteY79" fmla="*/ 988145 h 1004532"/>
                <a:gd name="connsiteX80" fmla="*/ 872569 w 903615"/>
                <a:gd name="connsiteY80" fmla="*/ 996252 h 1004532"/>
                <a:gd name="connsiteX81" fmla="*/ 859459 w 903615"/>
                <a:gd name="connsiteY81" fmla="*/ 1004532 h 1004532"/>
                <a:gd name="connsiteX82" fmla="*/ 861874 w 903615"/>
                <a:gd name="connsiteY82" fmla="*/ 991077 h 1004532"/>
                <a:gd name="connsiteX83" fmla="*/ 861874 w 903615"/>
                <a:gd name="connsiteY83" fmla="*/ 991077 h 1004532"/>
                <a:gd name="connsiteX84" fmla="*/ 861874 w 903615"/>
                <a:gd name="connsiteY84" fmla="*/ 991077 h 1004532"/>
                <a:gd name="connsiteX85" fmla="*/ 117703 w 903615"/>
                <a:gd name="connsiteY85" fmla="*/ 23345 h 1004532"/>
                <a:gd name="connsiteX86" fmla="*/ 118048 w 903615"/>
                <a:gd name="connsiteY86" fmla="*/ 26450 h 1004532"/>
                <a:gd name="connsiteX87" fmla="*/ 118911 w 903615"/>
                <a:gd name="connsiteY87" fmla="*/ 26278 h 1004532"/>
                <a:gd name="connsiteX88" fmla="*/ 117703 w 903615"/>
                <a:gd name="connsiteY88" fmla="*/ 23345 h 1004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03615" h="1004532">
                  <a:moveTo>
                    <a:pt x="859459" y="1004532"/>
                  </a:moveTo>
                  <a:cubicBezTo>
                    <a:pt x="856699" y="1004532"/>
                    <a:pt x="854801" y="1003842"/>
                    <a:pt x="853249" y="1003325"/>
                  </a:cubicBezTo>
                  <a:cubicBezTo>
                    <a:pt x="845141" y="998495"/>
                    <a:pt x="842899" y="989870"/>
                    <a:pt x="846521" y="983142"/>
                  </a:cubicBezTo>
                  <a:cubicBezTo>
                    <a:pt x="848936" y="978484"/>
                    <a:pt x="851869" y="974000"/>
                    <a:pt x="854974" y="969170"/>
                  </a:cubicBezTo>
                  <a:cubicBezTo>
                    <a:pt x="867394" y="949332"/>
                    <a:pt x="879296" y="930702"/>
                    <a:pt x="871361" y="903102"/>
                  </a:cubicBezTo>
                  <a:cubicBezTo>
                    <a:pt x="868774" y="893614"/>
                    <a:pt x="863599" y="884126"/>
                    <a:pt x="858596" y="874984"/>
                  </a:cubicBezTo>
                  <a:cubicBezTo>
                    <a:pt x="851006" y="860839"/>
                    <a:pt x="842381" y="844624"/>
                    <a:pt x="839793" y="825131"/>
                  </a:cubicBezTo>
                  <a:cubicBezTo>
                    <a:pt x="838241" y="813401"/>
                    <a:pt x="838414" y="802016"/>
                    <a:pt x="838586" y="790976"/>
                  </a:cubicBezTo>
                  <a:cubicBezTo>
                    <a:pt x="838931" y="774243"/>
                    <a:pt x="839449" y="759926"/>
                    <a:pt x="833756" y="747678"/>
                  </a:cubicBezTo>
                  <a:cubicBezTo>
                    <a:pt x="822026" y="722148"/>
                    <a:pt x="794426" y="703173"/>
                    <a:pt x="779073" y="694030"/>
                  </a:cubicBezTo>
                  <a:cubicBezTo>
                    <a:pt x="748023" y="675745"/>
                    <a:pt x="730773" y="661255"/>
                    <a:pt x="710417" y="623304"/>
                  </a:cubicBezTo>
                  <a:cubicBezTo>
                    <a:pt x="704898" y="613127"/>
                    <a:pt x="699205" y="602777"/>
                    <a:pt x="693513" y="592772"/>
                  </a:cubicBezTo>
                  <a:cubicBezTo>
                    <a:pt x="672812" y="556202"/>
                    <a:pt x="651422" y="518424"/>
                    <a:pt x="642280" y="475816"/>
                  </a:cubicBezTo>
                  <a:cubicBezTo>
                    <a:pt x="638657" y="459256"/>
                    <a:pt x="630204" y="441143"/>
                    <a:pt x="621235" y="422685"/>
                  </a:cubicBezTo>
                  <a:cubicBezTo>
                    <a:pt x="617784" y="415441"/>
                    <a:pt x="614507" y="408713"/>
                    <a:pt x="611575" y="401986"/>
                  </a:cubicBezTo>
                  <a:cubicBezTo>
                    <a:pt x="603640" y="383528"/>
                    <a:pt x="594497" y="379560"/>
                    <a:pt x="580524" y="373868"/>
                  </a:cubicBezTo>
                  <a:lnTo>
                    <a:pt x="576384" y="372143"/>
                  </a:lnTo>
                  <a:cubicBezTo>
                    <a:pt x="570002" y="369383"/>
                    <a:pt x="562756" y="366105"/>
                    <a:pt x="555166" y="360930"/>
                  </a:cubicBezTo>
                  <a:lnTo>
                    <a:pt x="551026" y="358170"/>
                  </a:lnTo>
                  <a:cubicBezTo>
                    <a:pt x="542574" y="352650"/>
                    <a:pt x="533431" y="346613"/>
                    <a:pt x="531189" y="331433"/>
                  </a:cubicBezTo>
                  <a:cubicBezTo>
                    <a:pt x="513766" y="323670"/>
                    <a:pt x="502036" y="308662"/>
                    <a:pt x="491514" y="295207"/>
                  </a:cubicBezTo>
                  <a:lnTo>
                    <a:pt x="489271" y="292447"/>
                  </a:lnTo>
                  <a:cubicBezTo>
                    <a:pt x="484269" y="286237"/>
                    <a:pt x="479611" y="280372"/>
                    <a:pt x="474953" y="276059"/>
                  </a:cubicBezTo>
                  <a:cubicBezTo>
                    <a:pt x="467191" y="268987"/>
                    <a:pt x="458566" y="266227"/>
                    <a:pt x="448733" y="262777"/>
                  </a:cubicBezTo>
                  <a:cubicBezTo>
                    <a:pt x="436141" y="258809"/>
                    <a:pt x="421996" y="254325"/>
                    <a:pt x="409921" y="242077"/>
                  </a:cubicBezTo>
                  <a:cubicBezTo>
                    <a:pt x="388185" y="220169"/>
                    <a:pt x="356962" y="182564"/>
                    <a:pt x="339885" y="148064"/>
                  </a:cubicBezTo>
                  <a:cubicBezTo>
                    <a:pt x="324187" y="116668"/>
                    <a:pt x="315045" y="103041"/>
                    <a:pt x="288307" y="93898"/>
                  </a:cubicBezTo>
                  <a:cubicBezTo>
                    <a:pt x="280027" y="90966"/>
                    <a:pt x="271747" y="90103"/>
                    <a:pt x="262950" y="89241"/>
                  </a:cubicBezTo>
                  <a:lnTo>
                    <a:pt x="261225" y="89068"/>
                  </a:lnTo>
                  <a:cubicBezTo>
                    <a:pt x="250012" y="87861"/>
                    <a:pt x="238627" y="86481"/>
                    <a:pt x="224999" y="82341"/>
                  </a:cubicBezTo>
                  <a:lnTo>
                    <a:pt x="215857" y="79581"/>
                  </a:lnTo>
                  <a:cubicBezTo>
                    <a:pt x="201194" y="75441"/>
                    <a:pt x="192051" y="72681"/>
                    <a:pt x="186877" y="69403"/>
                  </a:cubicBezTo>
                  <a:cubicBezTo>
                    <a:pt x="179804" y="64745"/>
                    <a:pt x="174974" y="57328"/>
                    <a:pt x="171006" y="50945"/>
                  </a:cubicBezTo>
                  <a:cubicBezTo>
                    <a:pt x="168764" y="47495"/>
                    <a:pt x="165659" y="42665"/>
                    <a:pt x="164106" y="41803"/>
                  </a:cubicBezTo>
                  <a:cubicBezTo>
                    <a:pt x="158069" y="39043"/>
                    <a:pt x="134781" y="41976"/>
                    <a:pt x="122189" y="43528"/>
                  </a:cubicBezTo>
                  <a:lnTo>
                    <a:pt x="119428" y="43873"/>
                  </a:lnTo>
                  <a:cubicBezTo>
                    <a:pt x="107353" y="45253"/>
                    <a:pt x="95968" y="46806"/>
                    <a:pt x="87343" y="46288"/>
                  </a:cubicBezTo>
                  <a:cubicBezTo>
                    <a:pt x="57155" y="44736"/>
                    <a:pt x="33005" y="36455"/>
                    <a:pt x="9717" y="28348"/>
                  </a:cubicBezTo>
                  <a:cubicBezTo>
                    <a:pt x="6095" y="26968"/>
                    <a:pt x="2990" y="24380"/>
                    <a:pt x="1438" y="20758"/>
                  </a:cubicBezTo>
                  <a:cubicBezTo>
                    <a:pt x="-287" y="17307"/>
                    <a:pt x="-460" y="13340"/>
                    <a:pt x="920" y="9717"/>
                  </a:cubicBezTo>
                  <a:cubicBezTo>
                    <a:pt x="2127" y="6095"/>
                    <a:pt x="4715" y="3163"/>
                    <a:pt x="8165" y="1438"/>
                  </a:cubicBezTo>
                  <a:cubicBezTo>
                    <a:pt x="11615" y="-287"/>
                    <a:pt x="15755" y="-460"/>
                    <a:pt x="19377" y="920"/>
                  </a:cubicBezTo>
                  <a:cubicBezTo>
                    <a:pt x="42493" y="8855"/>
                    <a:pt x="63193" y="16100"/>
                    <a:pt x="88723" y="17307"/>
                  </a:cubicBezTo>
                  <a:cubicBezTo>
                    <a:pt x="94933" y="17653"/>
                    <a:pt x="105973" y="16273"/>
                    <a:pt x="116324" y="14893"/>
                  </a:cubicBezTo>
                  <a:lnTo>
                    <a:pt x="118738" y="14548"/>
                  </a:lnTo>
                  <a:cubicBezTo>
                    <a:pt x="141336" y="11788"/>
                    <a:pt x="162554" y="9200"/>
                    <a:pt x="176009" y="15410"/>
                  </a:cubicBezTo>
                  <a:cubicBezTo>
                    <a:pt x="185324" y="19723"/>
                    <a:pt x="191016" y="28520"/>
                    <a:pt x="195502" y="35593"/>
                  </a:cubicBezTo>
                  <a:cubicBezTo>
                    <a:pt x="198434" y="40078"/>
                    <a:pt x="200849" y="43873"/>
                    <a:pt x="202746" y="45080"/>
                  </a:cubicBezTo>
                  <a:cubicBezTo>
                    <a:pt x="205334" y="46460"/>
                    <a:pt x="217236" y="49910"/>
                    <a:pt x="222412" y="51290"/>
                  </a:cubicBezTo>
                  <a:lnTo>
                    <a:pt x="233624" y="54396"/>
                  </a:lnTo>
                  <a:cubicBezTo>
                    <a:pt x="244664" y="58018"/>
                    <a:pt x="254497" y="59053"/>
                    <a:pt x="263985" y="60088"/>
                  </a:cubicBezTo>
                  <a:cubicBezTo>
                    <a:pt x="274852" y="61296"/>
                    <a:pt x="286065" y="62503"/>
                    <a:pt x="297795" y="66470"/>
                  </a:cubicBezTo>
                  <a:cubicBezTo>
                    <a:pt x="335917" y="79236"/>
                    <a:pt x="349028" y="100971"/>
                    <a:pt x="366105" y="135299"/>
                  </a:cubicBezTo>
                  <a:cubicBezTo>
                    <a:pt x="378698" y="160484"/>
                    <a:pt x="405090" y="196019"/>
                    <a:pt x="430621" y="221722"/>
                  </a:cubicBezTo>
                  <a:cubicBezTo>
                    <a:pt x="437693" y="228794"/>
                    <a:pt x="446318" y="231554"/>
                    <a:pt x="456323" y="234659"/>
                  </a:cubicBezTo>
                  <a:cubicBezTo>
                    <a:pt x="468743" y="238627"/>
                    <a:pt x="482371" y="243112"/>
                    <a:pt x="494791" y="254497"/>
                  </a:cubicBezTo>
                  <a:cubicBezTo>
                    <a:pt x="501691" y="260707"/>
                    <a:pt x="507728" y="268297"/>
                    <a:pt x="513594" y="275542"/>
                  </a:cubicBezTo>
                  <a:lnTo>
                    <a:pt x="514629" y="276922"/>
                  </a:lnTo>
                  <a:cubicBezTo>
                    <a:pt x="525324" y="290550"/>
                    <a:pt x="535329" y="303315"/>
                    <a:pt x="548956" y="306592"/>
                  </a:cubicBezTo>
                  <a:lnTo>
                    <a:pt x="560859" y="309180"/>
                  </a:lnTo>
                  <a:lnTo>
                    <a:pt x="560342" y="321255"/>
                  </a:lnTo>
                  <a:cubicBezTo>
                    <a:pt x="559997" y="328500"/>
                    <a:pt x="559997" y="328500"/>
                    <a:pt x="566724" y="332812"/>
                  </a:cubicBezTo>
                  <a:cubicBezTo>
                    <a:pt x="567932" y="333503"/>
                    <a:pt x="569139" y="334193"/>
                    <a:pt x="570174" y="335055"/>
                  </a:cubicBezTo>
                  <a:lnTo>
                    <a:pt x="571899" y="336263"/>
                  </a:lnTo>
                  <a:cubicBezTo>
                    <a:pt x="578627" y="340920"/>
                    <a:pt x="584837" y="343507"/>
                    <a:pt x="591564" y="346268"/>
                  </a:cubicBezTo>
                  <a:cubicBezTo>
                    <a:pt x="608470" y="353513"/>
                    <a:pt x="626237" y="360930"/>
                    <a:pt x="638829" y="390083"/>
                  </a:cubicBezTo>
                  <a:cubicBezTo>
                    <a:pt x="640210" y="393188"/>
                    <a:pt x="641762" y="396638"/>
                    <a:pt x="643487" y="400088"/>
                  </a:cubicBezTo>
                  <a:lnTo>
                    <a:pt x="647972" y="409748"/>
                  </a:lnTo>
                  <a:cubicBezTo>
                    <a:pt x="657460" y="429931"/>
                    <a:pt x="666775" y="449596"/>
                    <a:pt x="671087" y="469261"/>
                  </a:cubicBezTo>
                  <a:cubicBezTo>
                    <a:pt x="679195" y="506694"/>
                    <a:pt x="697825" y="540159"/>
                    <a:pt x="717835" y="575522"/>
                  </a:cubicBezTo>
                  <a:lnTo>
                    <a:pt x="719388" y="578109"/>
                  </a:lnTo>
                  <a:cubicBezTo>
                    <a:pt x="725080" y="588115"/>
                    <a:pt x="730945" y="598637"/>
                    <a:pt x="736638" y="608987"/>
                  </a:cubicBezTo>
                  <a:cubicBezTo>
                    <a:pt x="754061" y="641417"/>
                    <a:pt x="765791" y="651767"/>
                    <a:pt x="794426" y="668328"/>
                  </a:cubicBezTo>
                  <a:cubicBezTo>
                    <a:pt x="812711" y="679023"/>
                    <a:pt x="845659" y="701965"/>
                    <a:pt x="861011" y="734741"/>
                  </a:cubicBezTo>
                  <a:cubicBezTo>
                    <a:pt x="869809" y="753715"/>
                    <a:pt x="868946" y="774416"/>
                    <a:pt x="868429" y="791148"/>
                  </a:cubicBezTo>
                  <a:cubicBezTo>
                    <a:pt x="868256" y="800981"/>
                    <a:pt x="868084" y="811159"/>
                    <a:pt x="869291" y="820646"/>
                  </a:cubicBezTo>
                  <a:cubicBezTo>
                    <a:pt x="871189" y="834101"/>
                    <a:pt x="877916" y="846866"/>
                    <a:pt x="884299" y="859286"/>
                  </a:cubicBezTo>
                  <a:cubicBezTo>
                    <a:pt x="890509" y="870671"/>
                    <a:pt x="896719" y="882229"/>
                    <a:pt x="899997" y="894476"/>
                  </a:cubicBezTo>
                  <a:cubicBezTo>
                    <a:pt x="911382" y="934152"/>
                    <a:pt x="893442" y="962787"/>
                    <a:pt x="880159" y="983832"/>
                  </a:cubicBezTo>
                  <a:lnTo>
                    <a:pt x="877399" y="988145"/>
                  </a:lnTo>
                  <a:cubicBezTo>
                    <a:pt x="875674" y="990905"/>
                    <a:pt x="873949" y="993665"/>
                    <a:pt x="872569" y="996252"/>
                  </a:cubicBezTo>
                  <a:cubicBezTo>
                    <a:pt x="869809" y="1001427"/>
                    <a:pt x="865151" y="1004532"/>
                    <a:pt x="859459" y="1004532"/>
                  </a:cubicBezTo>
                  <a:close/>
                  <a:moveTo>
                    <a:pt x="861874" y="991077"/>
                  </a:moveTo>
                  <a:cubicBezTo>
                    <a:pt x="861874" y="991077"/>
                    <a:pt x="861874" y="991250"/>
                    <a:pt x="861874" y="991077"/>
                  </a:cubicBezTo>
                  <a:cubicBezTo>
                    <a:pt x="861874" y="991250"/>
                    <a:pt x="861874" y="991077"/>
                    <a:pt x="861874" y="991077"/>
                  </a:cubicBezTo>
                  <a:close/>
                  <a:moveTo>
                    <a:pt x="117703" y="23345"/>
                  </a:moveTo>
                  <a:lnTo>
                    <a:pt x="118048" y="26450"/>
                  </a:lnTo>
                  <a:lnTo>
                    <a:pt x="118911" y="26278"/>
                  </a:lnTo>
                  <a:lnTo>
                    <a:pt x="117703" y="23345"/>
                  </a:ln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64" name="Gráfico 1344">
            <a:extLst>
              <a:ext uri="{FF2B5EF4-FFF2-40B4-BE49-F238E27FC236}">
                <a16:creationId xmlns:a16="http://schemas.microsoft.com/office/drawing/2014/main" id="{D4C60BEA-A7DE-4AAB-A886-45DB945025DC}"/>
              </a:ext>
            </a:extLst>
          </p:cNvPr>
          <p:cNvGrpSpPr/>
          <p:nvPr/>
        </p:nvGrpSpPr>
        <p:grpSpPr>
          <a:xfrm>
            <a:off x="8157388" y="4756019"/>
            <a:ext cx="342519" cy="58651"/>
            <a:chOff x="8277134" y="4864505"/>
            <a:chExt cx="342519" cy="58651"/>
          </a:xfrm>
          <a:solidFill>
            <a:srgbClr val="F59D24"/>
          </a:solidFill>
        </p:grpSpPr>
        <p:sp>
          <p:nvSpPr>
            <p:cNvPr id="565" name="Gráfico 1344">
              <a:extLst>
                <a:ext uri="{FF2B5EF4-FFF2-40B4-BE49-F238E27FC236}">
                  <a16:creationId xmlns:a16="http://schemas.microsoft.com/office/drawing/2014/main" id="{3D6345DD-699B-40C2-86B5-9FBD5FC0590A}"/>
                </a:ext>
              </a:extLst>
            </p:cNvPr>
            <p:cNvSpPr/>
            <p:nvPr/>
          </p:nvSpPr>
          <p:spPr>
            <a:xfrm>
              <a:off x="8285808" y="4873430"/>
              <a:ext cx="325175" cy="41101"/>
            </a:xfrm>
            <a:custGeom>
              <a:avLst/>
              <a:gdLst>
                <a:gd name="connsiteX0" fmla="*/ 9323 w 325175"/>
                <a:gd name="connsiteY0" fmla="*/ 41101 h 41101"/>
                <a:gd name="connsiteX1" fmla="*/ 5528 w 325175"/>
                <a:gd name="connsiteY1" fmla="*/ 40928 h 41101"/>
                <a:gd name="connsiteX2" fmla="*/ 8 w 325175"/>
                <a:gd name="connsiteY2" fmla="*/ 34891 h 41101"/>
                <a:gd name="connsiteX3" fmla="*/ 6391 w 325175"/>
                <a:gd name="connsiteY3" fmla="*/ 29543 h 41101"/>
                <a:gd name="connsiteX4" fmla="*/ 42616 w 325175"/>
                <a:gd name="connsiteY4" fmla="*/ 20918 h 41101"/>
                <a:gd name="connsiteX5" fmla="*/ 85741 w 325175"/>
                <a:gd name="connsiteY5" fmla="*/ 10568 h 41101"/>
                <a:gd name="connsiteX6" fmla="*/ 129557 w 325175"/>
                <a:gd name="connsiteY6" fmla="*/ 20745 h 41101"/>
                <a:gd name="connsiteX7" fmla="*/ 166989 w 325175"/>
                <a:gd name="connsiteY7" fmla="*/ 28336 h 41101"/>
                <a:gd name="connsiteX8" fmla="*/ 179582 w 325175"/>
                <a:gd name="connsiteY8" fmla="*/ 23678 h 41101"/>
                <a:gd name="connsiteX9" fmla="*/ 202180 w 325175"/>
                <a:gd name="connsiteY9" fmla="*/ 16606 h 41101"/>
                <a:gd name="connsiteX10" fmla="*/ 213737 w 325175"/>
                <a:gd name="connsiteY10" fmla="*/ 19193 h 41101"/>
                <a:gd name="connsiteX11" fmla="*/ 221155 w 325175"/>
                <a:gd name="connsiteY11" fmla="*/ 21436 h 41101"/>
                <a:gd name="connsiteX12" fmla="*/ 223915 w 325175"/>
                <a:gd name="connsiteY12" fmla="*/ 19021 h 41101"/>
                <a:gd name="connsiteX13" fmla="*/ 238232 w 325175"/>
                <a:gd name="connsiteY13" fmla="*/ 13155 h 41101"/>
                <a:gd name="connsiteX14" fmla="*/ 255310 w 325175"/>
                <a:gd name="connsiteY14" fmla="*/ 21263 h 41101"/>
                <a:gd name="connsiteX15" fmla="*/ 273595 w 325175"/>
                <a:gd name="connsiteY15" fmla="*/ 26611 h 41101"/>
                <a:gd name="connsiteX16" fmla="*/ 314996 w 325175"/>
                <a:gd name="connsiteY16" fmla="*/ 1771 h 41101"/>
                <a:gd name="connsiteX17" fmla="*/ 323275 w 325175"/>
                <a:gd name="connsiteY17" fmla="*/ 1598 h 41101"/>
                <a:gd name="connsiteX18" fmla="*/ 323448 w 325175"/>
                <a:gd name="connsiteY18" fmla="*/ 9706 h 41101"/>
                <a:gd name="connsiteX19" fmla="*/ 275838 w 325175"/>
                <a:gd name="connsiteY19" fmla="*/ 37823 h 41101"/>
                <a:gd name="connsiteX20" fmla="*/ 247548 w 325175"/>
                <a:gd name="connsiteY20" fmla="*/ 30233 h 41101"/>
                <a:gd name="connsiteX21" fmla="*/ 236507 w 325175"/>
                <a:gd name="connsiteY21" fmla="*/ 24713 h 41101"/>
                <a:gd name="connsiteX22" fmla="*/ 231850 w 325175"/>
                <a:gd name="connsiteY22" fmla="*/ 27818 h 41101"/>
                <a:gd name="connsiteX23" fmla="*/ 220120 w 325175"/>
                <a:gd name="connsiteY23" fmla="*/ 33338 h 41101"/>
                <a:gd name="connsiteX24" fmla="*/ 209080 w 325175"/>
                <a:gd name="connsiteY24" fmla="*/ 30233 h 41101"/>
                <a:gd name="connsiteX25" fmla="*/ 202870 w 325175"/>
                <a:gd name="connsiteY25" fmla="*/ 28163 h 41101"/>
                <a:gd name="connsiteX26" fmla="*/ 184412 w 325175"/>
                <a:gd name="connsiteY26" fmla="*/ 34201 h 41101"/>
                <a:gd name="connsiteX27" fmla="*/ 169232 w 325175"/>
                <a:gd name="connsiteY27" fmla="*/ 39721 h 41101"/>
                <a:gd name="connsiteX28" fmla="*/ 125244 w 325175"/>
                <a:gd name="connsiteY28" fmla="*/ 31786 h 41101"/>
                <a:gd name="connsiteX29" fmla="*/ 85224 w 325175"/>
                <a:gd name="connsiteY29" fmla="*/ 22126 h 41101"/>
                <a:gd name="connsiteX30" fmla="*/ 46584 w 325175"/>
                <a:gd name="connsiteY30" fmla="*/ 31786 h 41101"/>
                <a:gd name="connsiteX31" fmla="*/ 9323 w 325175"/>
                <a:gd name="connsiteY31" fmla="*/ 41101 h 41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25175" h="41101">
                  <a:moveTo>
                    <a:pt x="9323" y="41101"/>
                  </a:moveTo>
                  <a:cubicBezTo>
                    <a:pt x="8116" y="41101"/>
                    <a:pt x="6736" y="41101"/>
                    <a:pt x="5528" y="40928"/>
                  </a:cubicBezTo>
                  <a:cubicBezTo>
                    <a:pt x="2423" y="40756"/>
                    <a:pt x="-164" y="37996"/>
                    <a:pt x="8" y="34891"/>
                  </a:cubicBezTo>
                  <a:cubicBezTo>
                    <a:pt x="181" y="31786"/>
                    <a:pt x="3113" y="29371"/>
                    <a:pt x="6391" y="29543"/>
                  </a:cubicBezTo>
                  <a:cubicBezTo>
                    <a:pt x="18293" y="30578"/>
                    <a:pt x="30023" y="25921"/>
                    <a:pt x="42616" y="20918"/>
                  </a:cubicBezTo>
                  <a:cubicBezTo>
                    <a:pt x="55726" y="15743"/>
                    <a:pt x="69699" y="10223"/>
                    <a:pt x="85741" y="10568"/>
                  </a:cubicBezTo>
                  <a:cubicBezTo>
                    <a:pt x="101439" y="10741"/>
                    <a:pt x="116447" y="16088"/>
                    <a:pt x="129557" y="20745"/>
                  </a:cubicBezTo>
                  <a:cubicBezTo>
                    <a:pt x="143184" y="25576"/>
                    <a:pt x="156122" y="30406"/>
                    <a:pt x="166989" y="28336"/>
                  </a:cubicBezTo>
                  <a:cubicBezTo>
                    <a:pt x="170784" y="27473"/>
                    <a:pt x="175097" y="25748"/>
                    <a:pt x="179582" y="23678"/>
                  </a:cubicBezTo>
                  <a:cubicBezTo>
                    <a:pt x="185965" y="20745"/>
                    <a:pt x="193210" y="17641"/>
                    <a:pt x="202180" y="16606"/>
                  </a:cubicBezTo>
                  <a:cubicBezTo>
                    <a:pt x="205285" y="16261"/>
                    <a:pt x="209252" y="17641"/>
                    <a:pt x="213737" y="19193"/>
                  </a:cubicBezTo>
                  <a:cubicBezTo>
                    <a:pt x="216325" y="20228"/>
                    <a:pt x="219775" y="21436"/>
                    <a:pt x="221155" y="21436"/>
                  </a:cubicBezTo>
                  <a:cubicBezTo>
                    <a:pt x="221500" y="21263"/>
                    <a:pt x="223052" y="20056"/>
                    <a:pt x="223915" y="19021"/>
                  </a:cubicBezTo>
                  <a:cubicBezTo>
                    <a:pt x="226847" y="16433"/>
                    <a:pt x="231332" y="12293"/>
                    <a:pt x="238232" y="13155"/>
                  </a:cubicBezTo>
                  <a:cubicBezTo>
                    <a:pt x="246340" y="14018"/>
                    <a:pt x="251170" y="17986"/>
                    <a:pt x="255310" y="21263"/>
                  </a:cubicBezTo>
                  <a:cubicBezTo>
                    <a:pt x="260485" y="25403"/>
                    <a:pt x="264280" y="28336"/>
                    <a:pt x="273595" y="26611"/>
                  </a:cubicBezTo>
                  <a:cubicBezTo>
                    <a:pt x="283428" y="24541"/>
                    <a:pt x="307923" y="8843"/>
                    <a:pt x="314996" y="1771"/>
                  </a:cubicBezTo>
                  <a:cubicBezTo>
                    <a:pt x="317410" y="-472"/>
                    <a:pt x="321033" y="-644"/>
                    <a:pt x="323275" y="1598"/>
                  </a:cubicBezTo>
                  <a:cubicBezTo>
                    <a:pt x="325691" y="3841"/>
                    <a:pt x="325863" y="7290"/>
                    <a:pt x="323448" y="9706"/>
                  </a:cubicBezTo>
                  <a:cubicBezTo>
                    <a:pt x="315513" y="17641"/>
                    <a:pt x="289120" y="35408"/>
                    <a:pt x="275838" y="37823"/>
                  </a:cubicBezTo>
                  <a:cubicBezTo>
                    <a:pt x="260658" y="40756"/>
                    <a:pt x="253585" y="34891"/>
                    <a:pt x="247548" y="30233"/>
                  </a:cubicBezTo>
                  <a:cubicBezTo>
                    <a:pt x="243925" y="27301"/>
                    <a:pt x="241165" y="25058"/>
                    <a:pt x="236507" y="24713"/>
                  </a:cubicBezTo>
                  <a:cubicBezTo>
                    <a:pt x="235300" y="24541"/>
                    <a:pt x="233920" y="25748"/>
                    <a:pt x="231850" y="27818"/>
                  </a:cubicBezTo>
                  <a:cubicBezTo>
                    <a:pt x="229090" y="30233"/>
                    <a:pt x="225640" y="33511"/>
                    <a:pt x="220120" y="33338"/>
                  </a:cubicBezTo>
                  <a:cubicBezTo>
                    <a:pt x="216670" y="33166"/>
                    <a:pt x="212702" y="31786"/>
                    <a:pt x="209080" y="30233"/>
                  </a:cubicBezTo>
                  <a:cubicBezTo>
                    <a:pt x="207010" y="29371"/>
                    <a:pt x="203905" y="28336"/>
                    <a:pt x="202870" y="28163"/>
                  </a:cubicBezTo>
                  <a:cubicBezTo>
                    <a:pt x="196315" y="29026"/>
                    <a:pt x="190104" y="31613"/>
                    <a:pt x="184412" y="34201"/>
                  </a:cubicBezTo>
                  <a:cubicBezTo>
                    <a:pt x="179582" y="36443"/>
                    <a:pt x="174579" y="38686"/>
                    <a:pt x="169232" y="39721"/>
                  </a:cubicBezTo>
                  <a:cubicBezTo>
                    <a:pt x="154914" y="42653"/>
                    <a:pt x="140597" y="37306"/>
                    <a:pt x="125244" y="31786"/>
                  </a:cubicBezTo>
                  <a:cubicBezTo>
                    <a:pt x="112479" y="27128"/>
                    <a:pt x="99024" y="22471"/>
                    <a:pt x="85224" y="22126"/>
                  </a:cubicBezTo>
                  <a:cubicBezTo>
                    <a:pt x="71596" y="21953"/>
                    <a:pt x="58831" y="26783"/>
                    <a:pt x="46584" y="31786"/>
                  </a:cubicBezTo>
                  <a:cubicBezTo>
                    <a:pt x="34853" y="36271"/>
                    <a:pt x="22606" y="41101"/>
                    <a:pt x="9323" y="41101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66" name="Gráfico 1344">
              <a:extLst>
                <a:ext uri="{FF2B5EF4-FFF2-40B4-BE49-F238E27FC236}">
                  <a16:creationId xmlns:a16="http://schemas.microsoft.com/office/drawing/2014/main" id="{E35F3B17-EE22-46B5-97A8-A165B9499B72}"/>
                </a:ext>
              </a:extLst>
            </p:cNvPr>
            <p:cNvSpPr/>
            <p:nvPr/>
          </p:nvSpPr>
          <p:spPr>
            <a:xfrm>
              <a:off x="8277134" y="4864505"/>
              <a:ext cx="342519" cy="58651"/>
            </a:xfrm>
            <a:custGeom>
              <a:avLst/>
              <a:gdLst>
                <a:gd name="connsiteX0" fmla="*/ 17998 w 342519"/>
                <a:gd name="connsiteY0" fmla="*/ 58652 h 58651"/>
                <a:gd name="connsiteX1" fmla="*/ 12823 w 342519"/>
                <a:gd name="connsiteY1" fmla="*/ 58306 h 58651"/>
                <a:gd name="connsiteX2" fmla="*/ 3508 w 342519"/>
                <a:gd name="connsiteY2" fmla="*/ 53476 h 58651"/>
                <a:gd name="connsiteX3" fmla="*/ 58 w 342519"/>
                <a:gd name="connsiteY3" fmla="*/ 43126 h 58651"/>
                <a:gd name="connsiteX4" fmla="*/ 15583 w 342519"/>
                <a:gd name="connsiteY4" fmla="*/ 29844 h 58651"/>
                <a:gd name="connsiteX5" fmla="*/ 47151 w 342519"/>
                <a:gd name="connsiteY5" fmla="*/ 22254 h 58651"/>
                <a:gd name="connsiteX6" fmla="*/ 49048 w 342519"/>
                <a:gd name="connsiteY6" fmla="*/ 21563 h 58651"/>
                <a:gd name="connsiteX7" fmla="*/ 94589 w 342519"/>
                <a:gd name="connsiteY7" fmla="*/ 10868 h 58651"/>
                <a:gd name="connsiteX8" fmla="*/ 141164 w 342519"/>
                <a:gd name="connsiteY8" fmla="*/ 21563 h 58651"/>
                <a:gd name="connsiteX9" fmla="*/ 174111 w 342519"/>
                <a:gd name="connsiteY9" fmla="*/ 28809 h 58651"/>
                <a:gd name="connsiteX10" fmla="*/ 184634 w 342519"/>
                <a:gd name="connsiteY10" fmla="*/ 24669 h 58651"/>
                <a:gd name="connsiteX11" fmla="*/ 209819 w 342519"/>
                <a:gd name="connsiteY11" fmla="*/ 16733 h 58651"/>
                <a:gd name="connsiteX12" fmla="*/ 224999 w 342519"/>
                <a:gd name="connsiteY12" fmla="*/ 19839 h 58651"/>
                <a:gd name="connsiteX13" fmla="*/ 227760 w 342519"/>
                <a:gd name="connsiteY13" fmla="*/ 20874 h 58651"/>
                <a:gd name="connsiteX14" fmla="*/ 247770 w 342519"/>
                <a:gd name="connsiteY14" fmla="*/ 13284 h 58651"/>
                <a:gd name="connsiteX15" fmla="*/ 268987 w 342519"/>
                <a:gd name="connsiteY15" fmla="*/ 23116 h 58651"/>
                <a:gd name="connsiteX16" fmla="*/ 280545 w 342519"/>
                <a:gd name="connsiteY16" fmla="*/ 26911 h 58651"/>
                <a:gd name="connsiteX17" fmla="*/ 317633 w 342519"/>
                <a:gd name="connsiteY17" fmla="*/ 4313 h 58651"/>
                <a:gd name="connsiteX18" fmla="*/ 337988 w 342519"/>
                <a:gd name="connsiteY18" fmla="*/ 3969 h 58651"/>
                <a:gd name="connsiteX19" fmla="*/ 338505 w 342519"/>
                <a:gd name="connsiteY19" fmla="*/ 24324 h 58651"/>
                <a:gd name="connsiteX20" fmla="*/ 286237 w 342519"/>
                <a:gd name="connsiteY20" fmla="*/ 55029 h 58651"/>
                <a:gd name="connsiteX21" fmla="*/ 251047 w 342519"/>
                <a:gd name="connsiteY21" fmla="*/ 45714 h 58651"/>
                <a:gd name="connsiteX22" fmla="*/ 246734 w 342519"/>
                <a:gd name="connsiteY22" fmla="*/ 42609 h 58651"/>
                <a:gd name="connsiteX23" fmla="*/ 246734 w 342519"/>
                <a:gd name="connsiteY23" fmla="*/ 42609 h 58651"/>
                <a:gd name="connsiteX24" fmla="*/ 228795 w 342519"/>
                <a:gd name="connsiteY24" fmla="*/ 50544 h 58651"/>
                <a:gd name="connsiteX25" fmla="*/ 214822 w 342519"/>
                <a:gd name="connsiteY25" fmla="*/ 46921 h 58651"/>
                <a:gd name="connsiteX26" fmla="*/ 211199 w 342519"/>
                <a:gd name="connsiteY26" fmla="*/ 45714 h 58651"/>
                <a:gd name="connsiteX27" fmla="*/ 196882 w 342519"/>
                <a:gd name="connsiteY27" fmla="*/ 50889 h 58651"/>
                <a:gd name="connsiteX28" fmla="*/ 179804 w 342519"/>
                <a:gd name="connsiteY28" fmla="*/ 57099 h 58651"/>
                <a:gd name="connsiteX29" fmla="*/ 131849 w 342519"/>
                <a:gd name="connsiteY29" fmla="*/ 48992 h 58651"/>
                <a:gd name="connsiteX30" fmla="*/ 94071 w 342519"/>
                <a:gd name="connsiteY30" fmla="*/ 39676 h 58651"/>
                <a:gd name="connsiteX31" fmla="*/ 58708 w 342519"/>
                <a:gd name="connsiteY31" fmla="*/ 48646 h 58651"/>
                <a:gd name="connsiteX32" fmla="*/ 17998 w 342519"/>
                <a:gd name="connsiteY32" fmla="*/ 58652 h 58651"/>
                <a:gd name="connsiteX33" fmla="*/ 244320 w 342519"/>
                <a:gd name="connsiteY33" fmla="*/ 42091 h 58651"/>
                <a:gd name="connsiteX34" fmla="*/ 244664 w 342519"/>
                <a:gd name="connsiteY34" fmla="*/ 42091 h 58651"/>
                <a:gd name="connsiteX35" fmla="*/ 244320 w 342519"/>
                <a:gd name="connsiteY35" fmla="*/ 42091 h 58651"/>
                <a:gd name="connsiteX36" fmla="*/ 14720 w 342519"/>
                <a:gd name="connsiteY36" fmla="*/ 41229 h 58651"/>
                <a:gd name="connsiteX37" fmla="*/ 15065 w 342519"/>
                <a:gd name="connsiteY37" fmla="*/ 41229 h 58651"/>
                <a:gd name="connsiteX38" fmla="*/ 14720 w 342519"/>
                <a:gd name="connsiteY38" fmla="*/ 41229 h 58651"/>
                <a:gd name="connsiteX39" fmla="*/ 50428 w 342519"/>
                <a:gd name="connsiteY39" fmla="*/ 30189 h 58651"/>
                <a:gd name="connsiteX40" fmla="*/ 51463 w 342519"/>
                <a:gd name="connsiteY40" fmla="*/ 32776 h 58651"/>
                <a:gd name="connsiteX41" fmla="*/ 51635 w 342519"/>
                <a:gd name="connsiteY41" fmla="*/ 32776 h 58651"/>
                <a:gd name="connsiteX42" fmla="*/ 52153 w 342519"/>
                <a:gd name="connsiteY42" fmla="*/ 32604 h 58651"/>
                <a:gd name="connsiteX43" fmla="*/ 50428 w 342519"/>
                <a:gd name="connsiteY43" fmla="*/ 30189 h 5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42519" h="58651">
                  <a:moveTo>
                    <a:pt x="17998" y="58652"/>
                  </a:moveTo>
                  <a:cubicBezTo>
                    <a:pt x="16273" y="58652"/>
                    <a:pt x="14548" y="58652"/>
                    <a:pt x="12823" y="58306"/>
                  </a:cubicBezTo>
                  <a:cubicBezTo>
                    <a:pt x="9718" y="58134"/>
                    <a:pt x="6095" y="56409"/>
                    <a:pt x="3508" y="53476"/>
                  </a:cubicBezTo>
                  <a:cubicBezTo>
                    <a:pt x="920" y="50544"/>
                    <a:pt x="-287" y="46921"/>
                    <a:pt x="58" y="43126"/>
                  </a:cubicBezTo>
                  <a:cubicBezTo>
                    <a:pt x="575" y="35364"/>
                    <a:pt x="7648" y="29326"/>
                    <a:pt x="15583" y="29844"/>
                  </a:cubicBezTo>
                  <a:cubicBezTo>
                    <a:pt x="25415" y="30706"/>
                    <a:pt x="35420" y="26739"/>
                    <a:pt x="47151" y="22254"/>
                  </a:cubicBezTo>
                  <a:lnTo>
                    <a:pt x="49048" y="21563"/>
                  </a:lnTo>
                  <a:cubicBezTo>
                    <a:pt x="62158" y="16561"/>
                    <a:pt x="77166" y="11041"/>
                    <a:pt x="94589" y="10868"/>
                  </a:cubicBezTo>
                  <a:cubicBezTo>
                    <a:pt x="111666" y="11041"/>
                    <a:pt x="127364" y="16733"/>
                    <a:pt x="141164" y="21563"/>
                  </a:cubicBezTo>
                  <a:cubicBezTo>
                    <a:pt x="153929" y="26221"/>
                    <a:pt x="165659" y="30361"/>
                    <a:pt x="174111" y="28809"/>
                  </a:cubicBezTo>
                  <a:cubicBezTo>
                    <a:pt x="177044" y="28119"/>
                    <a:pt x="181011" y="26393"/>
                    <a:pt x="184634" y="24669"/>
                  </a:cubicBezTo>
                  <a:cubicBezTo>
                    <a:pt x="191362" y="21563"/>
                    <a:pt x="199642" y="17941"/>
                    <a:pt x="209819" y="16733"/>
                  </a:cubicBezTo>
                  <a:cubicBezTo>
                    <a:pt x="214994" y="16044"/>
                    <a:pt x="219824" y="17941"/>
                    <a:pt x="224999" y="19839"/>
                  </a:cubicBezTo>
                  <a:cubicBezTo>
                    <a:pt x="226034" y="20184"/>
                    <a:pt x="226897" y="20529"/>
                    <a:pt x="227760" y="20874"/>
                  </a:cubicBezTo>
                  <a:cubicBezTo>
                    <a:pt x="232072" y="16906"/>
                    <a:pt x="238627" y="12249"/>
                    <a:pt x="247770" y="13284"/>
                  </a:cubicBezTo>
                  <a:cubicBezTo>
                    <a:pt x="258119" y="14319"/>
                    <a:pt x="264675" y="19666"/>
                    <a:pt x="268987" y="23116"/>
                  </a:cubicBezTo>
                  <a:cubicBezTo>
                    <a:pt x="273817" y="26911"/>
                    <a:pt x="275025" y="27946"/>
                    <a:pt x="280545" y="26911"/>
                  </a:cubicBezTo>
                  <a:cubicBezTo>
                    <a:pt x="287962" y="25359"/>
                    <a:pt x="310905" y="11041"/>
                    <a:pt x="317633" y="4313"/>
                  </a:cubicBezTo>
                  <a:cubicBezTo>
                    <a:pt x="323498" y="-1379"/>
                    <a:pt x="332295" y="-1379"/>
                    <a:pt x="337988" y="3969"/>
                  </a:cubicBezTo>
                  <a:cubicBezTo>
                    <a:pt x="343853" y="9489"/>
                    <a:pt x="344025" y="18459"/>
                    <a:pt x="338505" y="24324"/>
                  </a:cubicBezTo>
                  <a:cubicBezTo>
                    <a:pt x="329708" y="33294"/>
                    <a:pt x="301762" y="52269"/>
                    <a:pt x="286237" y="55029"/>
                  </a:cubicBezTo>
                  <a:cubicBezTo>
                    <a:pt x="267435" y="58652"/>
                    <a:pt x="257602" y="50889"/>
                    <a:pt x="251047" y="45714"/>
                  </a:cubicBezTo>
                  <a:cubicBezTo>
                    <a:pt x="248977" y="43989"/>
                    <a:pt x="247770" y="43126"/>
                    <a:pt x="246734" y="42609"/>
                  </a:cubicBezTo>
                  <a:cubicBezTo>
                    <a:pt x="246734" y="42609"/>
                    <a:pt x="246734" y="42609"/>
                    <a:pt x="246734" y="42609"/>
                  </a:cubicBezTo>
                  <a:cubicBezTo>
                    <a:pt x="242939" y="46059"/>
                    <a:pt x="237592" y="50889"/>
                    <a:pt x="228795" y="50544"/>
                  </a:cubicBezTo>
                  <a:cubicBezTo>
                    <a:pt x="223965" y="50199"/>
                    <a:pt x="219135" y="48474"/>
                    <a:pt x="214822" y="46921"/>
                  </a:cubicBezTo>
                  <a:cubicBezTo>
                    <a:pt x="213787" y="46576"/>
                    <a:pt x="212407" y="46059"/>
                    <a:pt x="211199" y="45714"/>
                  </a:cubicBezTo>
                  <a:cubicBezTo>
                    <a:pt x="206369" y="46576"/>
                    <a:pt x="201367" y="48646"/>
                    <a:pt x="196882" y="50889"/>
                  </a:cubicBezTo>
                  <a:cubicBezTo>
                    <a:pt x="191534" y="53304"/>
                    <a:pt x="186187" y="55892"/>
                    <a:pt x="179804" y="57099"/>
                  </a:cubicBezTo>
                  <a:cubicBezTo>
                    <a:pt x="163416" y="60376"/>
                    <a:pt x="147374" y="54511"/>
                    <a:pt x="131849" y="48992"/>
                  </a:cubicBezTo>
                  <a:cubicBezTo>
                    <a:pt x="118048" y="43989"/>
                    <a:pt x="106146" y="39849"/>
                    <a:pt x="94071" y="39676"/>
                  </a:cubicBezTo>
                  <a:cubicBezTo>
                    <a:pt x="81996" y="39676"/>
                    <a:pt x="69576" y="44334"/>
                    <a:pt x="58708" y="48646"/>
                  </a:cubicBezTo>
                  <a:cubicBezTo>
                    <a:pt x="45943" y="53476"/>
                    <a:pt x="32661" y="58652"/>
                    <a:pt x="17998" y="58652"/>
                  </a:cubicBezTo>
                  <a:close/>
                  <a:moveTo>
                    <a:pt x="244320" y="42091"/>
                  </a:moveTo>
                  <a:cubicBezTo>
                    <a:pt x="244492" y="42091"/>
                    <a:pt x="244664" y="42091"/>
                    <a:pt x="244664" y="42091"/>
                  </a:cubicBezTo>
                  <a:cubicBezTo>
                    <a:pt x="244492" y="42091"/>
                    <a:pt x="244492" y="42091"/>
                    <a:pt x="244320" y="42091"/>
                  </a:cubicBezTo>
                  <a:close/>
                  <a:moveTo>
                    <a:pt x="14720" y="41229"/>
                  </a:moveTo>
                  <a:cubicBezTo>
                    <a:pt x="14893" y="41229"/>
                    <a:pt x="14893" y="41229"/>
                    <a:pt x="15065" y="41229"/>
                  </a:cubicBezTo>
                  <a:cubicBezTo>
                    <a:pt x="15065" y="41229"/>
                    <a:pt x="14893" y="41229"/>
                    <a:pt x="14720" y="41229"/>
                  </a:cubicBezTo>
                  <a:close/>
                  <a:moveTo>
                    <a:pt x="50428" y="30189"/>
                  </a:moveTo>
                  <a:lnTo>
                    <a:pt x="51463" y="32776"/>
                  </a:lnTo>
                  <a:cubicBezTo>
                    <a:pt x="51463" y="32776"/>
                    <a:pt x="51463" y="32776"/>
                    <a:pt x="51635" y="32776"/>
                  </a:cubicBezTo>
                  <a:cubicBezTo>
                    <a:pt x="51808" y="32776"/>
                    <a:pt x="51981" y="32604"/>
                    <a:pt x="52153" y="32604"/>
                  </a:cubicBezTo>
                  <a:lnTo>
                    <a:pt x="50428" y="30189"/>
                  </a:ln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sp>
        <p:nvSpPr>
          <p:cNvPr id="387" name="Forma Livre: Forma 386">
            <a:extLst>
              <a:ext uri="{FF2B5EF4-FFF2-40B4-BE49-F238E27FC236}">
                <a16:creationId xmlns:a16="http://schemas.microsoft.com/office/drawing/2014/main" id="{20D01518-CE07-BB39-BDD6-1571BE744328}"/>
              </a:ext>
            </a:extLst>
          </p:cNvPr>
          <p:cNvSpPr/>
          <p:nvPr/>
        </p:nvSpPr>
        <p:spPr>
          <a:xfrm>
            <a:off x="8662341" y="4841385"/>
            <a:ext cx="915854" cy="459738"/>
          </a:xfrm>
          <a:custGeom>
            <a:avLst/>
            <a:gdLst>
              <a:gd name="connsiteX0" fmla="*/ 658611 w 915854"/>
              <a:gd name="connsiteY0" fmla="*/ 370182 h 459738"/>
              <a:gd name="connsiteX1" fmla="*/ 664640 w 915854"/>
              <a:gd name="connsiteY1" fmla="*/ 375708 h 459738"/>
              <a:gd name="connsiteX2" fmla="*/ 683119 w 915854"/>
              <a:gd name="connsiteY2" fmla="*/ 376937 h 459738"/>
              <a:gd name="connsiteX3" fmla="*/ 685189 w 915854"/>
              <a:gd name="connsiteY3" fmla="*/ 376592 h 459738"/>
              <a:gd name="connsiteX4" fmla="*/ 730557 w 915854"/>
              <a:gd name="connsiteY4" fmla="*/ 383320 h 459738"/>
              <a:gd name="connsiteX5" fmla="*/ 741770 w 915854"/>
              <a:gd name="connsiteY5" fmla="*/ 390392 h 459738"/>
              <a:gd name="connsiteX6" fmla="*/ 788345 w 915854"/>
              <a:gd name="connsiteY6" fmla="*/ 408850 h 459738"/>
              <a:gd name="connsiteX7" fmla="*/ 815428 w 915854"/>
              <a:gd name="connsiteY7" fmla="*/ 415232 h 459738"/>
              <a:gd name="connsiteX8" fmla="*/ 902196 w 915854"/>
              <a:gd name="connsiteY8" fmla="*/ 431102 h 459738"/>
              <a:gd name="connsiteX9" fmla="*/ 915824 w 915854"/>
              <a:gd name="connsiteY9" fmla="*/ 446455 h 459738"/>
              <a:gd name="connsiteX10" fmla="*/ 900816 w 915854"/>
              <a:gd name="connsiteY10" fmla="*/ 459738 h 459738"/>
              <a:gd name="connsiteX11" fmla="*/ 900471 w 915854"/>
              <a:gd name="connsiteY11" fmla="*/ 459738 h 459738"/>
              <a:gd name="connsiteX12" fmla="*/ 808355 w 915854"/>
              <a:gd name="connsiteY12" fmla="*/ 443178 h 459738"/>
              <a:gd name="connsiteX13" fmla="*/ 781617 w 915854"/>
              <a:gd name="connsiteY13" fmla="*/ 436795 h 459738"/>
              <a:gd name="connsiteX14" fmla="*/ 726417 w 915854"/>
              <a:gd name="connsiteY14" fmla="*/ 414715 h 459738"/>
              <a:gd name="connsiteX15" fmla="*/ 714170 w 915854"/>
              <a:gd name="connsiteY15" fmla="*/ 406780 h 459738"/>
              <a:gd name="connsiteX16" fmla="*/ 691054 w 915854"/>
              <a:gd name="connsiteY16" fmla="*/ 404537 h 459738"/>
              <a:gd name="connsiteX17" fmla="*/ 688467 w 915854"/>
              <a:gd name="connsiteY17" fmla="*/ 405055 h 459738"/>
              <a:gd name="connsiteX18" fmla="*/ 650883 w 915854"/>
              <a:gd name="connsiteY18" fmla="*/ 401152 h 459738"/>
              <a:gd name="connsiteX19" fmla="*/ 641743 w 915854"/>
              <a:gd name="connsiteY19" fmla="*/ 393189 h 459738"/>
              <a:gd name="connsiteX20" fmla="*/ 646508 w 915854"/>
              <a:gd name="connsiteY20" fmla="*/ 390012 h 459738"/>
              <a:gd name="connsiteX21" fmla="*/ 651659 w 915854"/>
              <a:gd name="connsiteY21" fmla="*/ 379709 h 459738"/>
              <a:gd name="connsiteX22" fmla="*/ 656811 w 915854"/>
              <a:gd name="connsiteY22" fmla="*/ 371982 h 459738"/>
              <a:gd name="connsiteX23" fmla="*/ 388660 w 915854"/>
              <a:gd name="connsiteY23" fmla="*/ 22 h 459738"/>
              <a:gd name="connsiteX24" fmla="*/ 403322 w 915854"/>
              <a:gd name="connsiteY24" fmla="*/ 539 h 459738"/>
              <a:gd name="connsiteX25" fmla="*/ 402805 w 915854"/>
              <a:gd name="connsiteY25" fmla="*/ 15029 h 459738"/>
              <a:gd name="connsiteX26" fmla="*/ 407807 w 915854"/>
              <a:gd name="connsiteY26" fmla="*/ 35040 h 459738"/>
              <a:gd name="connsiteX27" fmla="*/ 408233 w 915854"/>
              <a:gd name="connsiteY27" fmla="*/ 35891 h 459738"/>
              <a:gd name="connsiteX28" fmla="*/ 406961 w 915854"/>
              <a:gd name="connsiteY28" fmla="*/ 39707 h 459738"/>
              <a:gd name="connsiteX29" fmla="*/ 394082 w 915854"/>
              <a:gd name="connsiteY29" fmla="*/ 65465 h 459738"/>
              <a:gd name="connsiteX30" fmla="*/ 390641 w 915854"/>
              <a:gd name="connsiteY30" fmla="*/ 68906 h 459738"/>
              <a:gd name="connsiteX31" fmla="*/ 385900 w 915854"/>
              <a:gd name="connsiteY31" fmla="*/ 56085 h 459738"/>
              <a:gd name="connsiteX32" fmla="*/ 382450 w 915854"/>
              <a:gd name="connsiteY32" fmla="*/ 49530 h 459738"/>
              <a:gd name="connsiteX33" fmla="*/ 375895 w 915854"/>
              <a:gd name="connsiteY33" fmla="*/ 35384 h 459738"/>
              <a:gd name="connsiteX34" fmla="*/ 375377 w 915854"/>
              <a:gd name="connsiteY34" fmla="*/ 35902 h 459738"/>
              <a:gd name="connsiteX35" fmla="*/ 353470 w 915854"/>
              <a:gd name="connsiteY35" fmla="*/ 49530 h 459738"/>
              <a:gd name="connsiteX36" fmla="*/ 315002 w 915854"/>
              <a:gd name="connsiteY36" fmla="*/ 54015 h 459738"/>
              <a:gd name="connsiteX37" fmla="*/ 309654 w 915854"/>
              <a:gd name="connsiteY37" fmla="*/ 54187 h 459738"/>
              <a:gd name="connsiteX38" fmla="*/ 286366 w 915854"/>
              <a:gd name="connsiteY38" fmla="*/ 55912 h 459738"/>
              <a:gd name="connsiteX39" fmla="*/ 254454 w 915854"/>
              <a:gd name="connsiteY39" fmla="*/ 66262 h 459738"/>
              <a:gd name="connsiteX40" fmla="*/ 250659 w 915854"/>
              <a:gd name="connsiteY40" fmla="*/ 67815 h 459738"/>
              <a:gd name="connsiteX41" fmla="*/ 173896 w 915854"/>
              <a:gd name="connsiteY41" fmla="*/ 81960 h 459738"/>
              <a:gd name="connsiteX42" fmla="*/ 144916 w 915854"/>
              <a:gd name="connsiteY42" fmla="*/ 68850 h 459738"/>
              <a:gd name="connsiteX43" fmla="*/ 131461 w 915854"/>
              <a:gd name="connsiteY43" fmla="*/ 61950 h 459738"/>
              <a:gd name="connsiteX44" fmla="*/ 115590 w 915854"/>
              <a:gd name="connsiteY44" fmla="*/ 65400 h 459738"/>
              <a:gd name="connsiteX45" fmla="*/ 92648 w 915854"/>
              <a:gd name="connsiteY45" fmla="*/ 70575 h 459738"/>
              <a:gd name="connsiteX46" fmla="*/ 71775 w 915854"/>
              <a:gd name="connsiteY46" fmla="*/ 71092 h 459738"/>
              <a:gd name="connsiteX47" fmla="*/ 27615 w 915854"/>
              <a:gd name="connsiteY47" fmla="*/ 85237 h 459738"/>
              <a:gd name="connsiteX48" fmla="*/ 8122 w 915854"/>
              <a:gd name="connsiteY48" fmla="*/ 91620 h 459738"/>
              <a:gd name="connsiteX49" fmla="*/ 704 w 915854"/>
              <a:gd name="connsiteY49" fmla="*/ 82995 h 459738"/>
              <a:gd name="connsiteX50" fmla="*/ 1739 w 915854"/>
              <a:gd name="connsiteY50" fmla="*/ 71782 h 459738"/>
              <a:gd name="connsiteX51" fmla="*/ 71775 w 915854"/>
              <a:gd name="connsiteY51" fmla="*/ 41767 h 459738"/>
              <a:gd name="connsiteX52" fmla="*/ 90750 w 915854"/>
              <a:gd name="connsiteY52" fmla="*/ 41595 h 459738"/>
              <a:gd name="connsiteX53" fmla="*/ 106448 w 915854"/>
              <a:gd name="connsiteY53" fmla="*/ 37627 h 459738"/>
              <a:gd name="connsiteX54" fmla="*/ 135600 w 915854"/>
              <a:gd name="connsiteY54" fmla="*/ 33142 h 459738"/>
              <a:gd name="connsiteX55" fmla="*/ 160786 w 915854"/>
              <a:gd name="connsiteY55" fmla="*/ 44527 h 459738"/>
              <a:gd name="connsiteX56" fmla="*/ 178381 w 915854"/>
              <a:gd name="connsiteY56" fmla="*/ 53152 h 459738"/>
              <a:gd name="connsiteX57" fmla="*/ 239619 w 915854"/>
              <a:gd name="connsiteY57" fmla="*/ 40732 h 459738"/>
              <a:gd name="connsiteX58" fmla="*/ 242551 w 915854"/>
              <a:gd name="connsiteY58" fmla="*/ 39525 h 459738"/>
              <a:gd name="connsiteX59" fmla="*/ 280846 w 915854"/>
              <a:gd name="connsiteY59" fmla="*/ 27277 h 459738"/>
              <a:gd name="connsiteX60" fmla="*/ 309309 w 915854"/>
              <a:gd name="connsiteY60" fmla="*/ 25035 h 459738"/>
              <a:gd name="connsiteX61" fmla="*/ 314829 w 915854"/>
              <a:gd name="connsiteY61" fmla="*/ 24862 h 459738"/>
              <a:gd name="connsiteX62" fmla="*/ 344499 w 915854"/>
              <a:gd name="connsiteY62" fmla="*/ 21929 h 459738"/>
              <a:gd name="connsiteX63" fmla="*/ 355022 w 915854"/>
              <a:gd name="connsiteY63" fmla="*/ 15202 h 459738"/>
              <a:gd name="connsiteX64" fmla="*/ 356575 w 915854"/>
              <a:gd name="connsiteY64" fmla="*/ 13994 h 459738"/>
              <a:gd name="connsiteX65" fmla="*/ 388660 w 915854"/>
              <a:gd name="connsiteY65" fmla="*/ 22 h 45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915854" h="459738">
                <a:moveTo>
                  <a:pt x="658611" y="370182"/>
                </a:moveTo>
                <a:lnTo>
                  <a:pt x="664640" y="375708"/>
                </a:lnTo>
                <a:cubicBezTo>
                  <a:pt x="669320" y="378145"/>
                  <a:pt x="674667" y="378576"/>
                  <a:pt x="683119" y="376937"/>
                </a:cubicBezTo>
                <a:lnTo>
                  <a:pt x="685189" y="376592"/>
                </a:lnTo>
                <a:cubicBezTo>
                  <a:pt x="709167" y="371935"/>
                  <a:pt x="713307" y="371935"/>
                  <a:pt x="730557" y="383320"/>
                </a:cubicBezTo>
                <a:lnTo>
                  <a:pt x="741770" y="390392"/>
                </a:lnTo>
                <a:cubicBezTo>
                  <a:pt x="756778" y="399535"/>
                  <a:pt x="769370" y="404537"/>
                  <a:pt x="788345" y="408850"/>
                </a:cubicBezTo>
                <a:cubicBezTo>
                  <a:pt x="797660" y="410920"/>
                  <a:pt x="806630" y="413163"/>
                  <a:pt x="815428" y="415232"/>
                </a:cubicBezTo>
                <a:cubicBezTo>
                  <a:pt x="848376" y="423167"/>
                  <a:pt x="875631" y="429378"/>
                  <a:pt x="902196" y="431102"/>
                </a:cubicBezTo>
                <a:cubicBezTo>
                  <a:pt x="910131" y="431620"/>
                  <a:pt x="916341" y="438520"/>
                  <a:pt x="915824" y="446455"/>
                </a:cubicBezTo>
                <a:cubicBezTo>
                  <a:pt x="914099" y="454390"/>
                  <a:pt x="907888" y="459738"/>
                  <a:pt x="900816" y="459738"/>
                </a:cubicBezTo>
                <a:lnTo>
                  <a:pt x="900471" y="459738"/>
                </a:lnTo>
                <a:cubicBezTo>
                  <a:pt x="869938" y="457668"/>
                  <a:pt x="840096" y="450595"/>
                  <a:pt x="808355" y="443178"/>
                </a:cubicBezTo>
                <a:lnTo>
                  <a:pt x="781617" y="436795"/>
                </a:lnTo>
                <a:cubicBezTo>
                  <a:pt x="759537" y="431792"/>
                  <a:pt x="744012" y="425583"/>
                  <a:pt x="726417" y="414715"/>
                </a:cubicBezTo>
                <a:cubicBezTo>
                  <a:pt x="721242" y="411610"/>
                  <a:pt x="717275" y="409022"/>
                  <a:pt x="714170" y="406780"/>
                </a:cubicBezTo>
                <a:cubicBezTo>
                  <a:pt x="706062" y="401432"/>
                  <a:pt x="706062" y="401432"/>
                  <a:pt x="691054" y="404537"/>
                </a:cubicBezTo>
                <a:lnTo>
                  <a:pt x="688467" y="405055"/>
                </a:lnTo>
                <a:cubicBezTo>
                  <a:pt x="671993" y="408419"/>
                  <a:pt x="660177" y="406090"/>
                  <a:pt x="650883" y="401152"/>
                </a:cubicBezTo>
                <a:lnTo>
                  <a:pt x="641743" y="393189"/>
                </a:lnTo>
                <a:lnTo>
                  <a:pt x="646508" y="390012"/>
                </a:lnTo>
                <a:cubicBezTo>
                  <a:pt x="648966" y="387062"/>
                  <a:pt x="649754" y="383043"/>
                  <a:pt x="651659" y="379709"/>
                </a:cubicBezTo>
                <a:cubicBezTo>
                  <a:pt x="653195" y="377021"/>
                  <a:pt x="654772" y="374312"/>
                  <a:pt x="656811" y="371982"/>
                </a:cubicBezTo>
                <a:close/>
                <a:moveTo>
                  <a:pt x="388660" y="22"/>
                </a:moveTo>
                <a:lnTo>
                  <a:pt x="403322" y="539"/>
                </a:lnTo>
                <a:lnTo>
                  <a:pt x="402805" y="15029"/>
                </a:lnTo>
                <a:cubicBezTo>
                  <a:pt x="402287" y="25380"/>
                  <a:pt x="404357" y="29002"/>
                  <a:pt x="407807" y="35040"/>
                </a:cubicBezTo>
                <a:lnTo>
                  <a:pt x="408233" y="35891"/>
                </a:lnTo>
                <a:lnTo>
                  <a:pt x="406961" y="39707"/>
                </a:lnTo>
                <a:cubicBezTo>
                  <a:pt x="393342" y="48786"/>
                  <a:pt x="399984" y="41855"/>
                  <a:pt x="394082" y="65465"/>
                </a:cubicBezTo>
                <a:lnTo>
                  <a:pt x="390641" y="68906"/>
                </a:lnTo>
                <a:lnTo>
                  <a:pt x="385900" y="56085"/>
                </a:lnTo>
                <a:cubicBezTo>
                  <a:pt x="384864" y="53842"/>
                  <a:pt x="383830" y="51600"/>
                  <a:pt x="382450" y="49530"/>
                </a:cubicBezTo>
                <a:cubicBezTo>
                  <a:pt x="380034" y="45217"/>
                  <a:pt x="377620" y="40905"/>
                  <a:pt x="375895" y="35384"/>
                </a:cubicBezTo>
                <a:cubicBezTo>
                  <a:pt x="375722" y="35557"/>
                  <a:pt x="375550" y="35730"/>
                  <a:pt x="375377" y="35902"/>
                </a:cubicBezTo>
                <a:cubicBezTo>
                  <a:pt x="370202" y="40387"/>
                  <a:pt x="363302" y="46425"/>
                  <a:pt x="353470" y="49530"/>
                </a:cubicBezTo>
                <a:cubicBezTo>
                  <a:pt x="341567" y="53497"/>
                  <a:pt x="328112" y="53670"/>
                  <a:pt x="315002" y="54015"/>
                </a:cubicBezTo>
                <a:lnTo>
                  <a:pt x="309654" y="54187"/>
                </a:lnTo>
                <a:cubicBezTo>
                  <a:pt x="301202" y="54360"/>
                  <a:pt x="293094" y="54532"/>
                  <a:pt x="286366" y="55912"/>
                </a:cubicBezTo>
                <a:cubicBezTo>
                  <a:pt x="275327" y="57983"/>
                  <a:pt x="264804" y="62295"/>
                  <a:pt x="254454" y="66262"/>
                </a:cubicBezTo>
                <a:lnTo>
                  <a:pt x="250659" y="67815"/>
                </a:lnTo>
                <a:cubicBezTo>
                  <a:pt x="228406" y="76612"/>
                  <a:pt x="204084" y="86445"/>
                  <a:pt x="173896" y="81960"/>
                </a:cubicBezTo>
                <a:cubicBezTo>
                  <a:pt x="161648" y="79890"/>
                  <a:pt x="151988" y="73508"/>
                  <a:pt x="144916" y="68850"/>
                </a:cubicBezTo>
                <a:cubicBezTo>
                  <a:pt x="140431" y="65917"/>
                  <a:pt x="135256" y="62467"/>
                  <a:pt x="131461" y="61950"/>
                </a:cubicBezTo>
                <a:cubicBezTo>
                  <a:pt x="128701" y="61605"/>
                  <a:pt x="121110" y="63675"/>
                  <a:pt x="115590" y="65400"/>
                </a:cubicBezTo>
                <a:cubicBezTo>
                  <a:pt x="107828" y="67815"/>
                  <a:pt x="100410" y="70057"/>
                  <a:pt x="92648" y="70575"/>
                </a:cubicBezTo>
                <a:cubicBezTo>
                  <a:pt x="85920" y="70920"/>
                  <a:pt x="78675" y="71092"/>
                  <a:pt x="71775" y="71092"/>
                </a:cubicBezTo>
                <a:cubicBezTo>
                  <a:pt x="48832" y="70575"/>
                  <a:pt x="34687" y="71092"/>
                  <a:pt x="27615" y="85237"/>
                </a:cubicBezTo>
                <a:cubicBezTo>
                  <a:pt x="23992" y="92483"/>
                  <a:pt x="15367" y="95242"/>
                  <a:pt x="8122" y="91620"/>
                </a:cubicBezTo>
                <a:cubicBezTo>
                  <a:pt x="4672" y="89895"/>
                  <a:pt x="1912" y="86790"/>
                  <a:pt x="704" y="82995"/>
                </a:cubicBezTo>
                <a:cubicBezTo>
                  <a:pt x="-503" y="79373"/>
                  <a:pt x="-158" y="75233"/>
                  <a:pt x="1739" y="71782"/>
                </a:cubicBezTo>
                <a:cubicBezTo>
                  <a:pt x="17264" y="41250"/>
                  <a:pt x="47280" y="41422"/>
                  <a:pt x="71775" y="41767"/>
                </a:cubicBezTo>
                <a:cubicBezTo>
                  <a:pt x="78847" y="41940"/>
                  <a:pt x="84885" y="41940"/>
                  <a:pt x="90750" y="41595"/>
                </a:cubicBezTo>
                <a:cubicBezTo>
                  <a:pt x="95063" y="41250"/>
                  <a:pt x="100928" y="39525"/>
                  <a:pt x="106448" y="37627"/>
                </a:cubicBezTo>
                <a:cubicBezTo>
                  <a:pt x="116108" y="34695"/>
                  <a:pt x="126113" y="31762"/>
                  <a:pt x="135600" y="33142"/>
                </a:cubicBezTo>
                <a:cubicBezTo>
                  <a:pt x="145778" y="34349"/>
                  <a:pt x="153713" y="39870"/>
                  <a:pt x="160786" y="44527"/>
                </a:cubicBezTo>
                <a:cubicBezTo>
                  <a:pt x="166996" y="48667"/>
                  <a:pt x="172515" y="52117"/>
                  <a:pt x="178381" y="53152"/>
                </a:cubicBezTo>
                <a:cubicBezTo>
                  <a:pt x="201496" y="56430"/>
                  <a:pt x="219953" y="48839"/>
                  <a:pt x="239619" y="40732"/>
                </a:cubicBezTo>
                <a:lnTo>
                  <a:pt x="242551" y="39525"/>
                </a:lnTo>
                <a:cubicBezTo>
                  <a:pt x="254454" y="34867"/>
                  <a:pt x="266702" y="29865"/>
                  <a:pt x="280846" y="27277"/>
                </a:cubicBezTo>
                <a:cubicBezTo>
                  <a:pt x="289817" y="25380"/>
                  <a:pt x="299649" y="25207"/>
                  <a:pt x="309309" y="25035"/>
                </a:cubicBezTo>
                <a:lnTo>
                  <a:pt x="314829" y="24862"/>
                </a:lnTo>
                <a:cubicBezTo>
                  <a:pt x="325697" y="24689"/>
                  <a:pt x="336737" y="24517"/>
                  <a:pt x="344499" y="21929"/>
                </a:cubicBezTo>
                <a:cubicBezTo>
                  <a:pt x="347949" y="20894"/>
                  <a:pt x="351400" y="18134"/>
                  <a:pt x="355022" y="15202"/>
                </a:cubicBezTo>
                <a:lnTo>
                  <a:pt x="356575" y="13994"/>
                </a:lnTo>
                <a:cubicBezTo>
                  <a:pt x="363130" y="8302"/>
                  <a:pt x="373652" y="-496"/>
                  <a:pt x="388660" y="22"/>
                </a:cubicBezTo>
                <a:close/>
              </a:path>
            </a:pathLst>
          </a:custGeom>
          <a:solidFill>
            <a:srgbClr val="F59D24"/>
          </a:solidFill>
          <a:ln w="172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BR">
              <a:latin typeface="Manrope" pitchFamily="2" charset="0"/>
            </a:endParaRPr>
          </a:p>
        </p:txBody>
      </p:sp>
      <p:grpSp>
        <p:nvGrpSpPr>
          <p:cNvPr id="581" name="Gráfico 1344">
            <a:extLst>
              <a:ext uri="{FF2B5EF4-FFF2-40B4-BE49-F238E27FC236}">
                <a16:creationId xmlns:a16="http://schemas.microsoft.com/office/drawing/2014/main" id="{EA8D7FA7-C709-4901-83CF-19D5F785808B}"/>
              </a:ext>
            </a:extLst>
          </p:cNvPr>
          <p:cNvGrpSpPr/>
          <p:nvPr/>
        </p:nvGrpSpPr>
        <p:grpSpPr>
          <a:xfrm>
            <a:off x="8691707" y="4907272"/>
            <a:ext cx="180789" cy="373151"/>
            <a:chOff x="8811453" y="5015758"/>
            <a:chExt cx="180789" cy="373151"/>
          </a:xfrm>
          <a:solidFill>
            <a:srgbClr val="F59D24"/>
          </a:solidFill>
        </p:grpSpPr>
        <p:sp>
          <p:nvSpPr>
            <p:cNvPr id="600" name="Gráfico 1344">
              <a:extLst>
                <a:ext uri="{FF2B5EF4-FFF2-40B4-BE49-F238E27FC236}">
                  <a16:creationId xmlns:a16="http://schemas.microsoft.com/office/drawing/2014/main" id="{3C535CA0-DCAC-47CC-9CD7-274CC116BDFF}"/>
                </a:ext>
              </a:extLst>
            </p:cNvPr>
            <p:cNvSpPr/>
            <p:nvPr/>
          </p:nvSpPr>
          <p:spPr>
            <a:xfrm>
              <a:off x="8819911" y="5024061"/>
              <a:ext cx="163508" cy="356223"/>
            </a:xfrm>
            <a:custGeom>
              <a:avLst/>
              <a:gdLst>
                <a:gd name="connsiteX0" fmla="*/ 47579 w 163508"/>
                <a:gd name="connsiteY0" fmla="*/ 356224 h 356223"/>
                <a:gd name="connsiteX1" fmla="*/ 18254 w 163508"/>
                <a:gd name="connsiteY1" fmla="*/ 341043 h 356223"/>
                <a:gd name="connsiteX2" fmla="*/ 4454 w 163508"/>
                <a:gd name="connsiteY2" fmla="*/ 331901 h 356223"/>
                <a:gd name="connsiteX3" fmla="*/ 141 w 163508"/>
                <a:gd name="connsiteY3" fmla="*/ 324656 h 356223"/>
                <a:gd name="connsiteX4" fmla="*/ 7387 w 163508"/>
                <a:gd name="connsiteY4" fmla="*/ 320343 h 356223"/>
                <a:gd name="connsiteX5" fmla="*/ 25327 w 163508"/>
                <a:gd name="connsiteY5" fmla="*/ 331728 h 356223"/>
                <a:gd name="connsiteX6" fmla="*/ 50512 w 163508"/>
                <a:gd name="connsiteY6" fmla="*/ 343458 h 356223"/>
                <a:gd name="connsiteX7" fmla="*/ 49649 w 163508"/>
                <a:gd name="connsiteY7" fmla="*/ 317583 h 356223"/>
                <a:gd name="connsiteX8" fmla="*/ 45164 w 163508"/>
                <a:gd name="connsiteY8" fmla="*/ 295503 h 356223"/>
                <a:gd name="connsiteX9" fmla="*/ 66555 w 163508"/>
                <a:gd name="connsiteY9" fmla="*/ 279116 h 356223"/>
                <a:gd name="connsiteX10" fmla="*/ 82597 w 163508"/>
                <a:gd name="connsiteY10" fmla="*/ 269110 h 356223"/>
                <a:gd name="connsiteX11" fmla="*/ 83632 w 163508"/>
                <a:gd name="connsiteY11" fmla="*/ 261693 h 356223"/>
                <a:gd name="connsiteX12" fmla="*/ 88117 w 163508"/>
                <a:gd name="connsiteY12" fmla="*/ 244098 h 356223"/>
                <a:gd name="connsiteX13" fmla="*/ 103642 w 163508"/>
                <a:gd name="connsiteY13" fmla="*/ 234265 h 356223"/>
                <a:gd name="connsiteX14" fmla="*/ 111923 w 163508"/>
                <a:gd name="connsiteY14" fmla="*/ 230125 h 356223"/>
                <a:gd name="connsiteX15" fmla="*/ 134347 w 163508"/>
                <a:gd name="connsiteY15" fmla="*/ 130937 h 356223"/>
                <a:gd name="connsiteX16" fmla="*/ 134347 w 163508"/>
                <a:gd name="connsiteY16" fmla="*/ 128004 h 356223"/>
                <a:gd name="connsiteX17" fmla="*/ 128138 w 163508"/>
                <a:gd name="connsiteY17" fmla="*/ 95229 h 356223"/>
                <a:gd name="connsiteX18" fmla="*/ 127448 w 163508"/>
                <a:gd name="connsiteY18" fmla="*/ 14153 h 356223"/>
                <a:gd name="connsiteX19" fmla="*/ 157118 w 163508"/>
                <a:gd name="connsiteY19" fmla="*/ 8 h 356223"/>
                <a:gd name="connsiteX20" fmla="*/ 163500 w 163508"/>
                <a:gd name="connsiteY20" fmla="*/ 5528 h 356223"/>
                <a:gd name="connsiteX21" fmla="*/ 157980 w 163508"/>
                <a:gd name="connsiteY21" fmla="*/ 11911 h 356223"/>
                <a:gd name="connsiteX22" fmla="*/ 137108 w 163508"/>
                <a:gd name="connsiteY22" fmla="*/ 21226 h 356223"/>
                <a:gd name="connsiteX23" fmla="*/ 139695 w 163508"/>
                <a:gd name="connsiteY23" fmla="*/ 92469 h 356223"/>
                <a:gd name="connsiteX24" fmla="*/ 146077 w 163508"/>
                <a:gd name="connsiteY24" fmla="*/ 127314 h 356223"/>
                <a:gd name="connsiteX25" fmla="*/ 146250 w 163508"/>
                <a:gd name="connsiteY25" fmla="*/ 130247 h 356223"/>
                <a:gd name="connsiteX26" fmla="*/ 118995 w 163508"/>
                <a:gd name="connsiteY26" fmla="*/ 239613 h 356223"/>
                <a:gd name="connsiteX27" fmla="*/ 108127 w 163508"/>
                <a:gd name="connsiteY27" fmla="*/ 245133 h 356223"/>
                <a:gd name="connsiteX28" fmla="*/ 97777 w 163508"/>
                <a:gd name="connsiteY28" fmla="*/ 250825 h 356223"/>
                <a:gd name="connsiteX29" fmla="*/ 95707 w 163508"/>
                <a:gd name="connsiteY29" fmla="*/ 261520 h 356223"/>
                <a:gd name="connsiteX30" fmla="*/ 92257 w 163508"/>
                <a:gd name="connsiteY30" fmla="*/ 275838 h 356223"/>
                <a:gd name="connsiteX31" fmla="*/ 71385 w 163508"/>
                <a:gd name="connsiteY31" fmla="*/ 289983 h 356223"/>
                <a:gd name="connsiteX32" fmla="*/ 56377 w 163508"/>
                <a:gd name="connsiteY32" fmla="*/ 300161 h 356223"/>
                <a:gd name="connsiteX33" fmla="*/ 60690 w 163508"/>
                <a:gd name="connsiteY33" fmla="*/ 312581 h 356223"/>
                <a:gd name="connsiteX34" fmla="*/ 57239 w 163508"/>
                <a:gd name="connsiteY34" fmla="*/ 353636 h 356223"/>
                <a:gd name="connsiteX35" fmla="*/ 47579 w 163508"/>
                <a:gd name="connsiteY35" fmla="*/ 356224 h 356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63508" h="356223">
                  <a:moveTo>
                    <a:pt x="47579" y="356224"/>
                  </a:moveTo>
                  <a:cubicBezTo>
                    <a:pt x="37575" y="356224"/>
                    <a:pt x="27052" y="347943"/>
                    <a:pt x="18254" y="341043"/>
                  </a:cubicBezTo>
                  <a:cubicBezTo>
                    <a:pt x="12906" y="336903"/>
                    <a:pt x="7732" y="332763"/>
                    <a:pt x="4454" y="331901"/>
                  </a:cubicBezTo>
                  <a:cubicBezTo>
                    <a:pt x="1349" y="331038"/>
                    <a:pt x="-549" y="327761"/>
                    <a:pt x="141" y="324656"/>
                  </a:cubicBezTo>
                  <a:cubicBezTo>
                    <a:pt x="1004" y="321378"/>
                    <a:pt x="4109" y="319481"/>
                    <a:pt x="7387" y="320343"/>
                  </a:cubicBezTo>
                  <a:cubicBezTo>
                    <a:pt x="12906" y="321896"/>
                    <a:pt x="18771" y="326381"/>
                    <a:pt x="25327" y="331728"/>
                  </a:cubicBezTo>
                  <a:cubicBezTo>
                    <a:pt x="33952" y="338628"/>
                    <a:pt x="44819" y="346908"/>
                    <a:pt x="50512" y="343458"/>
                  </a:cubicBezTo>
                  <a:cubicBezTo>
                    <a:pt x="58274" y="338628"/>
                    <a:pt x="56032" y="331211"/>
                    <a:pt x="49649" y="317583"/>
                  </a:cubicBezTo>
                  <a:cubicBezTo>
                    <a:pt x="45854" y="309475"/>
                    <a:pt x="42405" y="302058"/>
                    <a:pt x="45164" y="295503"/>
                  </a:cubicBezTo>
                  <a:cubicBezTo>
                    <a:pt x="48959" y="286533"/>
                    <a:pt x="57930" y="282738"/>
                    <a:pt x="66555" y="279116"/>
                  </a:cubicBezTo>
                  <a:cubicBezTo>
                    <a:pt x="73110" y="276355"/>
                    <a:pt x="79320" y="273595"/>
                    <a:pt x="82597" y="269110"/>
                  </a:cubicBezTo>
                  <a:cubicBezTo>
                    <a:pt x="83632" y="267558"/>
                    <a:pt x="83632" y="264626"/>
                    <a:pt x="83632" y="261693"/>
                  </a:cubicBezTo>
                  <a:cubicBezTo>
                    <a:pt x="83805" y="256345"/>
                    <a:pt x="83805" y="249963"/>
                    <a:pt x="88117" y="244098"/>
                  </a:cubicBezTo>
                  <a:cubicBezTo>
                    <a:pt x="91740" y="239268"/>
                    <a:pt x="98122" y="236335"/>
                    <a:pt x="103642" y="234265"/>
                  </a:cubicBezTo>
                  <a:cubicBezTo>
                    <a:pt x="106747" y="233057"/>
                    <a:pt x="110025" y="231678"/>
                    <a:pt x="111923" y="230125"/>
                  </a:cubicBezTo>
                  <a:cubicBezTo>
                    <a:pt x="138143" y="210460"/>
                    <a:pt x="136073" y="164574"/>
                    <a:pt x="134347" y="130937"/>
                  </a:cubicBezTo>
                  <a:lnTo>
                    <a:pt x="134347" y="128004"/>
                  </a:lnTo>
                  <a:cubicBezTo>
                    <a:pt x="134003" y="119379"/>
                    <a:pt x="131243" y="107649"/>
                    <a:pt x="128138" y="95229"/>
                  </a:cubicBezTo>
                  <a:cubicBezTo>
                    <a:pt x="121410" y="66249"/>
                    <a:pt x="113475" y="33301"/>
                    <a:pt x="127448" y="14153"/>
                  </a:cubicBezTo>
                  <a:cubicBezTo>
                    <a:pt x="133830" y="5528"/>
                    <a:pt x="143663" y="871"/>
                    <a:pt x="157118" y="8"/>
                  </a:cubicBezTo>
                  <a:cubicBezTo>
                    <a:pt x="160567" y="-164"/>
                    <a:pt x="163328" y="2423"/>
                    <a:pt x="163500" y="5528"/>
                  </a:cubicBezTo>
                  <a:cubicBezTo>
                    <a:pt x="163673" y="8806"/>
                    <a:pt x="161258" y="11566"/>
                    <a:pt x="157980" y="11911"/>
                  </a:cubicBezTo>
                  <a:cubicBezTo>
                    <a:pt x="147975" y="12601"/>
                    <a:pt x="141247" y="15534"/>
                    <a:pt x="137108" y="21226"/>
                  </a:cubicBezTo>
                  <a:cubicBezTo>
                    <a:pt x="126585" y="35716"/>
                    <a:pt x="133657" y="67111"/>
                    <a:pt x="139695" y="92469"/>
                  </a:cubicBezTo>
                  <a:cubicBezTo>
                    <a:pt x="142800" y="105579"/>
                    <a:pt x="145560" y="117827"/>
                    <a:pt x="146077" y="127314"/>
                  </a:cubicBezTo>
                  <a:lnTo>
                    <a:pt x="146250" y="130247"/>
                  </a:lnTo>
                  <a:cubicBezTo>
                    <a:pt x="147975" y="166644"/>
                    <a:pt x="150218" y="216152"/>
                    <a:pt x="118995" y="239613"/>
                  </a:cubicBezTo>
                  <a:cubicBezTo>
                    <a:pt x="115890" y="242027"/>
                    <a:pt x="112095" y="243408"/>
                    <a:pt x="108127" y="245133"/>
                  </a:cubicBezTo>
                  <a:cubicBezTo>
                    <a:pt x="104160" y="246858"/>
                    <a:pt x="99157" y="248755"/>
                    <a:pt x="97777" y="250825"/>
                  </a:cubicBezTo>
                  <a:cubicBezTo>
                    <a:pt x="95707" y="253585"/>
                    <a:pt x="95707" y="257380"/>
                    <a:pt x="95707" y="261520"/>
                  </a:cubicBezTo>
                  <a:cubicBezTo>
                    <a:pt x="95535" y="266178"/>
                    <a:pt x="95535" y="271353"/>
                    <a:pt x="92257" y="275838"/>
                  </a:cubicBezTo>
                  <a:cubicBezTo>
                    <a:pt x="87254" y="283083"/>
                    <a:pt x="78802" y="286706"/>
                    <a:pt x="71385" y="289983"/>
                  </a:cubicBezTo>
                  <a:cubicBezTo>
                    <a:pt x="64657" y="292915"/>
                    <a:pt x="58274" y="295503"/>
                    <a:pt x="56377" y="300161"/>
                  </a:cubicBezTo>
                  <a:cubicBezTo>
                    <a:pt x="56032" y="301885"/>
                    <a:pt x="58964" y="308440"/>
                    <a:pt x="60690" y="312581"/>
                  </a:cubicBezTo>
                  <a:cubicBezTo>
                    <a:pt x="66209" y="324311"/>
                    <a:pt x="74662" y="342423"/>
                    <a:pt x="57239" y="353636"/>
                  </a:cubicBezTo>
                  <a:cubicBezTo>
                    <a:pt x="53962" y="355361"/>
                    <a:pt x="50684" y="356224"/>
                    <a:pt x="47579" y="356224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601" name="Gráfico 1344">
              <a:extLst>
                <a:ext uri="{FF2B5EF4-FFF2-40B4-BE49-F238E27FC236}">
                  <a16:creationId xmlns:a16="http://schemas.microsoft.com/office/drawing/2014/main" id="{22200D23-8411-446E-BF0C-59F00D331A5C}"/>
                </a:ext>
              </a:extLst>
            </p:cNvPr>
            <p:cNvSpPr/>
            <p:nvPr/>
          </p:nvSpPr>
          <p:spPr>
            <a:xfrm>
              <a:off x="8811453" y="5015758"/>
              <a:ext cx="180789" cy="373151"/>
            </a:xfrm>
            <a:custGeom>
              <a:avLst/>
              <a:gdLst>
                <a:gd name="connsiteX0" fmla="*/ 56038 w 180789"/>
                <a:gd name="connsiteY0" fmla="*/ 373151 h 373151"/>
                <a:gd name="connsiteX1" fmla="*/ 22055 w 180789"/>
                <a:gd name="connsiteY1" fmla="*/ 356591 h 373151"/>
                <a:gd name="connsiteX2" fmla="*/ 19813 w 180789"/>
                <a:gd name="connsiteY2" fmla="*/ 354866 h 373151"/>
                <a:gd name="connsiteX3" fmla="*/ 10670 w 180789"/>
                <a:gd name="connsiteY3" fmla="*/ 348483 h 373151"/>
                <a:gd name="connsiteX4" fmla="*/ 492 w 180789"/>
                <a:gd name="connsiteY4" fmla="*/ 330716 h 373151"/>
                <a:gd name="connsiteX5" fmla="*/ 7392 w 180789"/>
                <a:gd name="connsiteY5" fmla="*/ 321746 h 373151"/>
                <a:gd name="connsiteX6" fmla="*/ 18260 w 180789"/>
                <a:gd name="connsiteY6" fmla="*/ 320366 h 373151"/>
                <a:gd name="connsiteX7" fmla="*/ 39478 w 180789"/>
                <a:gd name="connsiteY7" fmla="*/ 333303 h 373151"/>
                <a:gd name="connsiteX8" fmla="*/ 56038 w 180789"/>
                <a:gd name="connsiteY8" fmla="*/ 343826 h 373151"/>
                <a:gd name="connsiteX9" fmla="*/ 50518 w 180789"/>
                <a:gd name="connsiteY9" fmla="*/ 329508 h 373151"/>
                <a:gd name="connsiteX10" fmla="*/ 46033 w 180789"/>
                <a:gd name="connsiteY10" fmla="*/ 300528 h 373151"/>
                <a:gd name="connsiteX11" fmla="*/ 71908 w 180789"/>
                <a:gd name="connsiteY11" fmla="*/ 279483 h 373151"/>
                <a:gd name="connsiteX12" fmla="*/ 83638 w 180789"/>
                <a:gd name="connsiteY12" fmla="*/ 273100 h 373151"/>
                <a:gd name="connsiteX13" fmla="*/ 83638 w 180789"/>
                <a:gd name="connsiteY13" fmla="*/ 269995 h 373151"/>
                <a:gd name="connsiteX14" fmla="*/ 89676 w 180789"/>
                <a:gd name="connsiteY14" fmla="*/ 247398 h 373151"/>
                <a:gd name="connsiteX15" fmla="*/ 108996 w 180789"/>
                <a:gd name="connsiteY15" fmla="*/ 234633 h 373151"/>
                <a:gd name="connsiteX16" fmla="*/ 115034 w 180789"/>
                <a:gd name="connsiteY16" fmla="*/ 231873 h 373151"/>
                <a:gd name="connsiteX17" fmla="*/ 134181 w 180789"/>
                <a:gd name="connsiteY17" fmla="*/ 139929 h 373151"/>
                <a:gd name="connsiteX18" fmla="*/ 134181 w 180789"/>
                <a:gd name="connsiteY18" fmla="*/ 136479 h 373151"/>
                <a:gd name="connsiteX19" fmla="*/ 128316 w 180789"/>
                <a:gd name="connsiteY19" fmla="*/ 105774 h 373151"/>
                <a:gd name="connsiteX20" fmla="*/ 129178 w 180789"/>
                <a:gd name="connsiteY20" fmla="*/ 17626 h 373151"/>
                <a:gd name="connsiteX21" fmla="*/ 165231 w 180789"/>
                <a:gd name="connsiteY21" fmla="*/ 31 h 373151"/>
                <a:gd name="connsiteX22" fmla="*/ 180757 w 180789"/>
                <a:gd name="connsiteY22" fmla="*/ 13659 h 373151"/>
                <a:gd name="connsiteX23" fmla="*/ 167819 w 180789"/>
                <a:gd name="connsiteY23" fmla="*/ 29184 h 373151"/>
                <a:gd name="connsiteX24" fmla="*/ 152639 w 180789"/>
                <a:gd name="connsiteY24" fmla="*/ 35221 h 373151"/>
                <a:gd name="connsiteX25" fmla="*/ 156606 w 180789"/>
                <a:gd name="connsiteY25" fmla="*/ 99391 h 373151"/>
                <a:gd name="connsiteX26" fmla="*/ 163161 w 180789"/>
                <a:gd name="connsiteY26" fmla="*/ 135789 h 373151"/>
                <a:gd name="connsiteX27" fmla="*/ 163334 w 180789"/>
                <a:gd name="connsiteY27" fmla="*/ 138549 h 373151"/>
                <a:gd name="connsiteX28" fmla="*/ 132629 w 180789"/>
                <a:gd name="connsiteY28" fmla="*/ 255505 h 373151"/>
                <a:gd name="connsiteX29" fmla="*/ 121934 w 180789"/>
                <a:gd name="connsiteY29" fmla="*/ 261198 h 373151"/>
                <a:gd name="connsiteX30" fmla="*/ 120208 w 180789"/>
                <a:gd name="connsiteY30" fmla="*/ 261888 h 373151"/>
                <a:gd name="connsiteX31" fmla="*/ 112791 w 180789"/>
                <a:gd name="connsiteY31" fmla="*/ 265338 h 373151"/>
                <a:gd name="connsiteX32" fmla="*/ 112791 w 180789"/>
                <a:gd name="connsiteY32" fmla="*/ 270513 h 373151"/>
                <a:gd name="connsiteX33" fmla="*/ 107788 w 180789"/>
                <a:gd name="connsiteY33" fmla="*/ 289833 h 373151"/>
                <a:gd name="connsiteX34" fmla="*/ 83466 w 180789"/>
                <a:gd name="connsiteY34" fmla="*/ 306738 h 373151"/>
                <a:gd name="connsiteX35" fmla="*/ 74150 w 180789"/>
                <a:gd name="connsiteY35" fmla="*/ 311223 h 373151"/>
                <a:gd name="connsiteX36" fmla="*/ 76393 w 180789"/>
                <a:gd name="connsiteY36" fmla="*/ 316571 h 373151"/>
                <a:gd name="connsiteX37" fmla="*/ 77083 w 180789"/>
                <a:gd name="connsiteY37" fmla="*/ 318123 h 373151"/>
                <a:gd name="connsiteX38" fmla="*/ 70355 w 180789"/>
                <a:gd name="connsiteY38" fmla="*/ 369701 h 373151"/>
                <a:gd name="connsiteX39" fmla="*/ 56038 w 180789"/>
                <a:gd name="connsiteY39" fmla="*/ 373151 h 3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0789" h="373151">
                  <a:moveTo>
                    <a:pt x="56038" y="373151"/>
                  </a:moveTo>
                  <a:cubicBezTo>
                    <a:pt x="43445" y="373151"/>
                    <a:pt x="31542" y="364009"/>
                    <a:pt x="22055" y="356591"/>
                  </a:cubicBezTo>
                  <a:lnTo>
                    <a:pt x="19813" y="354866"/>
                  </a:lnTo>
                  <a:cubicBezTo>
                    <a:pt x="16880" y="352624"/>
                    <a:pt x="12222" y="349001"/>
                    <a:pt x="10670" y="348483"/>
                  </a:cubicBezTo>
                  <a:cubicBezTo>
                    <a:pt x="3080" y="346413"/>
                    <a:pt x="-1577" y="338478"/>
                    <a:pt x="492" y="330716"/>
                  </a:cubicBezTo>
                  <a:cubicBezTo>
                    <a:pt x="1527" y="326920"/>
                    <a:pt x="3943" y="323643"/>
                    <a:pt x="7392" y="321746"/>
                  </a:cubicBezTo>
                  <a:cubicBezTo>
                    <a:pt x="10670" y="319848"/>
                    <a:pt x="14638" y="319330"/>
                    <a:pt x="18260" y="320366"/>
                  </a:cubicBezTo>
                  <a:cubicBezTo>
                    <a:pt x="25678" y="322436"/>
                    <a:pt x="32405" y="327611"/>
                    <a:pt x="39478" y="333303"/>
                  </a:cubicBezTo>
                  <a:cubicBezTo>
                    <a:pt x="43100" y="336063"/>
                    <a:pt x="52760" y="343826"/>
                    <a:pt x="56038" y="343826"/>
                  </a:cubicBezTo>
                  <a:cubicBezTo>
                    <a:pt x="56038" y="341411"/>
                    <a:pt x="51898" y="332441"/>
                    <a:pt x="50518" y="329508"/>
                  </a:cubicBezTo>
                  <a:cubicBezTo>
                    <a:pt x="46378" y="320711"/>
                    <a:pt x="41721" y="310533"/>
                    <a:pt x="46033" y="300528"/>
                  </a:cubicBezTo>
                  <a:cubicBezTo>
                    <a:pt x="51208" y="288280"/>
                    <a:pt x="62766" y="283450"/>
                    <a:pt x="71908" y="279483"/>
                  </a:cubicBezTo>
                  <a:cubicBezTo>
                    <a:pt x="75875" y="277758"/>
                    <a:pt x="81051" y="275515"/>
                    <a:pt x="83638" y="273100"/>
                  </a:cubicBezTo>
                  <a:cubicBezTo>
                    <a:pt x="83638" y="272238"/>
                    <a:pt x="83638" y="270858"/>
                    <a:pt x="83638" y="269995"/>
                  </a:cubicBezTo>
                  <a:cubicBezTo>
                    <a:pt x="83810" y="262923"/>
                    <a:pt x="84156" y="254988"/>
                    <a:pt x="89676" y="247398"/>
                  </a:cubicBezTo>
                  <a:cubicBezTo>
                    <a:pt x="94333" y="240843"/>
                    <a:pt x="101751" y="237392"/>
                    <a:pt x="108996" y="234633"/>
                  </a:cubicBezTo>
                  <a:cubicBezTo>
                    <a:pt x="110893" y="233770"/>
                    <a:pt x="114171" y="232562"/>
                    <a:pt x="115034" y="231873"/>
                  </a:cubicBezTo>
                  <a:cubicBezTo>
                    <a:pt x="137976" y="214623"/>
                    <a:pt x="135733" y="169772"/>
                    <a:pt x="134181" y="139929"/>
                  </a:cubicBezTo>
                  <a:lnTo>
                    <a:pt x="134181" y="136479"/>
                  </a:lnTo>
                  <a:cubicBezTo>
                    <a:pt x="133836" y="128889"/>
                    <a:pt x="130903" y="116641"/>
                    <a:pt x="128316" y="105774"/>
                  </a:cubicBezTo>
                  <a:cubicBezTo>
                    <a:pt x="121071" y="74379"/>
                    <a:pt x="112963" y="39706"/>
                    <a:pt x="129178" y="17626"/>
                  </a:cubicBezTo>
                  <a:cubicBezTo>
                    <a:pt x="137114" y="6931"/>
                    <a:pt x="149188" y="1066"/>
                    <a:pt x="165231" y="31"/>
                  </a:cubicBezTo>
                  <a:cubicBezTo>
                    <a:pt x="173339" y="-487"/>
                    <a:pt x="180239" y="5551"/>
                    <a:pt x="180757" y="13659"/>
                  </a:cubicBezTo>
                  <a:cubicBezTo>
                    <a:pt x="181274" y="21248"/>
                    <a:pt x="175581" y="28149"/>
                    <a:pt x="167819" y="29184"/>
                  </a:cubicBezTo>
                  <a:cubicBezTo>
                    <a:pt x="157641" y="29873"/>
                    <a:pt x="154364" y="32979"/>
                    <a:pt x="152639" y="35221"/>
                  </a:cubicBezTo>
                  <a:cubicBezTo>
                    <a:pt x="144358" y="46779"/>
                    <a:pt x="151776" y="78347"/>
                    <a:pt x="156606" y="99391"/>
                  </a:cubicBezTo>
                  <a:cubicBezTo>
                    <a:pt x="160229" y="114227"/>
                    <a:pt x="162816" y="126129"/>
                    <a:pt x="163161" y="135789"/>
                  </a:cubicBezTo>
                  <a:lnTo>
                    <a:pt x="163334" y="138549"/>
                  </a:lnTo>
                  <a:cubicBezTo>
                    <a:pt x="165059" y="177017"/>
                    <a:pt x="167646" y="229285"/>
                    <a:pt x="132629" y="255505"/>
                  </a:cubicBezTo>
                  <a:cubicBezTo>
                    <a:pt x="129178" y="258093"/>
                    <a:pt x="125383" y="259645"/>
                    <a:pt x="121934" y="261198"/>
                  </a:cubicBezTo>
                  <a:lnTo>
                    <a:pt x="120208" y="261888"/>
                  </a:lnTo>
                  <a:cubicBezTo>
                    <a:pt x="117276" y="263095"/>
                    <a:pt x="113826" y="264648"/>
                    <a:pt x="112791" y="265338"/>
                  </a:cubicBezTo>
                  <a:cubicBezTo>
                    <a:pt x="112791" y="265683"/>
                    <a:pt x="112791" y="268616"/>
                    <a:pt x="112791" y="270513"/>
                  </a:cubicBezTo>
                  <a:cubicBezTo>
                    <a:pt x="112618" y="276723"/>
                    <a:pt x="112273" y="283623"/>
                    <a:pt x="107788" y="289833"/>
                  </a:cubicBezTo>
                  <a:cubicBezTo>
                    <a:pt x="101406" y="298975"/>
                    <a:pt x="91400" y="303288"/>
                    <a:pt x="83466" y="306738"/>
                  </a:cubicBezTo>
                  <a:cubicBezTo>
                    <a:pt x="80188" y="308291"/>
                    <a:pt x="76221" y="309843"/>
                    <a:pt x="74150" y="311223"/>
                  </a:cubicBezTo>
                  <a:cubicBezTo>
                    <a:pt x="74840" y="312948"/>
                    <a:pt x="75703" y="315191"/>
                    <a:pt x="76393" y="316571"/>
                  </a:cubicBezTo>
                  <a:lnTo>
                    <a:pt x="77083" y="318123"/>
                  </a:lnTo>
                  <a:cubicBezTo>
                    <a:pt x="82431" y="329681"/>
                    <a:pt x="94161" y="354521"/>
                    <a:pt x="70355" y="369701"/>
                  </a:cubicBezTo>
                  <a:cubicBezTo>
                    <a:pt x="64145" y="372288"/>
                    <a:pt x="60006" y="373151"/>
                    <a:pt x="56038" y="373151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2" name="Gráfico 1344">
            <a:extLst>
              <a:ext uri="{FF2B5EF4-FFF2-40B4-BE49-F238E27FC236}">
                <a16:creationId xmlns:a16="http://schemas.microsoft.com/office/drawing/2014/main" id="{90FE1BD5-5AB9-439C-9077-DA140C42A641}"/>
              </a:ext>
            </a:extLst>
          </p:cNvPr>
          <p:cNvGrpSpPr/>
          <p:nvPr/>
        </p:nvGrpSpPr>
        <p:grpSpPr>
          <a:xfrm>
            <a:off x="9064039" y="5215445"/>
            <a:ext cx="276197" cy="284399"/>
            <a:chOff x="9183785" y="5323931"/>
            <a:chExt cx="276197" cy="284399"/>
          </a:xfrm>
          <a:solidFill>
            <a:srgbClr val="F59D24"/>
          </a:solidFill>
        </p:grpSpPr>
        <p:sp>
          <p:nvSpPr>
            <p:cNvPr id="598" name="Gráfico 1344">
              <a:extLst>
                <a:ext uri="{FF2B5EF4-FFF2-40B4-BE49-F238E27FC236}">
                  <a16:creationId xmlns:a16="http://schemas.microsoft.com/office/drawing/2014/main" id="{F4E5BEC4-9028-4AEB-A40A-CC0A198CE15A}"/>
                </a:ext>
              </a:extLst>
            </p:cNvPr>
            <p:cNvSpPr/>
            <p:nvPr/>
          </p:nvSpPr>
          <p:spPr>
            <a:xfrm>
              <a:off x="9192416" y="5332876"/>
              <a:ext cx="258617" cy="266830"/>
            </a:xfrm>
            <a:custGeom>
              <a:avLst/>
              <a:gdLst>
                <a:gd name="connsiteX0" fmla="*/ 6105 w 258617"/>
                <a:gd name="connsiteY0" fmla="*/ 266831 h 266830"/>
                <a:gd name="connsiteX1" fmla="*/ 3689 w 258617"/>
                <a:gd name="connsiteY1" fmla="*/ 266485 h 266830"/>
                <a:gd name="connsiteX2" fmla="*/ 412 w 258617"/>
                <a:gd name="connsiteY2" fmla="*/ 258723 h 266830"/>
                <a:gd name="connsiteX3" fmla="*/ 71137 w 258617"/>
                <a:gd name="connsiteY3" fmla="*/ 195587 h 266830"/>
                <a:gd name="connsiteX4" fmla="*/ 74588 w 258617"/>
                <a:gd name="connsiteY4" fmla="*/ 193690 h 266830"/>
                <a:gd name="connsiteX5" fmla="*/ 96495 w 258617"/>
                <a:gd name="connsiteY5" fmla="*/ 181442 h 266830"/>
                <a:gd name="connsiteX6" fmla="*/ 160666 w 258617"/>
                <a:gd name="connsiteY6" fmla="*/ 139007 h 266830"/>
                <a:gd name="connsiteX7" fmla="*/ 196546 w 258617"/>
                <a:gd name="connsiteY7" fmla="*/ 121929 h 266830"/>
                <a:gd name="connsiteX8" fmla="*/ 230701 w 258617"/>
                <a:gd name="connsiteY8" fmla="*/ 103989 h 266830"/>
                <a:gd name="connsiteX9" fmla="*/ 231736 w 258617"/>
                <a:gd name="connsiteY9" fmla="*/ 80184 h 266830"/>
                <a:gd name="connsiteX10" fmla="*/ 247951 w 258617"/>
                <a:gd name="connsiteY10" fmla="*/ 2386 h 266830"/>
                <a:gd name="connsiteX11" fmla="*/ 256231 w 258617"/>
                <a:gd name="connsiteY11" fmla="*/ 1351 h 266830"/>
                <a:gd name="connsiteX12" fmla="*/ 257266 w 258617"/>
                <a:gd name="connsiteY12" fmla="*/ 9631 h 266830"/>
                <a:gd name="connsiteX13" fmla="*/ 242949 w 258617"/>
                <a:gd name="connsiteY13" fmla="*/ 76906 h 266830"/>
                <a:gd name="connsiteX14" fmla="*/ 239326 w 258617"/>
                <a:gd name="connsiteY14" fmla="*/ 112097 h 266830"/>
                <a:gd name="connsiteX15" fmla="*/ 199651 w 258617"/>
                <a:gd name="connsiteY15" fmla="*/ 133487 h 266830"/>
                <a:gd name="connsiteX16" fmla="*/ 168256 w 258617"/>
                <a:gd name="connsiteY16" fmla="*/ 147977 h 266830"/>
                <a:gd name="connsiteX17" fmla="*/ 101843 w 258617"/>
                <a:gd name="connsiteY17" fmla="*/ 191964 h 266830"/>
                <a:gd name="connsiteX18" fmla="*/ 80108 w 258617"/>
                <a:gd name="connsiteY18" fmla="*/ 204040 h 266830"/>
                <a:gd name="connsiteX19" fmla="*/ 76658 w 258617"/>
                <a:gd name="connsiteY19" fmla="*/ 205938 h 266830"/>
                <a:gd name="connsiteX20" fmla="*/ 11107 w 258617"/>
                <a:gd name="connsiteY20" fmla="*/ 263380 h 266830"/>
                <a:gd name="connsiteX21" fmla="*/ 6105 w 258617"/>
                <a:gd name="connsiteY21" fmla="*/ 266831 h 26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8617" h="266830">
                  <a:moveTo>
                    <a:pt x="6105" y="266831"/>
                  </a:moveTo>
                  <a:cubicBezTo>
                    <a:pt x="5242" y="266831"/>
                    <a:pt x="4552" y="266658"/>
                    <a:pt x="3689" y="266485"/>
                  </a:cubicBezTo>
                  <a:cubicBezTo>
                    <a:pt x="757" y="265278"/>
                    <a:pt x="-795" y="261483"/>
                    <a:pt x="412" y="258723"/>
                  </a:cubicBezTo>
                  <a:cubicBezTo>
                    <a:pt x="13695" y="227845"/>
                    <a:pt x="45435" y="210077"/>
                    <a:pt x="71137" y="195587"/>
                  </a:cubicBezTo>
                  <a:lnTo>
                    <a:pt x="74588" y="193690"/>
                  </a:lnTo>
                  <a:cubicBezTo>
                    <a:pt x="82350" y="189205"/>
                    <a:pt x="89595" y="185410"/>
                    <a:pt x="96495" y="181442"/>
                  </a:cubicBezTo>
                  <a:cubicBezTo>
                    <a:pt x="119783" y="168849"/>
                    <a:pt x="138413" y="159017"/>
                    <a:pt x="160666" y="139007"/>
                  </a:cubicBezTo>
                  <a:cubicBezTo>
                    <a:pt x="172051" y="129002"/>
                    <a:pt x="184644" y="125552"/>
                    <a:pt x="196546" y="121929"/>
                  </a:cubicBezTo>
                  <a:cubicBezTo>
                    <a:pt x="209138" y="118307"/>
                    <a:pt x="221041" y="114857"/>
                    <a:pt x="230701" y="103989"/>
                  </a:cubicBezTo>
                  <a:cubicBezTo>
                    <a:pt x="236394" y="97261"/>
                    <a:pt x="235186" y="91741"/>
                    <a:pt x="231736" y="80184"/>
                  </a:cubicBezTo>
                  <a:cubicBezTo>
                    <a:pt x="226561" y="62761"/>
                    <a:pt x="219833" y="39301"/>
                    <a:pt x="247951" y="2386"/>
                  </a:cubicBezTo>
                  <a:cubicBezTo>
                    <a:pt x="249849" y="-202"/>
                    <a:pt x="253644" y="-892"/>
                    <a:pt x="256231" y="1351"/>
                  </a:cubicBezTo>
                  <a:cubicBezTo>
                    <a:pt x="258819" y="3421"/>
                    <a:pt x="259509" y="7216"/>
                    <a:pt x="257266" y="9631"/>
                  </a:cubicBezTo>
                  <a:cubicBezTo>
                    <a:pt x="232771" y="41716"/>
                    <a:pt x="238119" y="60346"/>
                    <a:pt x="242949" y="76906"/>
                  </a:cubicBezTo>
                  <a:cubicBezTo>
                    <a:pt x="246399" y="88292"/>
                    <a:pt x="249849" y="100194"/>
                    <a:pt x="239326" y="112097"/>
                  </a:cubicBezTo>
                  <a:cubicBezTo>
                    <a:pt x="227424" y="125552"/>
                    <a:pt x="213279" y="129692"/>
                    <a:pt x="199651" y="133487"/>
                  </a:cubicBezTo>
                  <a:cubicBezTo>
                    <a:pt x="188266" y="136764"/>
                    <a:pt x="177744" y="139697"/>
                    <a:pt x="168256" y="147977"/>
                  </a:cubicBezTo>
                  <a:cubicBezTo>
                    <a:pt x="144796" y="168505"/>
                    <a:pt x="124958" y="179545"/>
                    <a:pt x="101843" y="191964"/>
                  </a:cubicBezTo>
                  <a:cubicBezTo>
                    <a:pt x="94943" y="195587"/>
                    <a:pt x="87698" y="199382"/>
                    <a:pt x="80108" y="204040"/>
                  </a:cubicBezTo>
                  <a:lnTo>
                    <a:pt x="76658" y="205938"/>
                  </a:lnTo>
                  <a:cubicBezTo>
                    <a:pt x="52680" y="219393"/>
                    <a:pt x="22837" y="236297"/>
                    <a:pt x="11107" y="263380"/>
                  </a:cubicBezTo>
                  <a:cubicBezTo>
                    <a:pt x="10590" y="265623"/>
                    <a:pt x="8175" y="266831"/>
                    <a:pt x="6105" y="266831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99" name="Gráfico 1344">
              <a:extLst>
                <a:ext uri="{FF2B5EF4-FFF2-40B4-BE49-F238E27FC236}">
                  <a16:creationId xmlns:a16="http://schemas.microsoft.com/office/drawing/2014/main" id="{5734CB3A-661E-4A74-BB03-D5608A33C340}"/>
                </a:ext>
              </a:extLst>
            </p:cNvPr>
            <p:cNvSpPr/>
            <p:nvPr/>
          </p:nvSpPr>
          <p:spPr>
            <a:xfrm>
              <a:off x="9183785" y="5323931"/>
              <a:ext cx="276197" cy="284399"/>
            </a:xfrm>
            <a:custGeom>
              <a:avLst/>
              <a:gdLst>
                <a:gd name="connsiteX0" fmla="*/ 14736 w 276197"/>
                <a:gd name="connsiteY0" fmla="*/ 284400 h 284399"/>
                <a:gd name="connsiteX1" fmla="*/ 10596 w 276197"/>
                <a:gd name="connsiteY1" fmla="*/ 283882 h 284399"/>
                <a:gd name="connsiteX2" fmla="*/ 8871 w 276197"/>
                <a:gd name="connsiteY2" fmla="*/ 283365 h 284399"/>
                <a:gd name="connsiteX3" fmla="*/ 936 w 276197"/>
                <a:gd name="connsiteY3" fmla="*/ 275085 h 284399"/>
                <a:gd name="connsiteX4" fmla="*/ 1281 w 276197"/>
                <a:gd name="connsiteY4" fmla="*/ 264044 h 284399"/>
                <a:gd name="connsiteX5" fmla="*/ 74594 w 276197"/>
                <a:gd name="connsiteY5" fmla="*/ 197459 h 284399"/>
                <a:gd name="connsiteX6" fmla="*/ 79079 w 276197"/>
                <a:gd name="connsiteY6" fmla="*/ 194872 h 284399"/>
                <a:gd name="connsiteX7" fmla="*/ 96329 w 276197"/>
                <a:gd name="connsiteY7" fmla="*/ 185212 h 284399"/>
                <a:gd name="connsiteX8" fmla="*/ 103056 w 276197"/>
                <a:gd name="connsiteY8" fmla="*/ 181589 h 284399"/>
                <a:gd name="connsiteX9" fmla="*/ 163777 w 276197"/>
                <a:gd name="connsiteY9" fmla="*/ 141396 h 284399"/>
                <a:gd name="connsiteX10" fmla="*/ 200865 w 276197"/>
                <a:gd name="connsiteY10" fmla="*/ 123111 h 284399"/>
                <a:gd name="connsiteX11" fmla="*/ 202762 w 276197"/>
                <a:gd name="connsiteY11" fmla="*/ 122594 h 284399"/>
                <a:gd name="connsiteX12" fmla="*/ 232950 w 276197"/>
                <a:gd name="connsiteY12" fmla="*/ 107069 h 284399"/>
                <a:gd name="connsiteX13" fmla="*/ 232260 w 276197"/>
                <a:gd name="connsiteY13" fmla="*/ 91371 h 284399"/>
                <a:gd name="connsiteX14" fmla="*/ 249855 w 276197"/>
                <a:gd name="connsiteY14" fmla="*/ 5810 h 284399"/>
                <a:gd name="connsiteX15" fmla="*/ 259860 w 276197"/>
                <a:gd name="connsiteY15" fmla="*/ 118 h 284399"/>
                <a:gd name="connsiteX16" fmla="*/ 270728 w 276197"/>
                <a:gd name="connsiteY16" fmla="*/ 3395 h 284399"/>
                <a:gd name="connsiteX17" fmla="*/ 272970 w 276197"/>
                <a:gd name="connsiteY17" fmla="*/ 23923 h 284399"/>
                <a:gd name="connsiteX18" fmla="*/ 260377 w 276197"/>
                <a:gd name="connsiteY18" fmla="*/ 83263 h 284399"/>
                <a:gd name="connsiteX19" fmla="*/ 254857 w 276197"/>
                <a:gd name="connsiteY19" fmla="*/ 126561 h 284399"/>
                <a:gd name="connsiteX20" fmla="*/ 211042 w 276197"/>
                <a:gd name="connsiteY20" fmla="*/ 150539 h 284399"/>
                <a:gd name="connsiteX21" fmla="*/ 183097 w 276197"/>
                <a:gd name="connsiteY21" fmla="*/ 163304 h 284399"/>
                <a:gd name="connsiteX22" fmla="*/ 115132 w 276197"/>
                <a:gd name="connsiteY22" fmla="*/ 208327 h 284399"/>
                <a:gd name="connsiteX23" fmla="*/ 93569 w 276197"/>
                <a:gd name="connsiteY23" fmla="*/ 220229 h 284399"/>
                <a:gd name="connsiteX24" fmla="*/ 89946 w 276197"/>
                <a:gd name="connsiteY24" fmla="*/ 222299 h 284399"/>
                <a:gd name="connsiteX25" fmla="*/ 28018 w 276197"/>
                <a:gd name="connsiteY25" fmla="*/ 275602 h 284399"/>
                <a:gd name="connsiteX26" fmla="*/ 14736 w 276197"/>
                <a:gd name="connsiteY26" fmla="*/ 284400 h 284399"/>
                <a:gd name="connsiteX27" fmla="*/ 17151 w 276197"/>
                <a:gd name="connsiteY27" fmla="*/ 270945 h 284399"/>
                <a:gd name="connsiteX28" fmla="*/ 17151 w 276197"/>
                <a:gd name="connsiteY28" fmla="*/ 270945 h 284399"/>
                <a:gd name="connsiteX29" fmla="*/ 17151 w 276197"/>
                <a:gd name="connsiteY29" fmla="*/ 270945 h 284399"/>
                <a:gd name="connsiteX30" fmla="*/ 12148 w 276197"/>
                <a:gd name="connsiteY30" fmla="*/ 268874 h 284399"/>
                <a:gd name="connsiteX31" fmla="*/ 11976 w 276197"/>
                <a:gd name="connsiteY31" fmla="*/ 269220 h 284399"/>
                <a:gd name="connsiteX32" fmla="*/ 12148 w 276197"/>
                <a:gd name="connsiteY32" fmla="*/ 268874 h 284399"/>
                <a:gd name="connsiteX33" fmla="*/ 263655 w 276197"/>
                <a:gd name="connsiteY33" fmla="*/ 16333 h 284399"/>
                <a:gd name="connsiteX34" fmla="*/ 263655 w 276197"/>
                <a:gd name="connsiteY34" fmla="*/ 16333 h 284399"/>
                <a:gd name="connsiteX35" fmla="*/ 263655 w 276197"/>
                <a:gd name="connsiteY35" fmla="*/ 16333 h 284399"/>
                <a:gd name="connsiteX36" fmla="*/ 259342 w 276197"/>
                <a:gd name="connsiteY36" fmla="*/ 13228 h 284399"/>
                <a:gd name="connsiteX37" fmla="*/ 259342 w 276197"/>
                <a:gd name="connsiteY37" fmla="*/ 13228 h 284399"/>
                <a:gd name="connsiteX38" fmla="*/ 259342 w 276197"/>
                <a:gd name="connsiteY38" fmla="*/ 13228 h 28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6197" h="284399">
                  <a:moveTo>
                    <a:pt x="14736" y="284400"/>
                  </a:moveTo>
                  <a:cubicBezTo>
                    <a:pt x="13011" y="284400"/>
                    <a:pt x="11631" y="284055"/>
                    <a:pt x="10596" y="283882"/>
                  </a:cubicBezTo>
                  <a:lnTo>
                    <a:pt x="8871" y="283365"/>
                  </a:lnTo>
                  <a:cubicBezTo>
                    <a:pt x="5248" y="281812"/>
                    <a:pt x="2316" y="278880"/>
                    <a:pt x="936" y="275085"/>
                  </a:cubicBezTo>
                  <a:cubicBezTo>
                    <a:pt x="-444" y="271462"/>
                    <a:pt x="-272" y="267495"/>
                    <a:pt x="1281" y="264044"/>
                  </a:cubicBezTo>
                  <a:cubicBezTo>
                    <a:pt x="15426" y="231097"/>
                    <a:pt x="48201" y="212467"/>
                    <a:pt x="74594" y="197459"/>
                  </a:cubicBezTo>
                  <a:lnTo>
                    <a:pt x="79079" y="194872"/>
                  </a:lnTo>
                  <a:cubicBezTo>
                    <a:pt x="84944" y="191421"/>
                    <a:pt x="90809" y="188317"/>
                    <a:pt x="96329" y="185212"/>
                  </a:cubicBezTo>
                  <a:lnTo>
                    <a:pt x="103056" y="181589"/>
                  </a:lnTo>
                  <a:cubicBezTo>
                    <a:pt x="125137" y="169514"/>
                    <a:pt x="142731" y="160026"/>
                    <a:pt x="163777" y="141396"/>
                  </a:cubicBezTo>
                  <a:cubicBezTo>
                    <a:pt x="175852" y="130529"/>
                    <a:pt x="189134" y="126561"/>
                    <a:pt x="200865" y="123111"/>
                  </a:cubicBezTo>
                  <a:lnTo>
                    <a:pt x="202762" y="122594"/>
                  </a:lnTo>
                  <a:cubicBezTo>
                    <a:pt x="214837" y="119143"/>
                    <a:pt x="225015" y="116211"/>
                    <a:pt x="232950" y="107069"/>
                  </a:cubicBezTo>
                  <a:cubicBezTo>
                    <a:pt x="235365" y="104309"/>
                    <a:pt x="235710" y="103274"/>
                    <a:pt x="232260" y="91371"/>
                  </a:cubicBezTo>
                  <a:cubicBezTo>
                    <a:pt x="226912" y="73431"/>
                    <a:pt x="218977" y="46348"/>
                    <a:pt x="249855" y="5810"/>
                  </a:cubicBezTo>
                  <a:cubicBezTo>
                    <a:pt x="252098" y="2705"/>
                    <a:pt x="255893" y="635"/>
                    <a:pt x="259860" y="118"/>
                  </a:cubicBezTo>
                  <a:cubicBezTo>
                    <a:pt x="263828" y="-400"/>
                    <a:pt x="267623" y="808"/>
                    <a:pt x="270728" y="3395"/>
                  </a:cubicBezTo>
                  <a:cubicBezTo>
                    <a:pt x="277110" y="8743"/>
                    <a:pt x="277973" y="17713"/>
                    <a:pt x="272970" y="23923"/>
                  </a:cubicBezTo>
                  <a:cubicBezTo>
                    <a:pt x="251235" y="52558"/>
                    <a:pt x="255720" y="68083"/>
                    <a:pt x="260377" y="83263"/>
                  </a:cubicBezTo>
                  <a:cubicBezTo>
                    <a:pt x="263828" y="94993"/>
                    <a:pt x="268658" y="111036"/>
                    <a:pt x="254857" y="126561"/>
                  </a:cubicBezTo>
                  <a:cubicBezTo>
                    <a:pt x="241057" y="142086"/>
                    <a:pt x="225188" y="146571"/>
                    <a:pt x="211042" y="150539"/>
                  </a:cubicBezTo>
                  <a:cubicBezTo>
                    <a:pt x="200175" y="153644"/>
                    <a:pt x="190859" y="156231"/>
                    <a:pt x="183097" y="163304"/>
                  </a:cubicBezTo>
                  <a:cubicBezTo>
                    <a:pt x="158084" y="185212"/>
                    <a:pt x="137212" y="196424"/>
                    <a:pt x="115132" y="208327"/>
                  </a:cubicBezTo>
                  <a:cubicBezTo>
                    <a:pt x="108059" y="212122"/>
                    <a:pt x="100986" y="215917"/>
                    <a:pt x="93569" y="220229"/>
                  </a:cubicBezTo>
                  <a:lnTo>
                    <a:pt x="89946" y="222299"/>
                  </a:lnTo>
                  <a:cubicBezTo>
                    <a:pt x="67176" y="235237"/>
                    <a:pt x="38713" y="251279"/>
                    <a:pt x="28018" y="275602"/>
                  </a:cubicBezTo>
                  <a:cubicBezTo>
                    <a:pt x="26121" y="280605"/>
                    <a:pt x="20773" y="284400"/>
                    <a:pt x="14736" y="284400"/>
                  </a:cubicBezTo>
                  <a:close/>
                  <a:moveTo>
                    <a:pt x="17151" y="270945"/>
                  </a:moveTo>
                  <a:cubicBezTo>
                    <a:pt x="17151" y="270945"/>
                    <a:pt x="17151" y="270945"/>
                    <a:pt x="17151" y="270945"/>
                  </a:cubicBezTo>
                  <a:cubicBezTo>
                    <a:pt x="17151" y="270945"/>
                    <a:pt x="17151" y="270945"/>
                    <a:pt x="17151" y="270945"/>
                  </a:cubicBezTo>
                  <a:close/>
                  <a:moveTo>
                    <a:pt x="12148" y="268874"/>
                  </a:moveTo>
                  <a:cubicBezTo>
                    <a:pt x="12148" y="269047"/>
                    <a:pt x="11976" y="269220"/>
                    <a:pt x="11976" y="269220"/>
                  </a:cubicBezTo>
                  <a:cubicBezTo>
                    <a:pt x="11976" y="269047"/>
                    <a:pt x="11976" y="268874"/>
                    <a:pt x="12148" y="268874"/>
                  </a:cubicBezTo>
                  <a:close/>
                  <a:moveTo>
                    <a:pt x="263655" y="16333"/>
                  </a:moveTo>
                  <a:cubicBezTo>
                    <a:pt x="263655" y="16333"/>
                    <a:pt x="263655" y="16333"/>
                    <a:pt x="263655" y="16333"/>
                  </a:cubicBezTo>
                  <a:cubicBezTo>
                    <a:pt x="263655" y="16333"/>
                    <a:pt x="263655" y="16333"/>
                    <a:pt x="263655" y="16333"/>
                  </a:cubicBezTo>
                  <a:close/>
                  <a:moveTo>
                    <a:pt x="259342" y="13228"/>
                  </a:moveTo>
                  <a:cubicBezTo>
                    <a:pt x="259342" y="13228"/>
                    <a:pt x="259170" y="13228"/>
                    <a:pt x="259342" y="13228"/>
                  </a:cubicBezTo>
                  <a:cubicBezTo>
                    <a:pt x="259170" y="13228"/>
                    <a:pt x="259342" y="13228"/>
                    <a:pt x="259342" y="13228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3" name="Gráfico 1344">
            <a:extLst>
              <a:ext uri="{FF2B5EF4-FFF2-40B4-BE49-F238E27FC236}">
                <a16:creationId xmlns:a16="http://schemas.microsoft.com/office/drawing/2014/main" id="{2A44541A-1DCB-4A13-9597-4432A0C4BCED}"/>
              </a:ext>
            </a:extLst>
          </p:cNvPr>
          <p:cNvGrpSpPr/>
          <p:nvPr/>
        </p:nvGrpSpPr>
        <p:grpSpPr>
          <a:xfrm>
            <a:off x="9196808" y="4973371"/>
            <a:ext cx="599399" cy="549243"/>
            <a:chOff x="9316554" y="5081857"/>
            <a:chExt cx="599399" cy="549243"/>
          </a:xfrm>
          <a:solidFill>
            <a:srgbClr val="F59D24"/>
          </a:solidFill>
        </p:grpSpPr>
        <p:sp>
          <p:nvSpPr>
            <p:cNvPr id="596" name="Gráfico 1344">
              <a:extLst>
                <a:ext uri="{FF2B5EF4-FFF2-40B4-BE49-F238E27FC236}">
                  <a16:creationId xmlns:a16="http://schemas.microsoft.com/office/drawing/2014/main" id="{022DDD58-E07B-4E67-BC80-82670CB8FEC0}"/>
                </a:ext>
              </a:extLst>
            </p:cNvPr>
            <p:cNvSpPr/>
            <p:nvPr/>
          </p:nvSpPr>
          <p:spPr>
            <a:xfrm>
              <a:off x="9324929" y="5090655"/>
              <a:ext cx="582054" cy="531821"/>
            </a:xfrm>
            <a:custGeom>
              <a:avLst/>
              <a:gdLst>
                <a:gd name="connsiteX0" fmla="*/ 73693 w 582054"/>
                <a:gd name="connsiteY0" fmla="*/ 531821 h 531821"/>
                <a:gd name="connsiteX1" fmla="*/ 5210 w 582054"/>
                <a:gd name="connsiteY1" fmla="*/ 526302 h 531821"/>
                <a:gd name="connsiteX2" fmla="*/ 35 w 582054"/>
                <a:gd name="connsiteY2" fmla="*/ 519401 h 531821"/>
                <a:gd name="connsiteX3" fmla="*/ 6935 w 582054"/>
                <a:gd name="connsiteY3" fmla="*/ 514571 h 531821"/>
                <a:gd name="connsiteX4" fmla="*/ 109746 w 582054"/>
                <a:gd name="connsiteY4" fmla="*/ 517331 h 531821"/>
                <a:gd name="connsiteX5" fmla="*/ 133723 w 582054"/>
                <a:gd name="connsiteY5" fmla="*/ 502668 h 531821"/>
                <a:gd name="connsiteX6" fmla="*/ 151319 w 582054"/>
                <a:gd name="connsiteY6" fmla="*/ 484556 h 531821"/>
                <a:gd name="connsiteX7" fmla="*/ 172191 w 582054"/>
                <a:gd name="connsiteY7" fmla="*/ 476621 h 531821"/>
                <a:gd name="connsiteX8" fmla="*/ 184784 w 582054"/>
                <a:gd name="connsiteY8" fmla="*/ 472998 h 531821"/>
                <a:gd name="connsiteX9" fmla="*/ 197204 w 582054"/>
                <a:gd name="connsiteY9" fmla="*/ 462131 h 531821"/>
                <a:gd name="connsiteX10" fmla="*/ 210831 w 582054"/>
                <a:gd name="connsiteY10" fmla="*/ 450573 h 531821"/>
                <a:gd name="connsiteX11" fmla="*/ 230152 w 582054"/>
                <a:gd name="connsiteY11" fmla="*/ 448158 h 531821"/>
                <a:gd name="connsiteX12" fmla="*/ 244987 w 582054"/>
                <a:gd name="connsiteY12" fmla="*/ 446605 h 531821"/>
                <a:gd name="connsiteX13" fmla="*/ 273277 w 582054"/>
                <a:gd name="connsiteY13" fmla="*/ 420213 h 531821"/>
                <a:gd name="connsiteX14" fmla="*/ 279832 w 582054"/>
                <a:gd name="connsiteY14" fmla="*/ 412105 h 531821"/>
                <a:gd name="connsiteX15" fmla="*/ 290010 w 582054"/>
                <a:gd name="connsiteY15" fmla="*/ 395891 h 531821"/>
                <a:gd name="connsiteX16" fmla="*/ 299152 w 582054"/>
                <a:gd name="connsiteY16" fmla="*/ 381228 h 531821"/>
                <a:gd name="connsiteX17" fmla="*/ 310537 w 582054"/>
                <a:gd name="connsiteY17" fmla="*/ 369843 h 531821"/>
                <a:gd name="connsiteX18" fmla="*/ 322268 w 582054"/>
                <a:gd name="connsiteY18" fmla="*/ 358113 h 531821"/>
                <a:gd name="connsiteX19" fmla="*/ 351765 w 582054"/>
                <a:gd name="connsiteY19" fmla="*/ 296530 h 531821"/>
                <a:gd name="connsiteX20" fmla="*/ 317610 w 582054"/>
                <a:gd name="connsiteY20" fmla="*/ 207519 h 531821"/>
                <a:gd name="connsiteX21" fmla="*/ 324682 w 582054"/>
                <a:gd name="connsiteY21" fmla="*/ 177159 h 531821"/>
                <a:gd name="connsiteX22" fmla="*/ 332617 w 582054"/>
                <a:gd name="connsiteY22" fmla="*/ 149904 h 531821"/>
                <a:gd name="connsiteX23" fmla="*/ 332790 w 582054"/>
                <a:gd name="connsiteY23" fmla="*/ 147834 h 531821"/>
                <a:gd name="connsiteX24" fmla="*/ 334515 w 582054"/>
                <a:gd name="connsiteY24" fmla="*/ 146281 h 531821"/>
                <a:gd name="connsiteX25" fmla="*/ 369188 w 582054"/>
                <a:gd name="connsiteY25" fmla="*/ 122993 h 531821"/>
                <a:gd name="connsiteX26" fmla="*/ 393856 w 582054"/>
                <a:gd name="connsiteY26" fmla="*/ 107813 h 531821"/>
                <a:gd name="connsiteX27" fmla="*/ 417833 w 582054"/>
                <a:gd name="connsiteY27" fmla="*/ 83318 h 531821"/>
                <a:gd name="connsiteX28" fmla="*/ 432151 w 582054"/>
                <a:gd name="connsiteY28" fmla="*/ 66758 h 531821"/>
                <a:gd name="connsiteX29" fmla="*/ 576017 w 582054"/>
                <a:gd name="connsiteY29" fmla="*/ 0 h 531821"/>
                <a:gd name="connsiteX30" fmla="*/ 582055 w 582054"/>
                <a:gd name="connsiteY30" fmla="*/ 6038 h 531821"/>
                <a:gd name="connsiteX31" fmla="*/ 576017 w 582054"/>
                <a:gd name="connsiteY31" fmla="*/ 12075 h 531821"/>
                <a:gd name="connsiteX32" fmla="*/ 440776 w 582054"/>
                <a:gd name="connsiteY32" fmla="*/ 75210 h 531821"/>
                <a:gd name="connsiteX33" fmla="*/ 427148 w 582054"/>
                <a:gd name="connsiteY33" fmla="*/ 91253 h 531821"/>
                <a:gd name="connsiteX34" fmla="*/ 401100 w 582054"/>
                <a:gd name="connsiteY34" fmla="*/ 117646 h 531821"/>
                <a:gd name="connsiteX35" fmla="*/ 375053 w 582054"/>
                <a:gd name="connsiteY35" fmla="*/ 133688 h 531821"/>
                <a:gd name="connsiteX36" fmla="*/ 344348 w 582054"/>
                <a:gd name="connsiteY36" fmla="*/ 153699 h 531821"/>
                <a:gd name="connsiteX37" fmla="*/ 335723 w 582054"/>
                <a:gd name="connsiteY37" fmla="*/ 182506 h 531821"/>
                <a:gd name="connsiteX38" fmla="*/ 329685 w 582054"/>
                <a:gd name="connsiteY38" fmla="*/ 207692 h 531821"/>
                <a:gd name="connsiteX39" fmla="*/ 358148 w 582054"/>
                <a:gd name="connsiteY39" fmla="*/ 286870 h 531821"/>
                <a:gd name="connsiteX40" fmla="*/ 363668 w 582054"/>
                <a:gd name="connsiteY40" fmla="*/ 294977 h 531821"/>
                <a:gd name="connsiteX41" fmla="*/ 332100 w 582054"/>
                <a:gd name="connsiteY41" fmla="*/ 365530 h 531821"/>
                <a:gd name="connsiteX42" fmla="*/ 318645 w 582054"/>
                <a:gd name="connsiteY42" fmla="*/ 379158 h 531821"/>
                <a:gd name="connsiteX43" fmla="*/ 308640 w 582054"/>
                <a:gd name="connsiteY43" fmla="*/ 388990 h 531821"/>
                <a:gd name="connsiteX44" fmla="*/ 300705 w 582054"/>
                <a:gd name="connsiteY44" fmla="*/ 401928 h 531821"/>
                <a:gd name="connsiteX45" fmla="*/ 288975 w 582054"/>
                <a:gd name="connsiteY45" fmla="*/ 420213 h 531821"/>
                <a:gd name="connsiteX46" fmla="*/ 282592 w 582054"/>
                <a:gd name="connsiteY46" fmla="*/ 428148 h 531821"/>
                <a:gd name="connsiteX47" fmla="*/ 249644 w 582054"/>
                <a:gd name="connsiteY47" fmla="*/ 458163 h 531821"/>
                <a:gd name="connsiteX48" fmla="*/ 230152 w 582054"/>
                <a:gd name="connsiteY48" fmla="*/ 460579 h 531821"/>
                <a:gd name="connsiteX49" fmla="*/ 216179 w 582054"/>
                <a:gd name="connsiteY49" fmla="*/ 461786 h 531821"/>
                <a:gd name="connsiteX50" fmla="*/ 206174 w 582054"/>
                <a:gd name="connsiteY50" fmla="*/ 470756 h 531821"/>
                <a:gd name="connsiteX51" fmla="*/ 190649 w 582054"/>
                <a:gd name="connsiteY51" fmla="*/ 484038 h 531821"/>
                <a:gd name="connsiteX52" fmla="*/ 174779 w 582054"/>
                <a:gd name="connsiteY52" fmla="*/ 488868 h 531821"/>
                <a:gd name="connsiteX53" fmla="*/ 158564 w 582054"/>
                <a:gd name="connsiteY53" fmla="*/ 494561 h 531821"/>
                <a:gd name="connsiteX54" fmla="*/ 143556 w 582054"/>
                <a:gd name="connsiteY54" fmla="*/ 510431 h 531821"/>
                <a:gd name="connsiteX55" fmla="*/ 112161 w 582054"/>
                <a:gd name="connsiteY55" fmla="*/ 529924 h 531821"/>
                <a:gd name="connsiteX56" fmla="*/ 73693 w 582054"/>
                <a:gd name="connsiteY56" fmla="*/ 531821 h 53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2054" h="531821">
                  <a:moveTo>
                    <a:pt x="73693" y="531821"/>
                  </a:moveTo>
                  <a:cubicBezTo>
                    <a:pt x="47128" y="531821"/>
                    <a:pt x="21253" y="528889"/>
                    <a:pt x="5210" y="526302"/>
                  </a:cubicBezTo>
                  <a:cubicBezTo>
                    <a:pt x="1933" y="525956"/>
                    <a:pt x="-310" y="522679"/>
                    <a:pt x="35" y="519401"/>
                  </a:cubicBezTo>
                  <a:cubicBezTo>
                    <a:pt x="380" y="516123"/>
                    <a:pt x="3658" y="513881"/>
                    <a:pt x="6935" y="514571"/>
                  </a:cubicBezTo>
                  <a:cubicBezTo>
                    <a:pt x="30223" y="518021"/>
                    <a:pt x="74728" y="523024"/>
                    <a:pt x="109746" y="517331"/>
                  </a:cubicBezTo>
                  <a:cubicBezTo>
                    <a:pt x="124581" y="514916"/>
                    <a:pt x="127858" y="510258"/>
                    <a:pt x="133723" y="502668"/>
                  </a:cubicBezTo>
                  <a:cubicBezTo>
                    <a:pt x="137518" y="497494"/>
                    <a:pt x="142348" y="491111"/>
                    <a:pt x="151319" y="484556"/>
                  </a:cubicBezTo>
                  <a:cubicBezTo>
                    <a:pt x="157874" y="479726"/>
                    <a:pt x="165464" y="478001"/>
                    <a:pt x="172191" y="476621"/>
                  </a:cubicBezTo>
                  <a:cubicBezTo>
                    <a:pt x="176849" y="475758"/>
                    <a:pt x="181161" y="474723"/>
                    <a:pt x="184784" y="472998"/>
                  </a:cubicBezTo>
                  <a:cubicBezTo>
                    <a:pt x="189097" y="470583"/>
                    <a:pt x="193064" y="466444"/>
                    <a:pt x="197204" y="462131"/>
                  </a:cubicBezTo>
                  <a:cubicBezTo>
                    <a:pt x="201689" y="457473"/>
                    <a:pt x="206001" y="452988"/>
                    <a:pt x="210831" y="450573"/>
                  </a:cubicBezTo>
                  <a:cubicBezTo>
                    <a:pt x="216869" y="447813"/>
                    <a:pt x="223597" y="447986"/>
                    <a:pt x="230152" y="448158"/>
                  </a:cubicBezTo>
                  <a:cubicBezTo>
                    <a:pt x="235500" y="448331"/>
                    <a:pt x="240674" y="448331"/>
                    <a:pt x="244987" y="446605"/>
                  </a:cubicBezTo>
                  <a:cubicBezTo>
                    <a:pt x="255682" y="442293"/>
                    <a:pt x="264824" y="430563"/>
                    <a:pt x="273277" y="420213"/>
                  </a:cubicBezTo>
                  <a:cubicBezTo>
                    <a:pt x="275347" y="417281"/>
                    <a:pt x="277762" y="414520"/>
                    <a:pt x="279832" y="412105"/>
                  </a:cubicBezTo>
                  <a:cubicBezTo>
                    <a:pt x="283627" y="407448"/>
                    <a:pt x="287077" y="401583"/>
                    <a:pt x="290010" y="395891"/>
                  </a:cubicBezTo>
                  <a:cubicBezTo>
                    <a:pt x="292942" y="390543"/>
                    <a:pt x="295702" y="385368"/>
                    <a:pt x="299152" y="381228"/>
                  </a:cubicBezTo>
                  <a:cubicBezTo>
                    <a:pt x="302085" y="377433"/>
                    <a:pt x="306397" y="373465"/>
                    <a:pt x="310537" y="369843"/>
                  </a:cubicBezTo>
                  <a:cubicBezTo>
                    <a:pt x="315022" y="366048"/>
                    <a:pt x="319508" y="362080"/>
                    <a:pt x="322268" y="358113"/>
                  </a:cubicBezTo>
                  <a:cubicBezTo>
                    <a:pt x="335377" y="340863"/>
                    <a:pt x="355043" y="303430"/>
                    <a:pt x="351765" y="296530"/>
                  </a:cubicBezTo>
                  <a:cubicBezTo>
                    <a:pt x="330375" y="283765"/>
                    <a:pt x="318817" y="253922"/>
                    <a:pt x="317610" y="207519"/>
                  </a:cubicBezTo>
                  <a:cubicBezTo>
                    <a:pt x="317265" y="193374"/>
                    <a:pt x="320887" y="185612"/>
                    <a:pt x="324682" y="177159"/>
                  </a:cubicBezTo>
                  <a:cubicBezTo>
                    <a:pt x="327960" y="170086"/>
                    <a:pt x="331065" y="162669"/>
                    <a:pt x="332617" y="149904"/>
                  </a:cubicBezTo>
                  <a:lnTo>
                    <a:pt x="332790" y="147834"/>
                  </a:lnTo>
                  <a:lnTo>
                    <a:pt x="334515" y="146281"/>
                  </a:lnTo>
                  <a:cubicBezTo>
                    <a:pt x="344520" y="136966"/>
                    <a:pt x="356940" y="129893"/>
                    <a:pt x="369188" y="122993"/>
                  </a:cubicBezTo>
                  <a:cubicBezTo>
                    <a:pt x="378158" y="118163"/>
                    <a:pt x="386438" y="113333"/>
                    <a:pt x="393856" y="107813"/>
                  </a:cubicBezTo>
                  <a:cubicBezTo>
                    <a:pt x="404378" y="99878"/>
                    <a:pt x="410588" y="92288"/>
                    <a:pt x="417833" y="83318"/>
                  </a:cubicBezTo>
                  <a:cubicBezTo>
                    <a:pt x="422146" y="77970"/>
                    <a:pt x="426631" y="72623"/>
                    <a:pt x="432151" y="66758"/>
                  </a:cubicBezTo>
                  <a:cubicBezTo>
                    <a:pt x="477001" y="19838"/>
                    <a:pt x="520299" y="0"/>
                    <a:pt x="576017" y="0"/>
                  </a:cubicBezTo>
                  <a:cubicBezTo>
                    <a:pt x="579294" y="0"/>
                    <a:pt x="582055" y="2587"/>
                    <a:pt x="582055" y="6038"/>
                  </a:cubicBezTo>
                  <a:cubicBezTo>
                    <a:pt x="582055" y="9315"/>
                    <a:pt x="579467" y="12075"/>
                    <a:pt x="576017" y="12075"/>
                  </a:cubicBezTo>
                  <a:cubicBezTo>
                    <a:pt x="523576" y="12075"/>
                    <a:pt x="483211" y="31050"/>
                    <a:pt x="440776" y="75210"/>
                  </a:cubicBezTo>
                  <a:cubicBezTo>
                    <a:pt x="435428" y="80730"/>
                    <a:pt x="431116" y="86078"/>
                    <a:pt x="427148" y="91253"/>
                  </a:cubicBezTo>
                  <a:cubicBezTo>
                    <a:pt x="419731" y="100396"/>
                    <a:pt x="412658" y="109021"/>
                    <a:pt x="401100" y="117646"/>
                  </a:cubicBezTo>
                  <a:cubicBezTo>
                    <a:pt x="392993" y="123683"/>
                    <a:pt x="384023" y="128686"/>
                    <a:pt x="375053" y="133688"/>
                  </a:cubicBezTo>
                  <a:cubicBezTo>
                    <a:pt x="364185" y="139726"/>
                    <a:pt x="352973" y="146109"/>
                    <a:pt x="344348" y="153699"/>
                  </a:cubicBezTo>
                  <a:cubicBezTo>
                    <a:pt x="342623" y="167154"/>
                    <a:pt x="339000" y="175261"/>
                    <a:pt x="335723" y="182506"/>
                  </a:cubicBezTo>
                  <a:cubicBezTo>
                    <a:pt x="332273" y="190269"/>
                    <a:pt x="329512" y="196307"/>
                    <a:pt x="329685" y="207692"/>
                  </a:cubicBezTo>
                  <a:cubicBezTo>
                    <a:pt x="330720" y="249265"/>
                    <a:pt x="340553" y="276692"/>
                    <a:pt x="358148" y="286870"/>
                  </a:cubicBezTo>
                  <a:cubicBezTo>
                    <a:pt x="360046" y="287905"/>
                    <a:pt x="362633" y="290492"/>
                    <a:pt x="363668" y="294977"/>
                  </a:cubicBezTo>
                  <a:cubicBezTo>
                    <a:pt x="367290" y="313607"/>
                    <a:pt x="336758" y="359493"/>
                    <a:pt x="332100" y="365530"/>
                  </a:cubicBezTo>
                  <a:cubicBezTo>
                    <a:pt x="328477" y="370360"/>
                    <a:pt x="323475" y="374845"/>
                    <a:pt x="318645" y="379158"/>
                  </a:cubicBezTo>
                  <a:cubicBezTo>
                    <a:pt x="314850" y="382608"/>
                    <a:pt x="310883" y="385713"/>
                    <a:pt x="308640" y="388990"/>
                  </a:cubicBezTo>
                  <a:cubicBezTo>
                    <a:pt x="306053" y="392440"/>
                    <a:pt x="303292" y="397098"/>
                    <a:pt x="300705" y="401928"/>
                  </a:cubicBezTo>
                  <a:cubicBezTo>
                    <a:pt x="297255" y="408310"/>
                    <a:pt x="293632" y="414693"/>
                    <a:pt x="288975" y="420213"/>
                  </a:cubicBezTo>
                  <a:cubicBezTo>
                    <a:pt x="286905" y="422628"/>
                    <a:pt x="284835" y="425388"/>
                    <a:pt x="282592" y="428148"/>
                  </a:cubicBezTo>
                  <a:cubicBezTo>
                    <a:pt x="273450" y="439706"/>
                    <a:pt x="263099" y="452988"/>
                    <a:pt x="249644" y="458163"/>
                  </a:cubicBezTo>
                  <a:cubicBezTo>
                    <a:pt x="243262" y="460751"/>
                    <a:pt x="236362" y="460579"/>
                    <a:pt x="230152" y="460579"/>
                  </a:cubicBezTo>
                  <a:cubicBezTo>
                    <a:pt x="224804" y="460406"/>
                    <a:pt x="219974" y="460406"/>
                    <a:pt x="216179" y="461786"/>
                  </a:cubicBezTo>
                  <a:cubicBezTo>
                    <a:pt x="213247" y="462993"/>
                    <a:pt x="209624" y="466961"/>
                    <a:pt x="206174" y="470756"/>
                  </a:cubicBezTo>
                  <a:cubicBezTo>
                    <a:pt x="201689" y="475413"/>
                    <a:pt x="196514" y="480761"/>
                    <a:pt x="190649" y="484038"/>
                  </a:cubicBezTo>
                  <a:cubicBezTo>
                    <a:pt x="185474" y="486626"/>
                    <a:pt x="180126" y="487834"/>
                    <a:pt x="174779" y="488868"/>
                  </a:cubicBezTo>
                  <a:cubicBezTo>
                    <a:pt x="168741" y="490076"/>
                    <a:pt x="163049" y="491284"/>
                    <a:pt x="158564" y="494561"/>
                  </a:cubicBezTo>
                  <a:cubicBezTo>
                    <a:pt x="151146" y="500254"/>
                    <a:pt x="147178" y="505428"/>
                    <a:pt x="143556" y="510431"/>
                  </a:cubicBezTo>
                  <a:cubicBezTo>
                    <a:pt x="137346" y="518711"/>
                    <a:pt x="131653" y="526646"/>
                    <a:pt x="112161" y="529924"/>
                  </a:cubicBezTo>
                  <a:cubicBezTo>
                    <a:pt x="99741" y="531132"/>
                    <a:pt x="86631" y="531821"/>
                    <a:pt x="73693" y="531821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97" name="Gráfico 1344">
              <a:extLst>
                <a:ext uri="{FF2B5EF4-FFF2-40B4-BE49-F238E27FC236}">
                  <a16:creationId xmlns:a16="http://schemas.microsoft.com/office/drawing/2014/main" id="{5280DED1-2631-492C-889B-BF02E772A22F}"/>
                </a:ext>
              </a:extLst>
            </p:cNvPr>
            <p:cNvSpPr/>
            <p:nvPr/>
          </p:nvSpPr>
          <p:spPr>
            <a:xfrm>
              <a:off x="9316554" y="5081857"/>
              <a:ext cx="599399" cy="549243"/>
            </a:xfrm>
            <a:custGeom>
              <a:avLst/>
              <a:gdLst>
                <a:gd name="connsiteX0" fmla="*/ 82068 w 599399"/>
                <a:gd name="connsiteY0" fmla="*/ 549244 h 549243"/>
                <a:gd name="connsiteX1" fmla="*/ 12378 w 599399"/>
                <a:gd name="connsiteY1" fmla="*/ 543552 h 549243"/>
                <a:gd name="connsiteX2" fmla="*/ 3062 w 599399"/>
                <a:gd name="connsiteY2" fmla="*/ 538031 h 549243"/>
                <a:gd name="connsiteX3" fmla="*/ 130 w 599399"/>
                <a:gd name="connsiteY3" fmla="*/ 527164 h 549243"/>
                <a:gd name="connsiteX4" fmla="*/ 5995 w 599399"/>
                <a:gd name="connsiteY4" fmla="*/ 517332 h 549243"/>
                <a:gd name="connsiteX5" fmla="*/ 17208 w 599399"/>
                <a:gd name="connsiteY5" fmla="*/ 514916 h 549243"/>
                <a:gd name="connsiteX6" fmla="*/ 116913 w 599399"/>
                <a:gd name="connsiteY6" fmla="*/ 517676 h 549243"/>
                <a:gd name="connsiteX7" fmla="*/ 135198 w 599399"/>
                <a:gd name="connsiteY7" fmla="*/ 506464 h 549243"/>
                <a:gd name="connsiteX8" fmla="*/ 154691 w 599399"/>
                <a:gd name="connsiteY8" fmla="*/ 486281 h 549243"/>
                <a:gd name="connsiteX9" fmla="*/ 179187 w 599399"/>
                <a:gd name="connsiteY9" fmla="*/ 476794 h 549243"/>
                <a:gd name="connsiteX10" fmla="*/ 189709 w 599399"/>
                <a:gd name="connsiteY10" fmla="*/ 473861 h 549243"/>
                <a:gd name="connsiteX11" fmla="*/ 199542 w 599399"/>
                <a:gd name="connsiteY11" fmla="*/ 464891 h 549243"/>
                <a:gd name="connsiteX12" fmla="*/ 215757 w 599399"/>
                <a:gd name="connsiteY12" fmla="*/ 451608 h 549243"/>
                <a:gd name="connsiteX13" fmla="*/ 239045 w 599399"/>
                <a:gd name="connsiteY13" fmla="*/ 448503 h 549243"/>
                <a:gd name="connsiteX14" fmla="*/ 250257 w 599399"/>
                <a:gd name="connsiteY14" fmla="*/ 447641 h 549243"/>
                <a:gd name="connsiteX15" fmla="*/ 274407 w 599399"/>
                <a:gd name="connsiteY15" fmla="*/ 424526 h 549243"/>
                <a:gd name="connsiteX16" fmla="*/ 281997 w 599399"/>
                <a:gd name="connsiteY16" fmla="*/ 415211 h 549243"/>
                <a:gd name="connsiteX17" fmla="*/ 290967 w 599399"/>
                <a:gd name="connsiteY17" fmla="*/ 400893 h 549243"/>
                <a:gd name="connsiteX18" fmla="*/ 301145 w 599399"/>
                <a:gd name="connsiteY18" fmla="*/ 384678 h 549243"/>
                <a:gd name="connsiteX19" fmla="*/ 313393 w 599399"/>
                <a:gd name="connsiteY19" fmla="*/ 372258 h 549243"/>
                <a:gd name="connsiteX20" fmla="*/ 323742 w 599399"/>
                <a:gd name="connsiteY20" fmla="*/ 362080 h 549243"/>
                <a:gd name="connsiteX21" fmla="*/ 351688 w 599399"/>
                <a:gd name="connsiteY21" fmla="*/ 309813 h 549243"/>
                <a:gd name="connsiteX22" fmla="*/ 317532 w 599399"/>
                <a:gd name="connsiteY22" fmla="*/ 216489 h 549243"/>
                <a:gd name="connsiteX23" fmla="*/ 325467 w 599399"/>
                <a:gd name="connsiteY23" fmla="*/ 182334 h 549243"/>
                <a:gd name="connsiteX24" fmla="*/ 332713 w 599399"/>
                <a:gd name="connsiteY24" fmla="*/ 157666 h 549243"/>
                <a:gd name="connsiteX25" fmla="*/ 333230 w 599399"/>
                <a:gd name="connsiteY25" fmla="*/ 152319 h 549243"/>
                <a:gd name="connsiteX26" fmla="*/ 337543 w 599399"/>
                <a:gd name="connsiteY26" fmla="*/ 148524 h 549243"/>
                <a:gd name="connsiteX27" fmla="*/ 373595 w 599399"/>
                <a:gd name="connsiteY27" fmla="*/ 124201 h 549243"/>
                <a:gd name="connsiteX28" fmla="*/ 397228 w 599399"/>
                <a:gd name="connsiteY28" fmla="*/ 109711 h 549243"/>
                <a:gd name="connsiteX29" fmla="*/ 419653 w 599399"/>
                <a:gd name="connsiteY29" fmla="*/ 86768 h 549243"/>
                <a:gd name="connsiteX30" fmla="*/ 434488 w 599399"/>
                <a:gd name="connsiteY30" fmla="*/ 69518 h 549243"/>
                <a:gd name="connsiteX31" fmla="*/ 584737 w 599399"/>
                <a:gd name="connsiteY31" fmla="*/ 0 h 549243"/>
                <a:gd name="connsiteX32" fmla="*/ 599399 w 599399"/>
                <a:gd name="connsiteY32" fmla="*/ 14663 h 549243"/>
                <a:gd name="connsiteX33" fmla="*/ 584737 w 599399"/>
                <a:gd name="connsiteY33" fmla="*/ 29325 h 549243"/>
                <a:gd name="connsiteX34" fmla="*/ 455706 w 599399"/>
                <a:gd name="connsiteY34" fmla="*/ 89874 h 549243"/>
                <a:gd name="connsiteX35" fmla="*/ 442596 w 599399"/>
                <a:gd name="connsiteY35" fmla="*/ 105226 h 549243"/>
                <a:gd name="connsiteX36" fmla="*/ 414995 w 599399"/>
                <a:gd name="connsiteY36" fmla="*/ 133171 h 549243"/>
                <a:gd name="connsiteX37" fmla="*/ 387913 w 599399"/>
                <a:gd name="connsiteY37" fmla="*/ 149904 h 549243"/>
                <a:gd name="connsiteX38" fmla="*/ 361003 w 599399"/>
                <a:gd name="connsiteY38" fmla="*/ 166809 h 549243"/>
                <a:gd name="connsiteX39" fmla="*/ 352377 w 599399"/>
                <a:gd name="connsiteY39" fmla="*/ 194409 h 549243"/>
                <a:gd name="connsiteX40" fmla="*/ 347030 w 599399"/>
                <a:gd name="connsiteY40" fmla="*/ 216144 h 549243"/>
                <a:gd name="connsiteX41" fmla="*/ 371180 w 599399"/>
                <a:gd name="connsiteY41" fmla="*/ 288077 h 549243"/>
                <a:gd name="connsiteX42" fmla="*/ 380840 w 599399"/>
                <a:gd name="connsiteY42" fmla="*/ 301705 h 549243"/>
                <a:gd name="connsiteX43" fmla="*/ 347720 w 599399"/>
                <a:gd name="connsiteY43" fmla="*/ 379503 h 549243"/>
                <a:gd name="connsiteX44" fmla="*/ 333057 w 599399"/>
                <a:gd name="connsiteY44" fmla="*/ 394510 h 549243"/>
                <a:gd name="connsiteX45" fmla="*/ 331505 w 599399"/>
                <a:gd name="connsiteY45" fmla="*/ 395891 h 549243"/>
                <a:gd name="connsiteX46" fmla="*/ 324260 w 599399"/>
                <a:gd name="connsiteY46" fmla="*/ 402963 h 549243"/>
                <a:gd name="connsiteX47" fmla="*/ 317015 w 599399"/>
                <a:gd name="connsiteY47" fmla="*/ 414866 h 549243"/>
                <a:gd name="connsiteX48" fmla="*/ 304250 w 599399"/>
                <a:gd name="connsiteY48" fmla="*/ 434876 h 549243"/>
                <a:gd name="connsiteX49" fmla="*/ 300972 w 599399"/>
                <a:gd name="connsiteY49" fmla="*/ 438843 h 549243"/>
                <a:gd name="connsiteX50" fmla="*/ 297867 w 599399"/>
                <a:gd name="connsiteY50" fmla="*/ 442811 h 549243"/>
                <a:gd name="connsiteX51" fmla="*/ 261642 w 599399"/>
                <a:gd name="connsiteY51" fmla="*/ 475413 h 549243"/>
                <a:gd name="connsiteX52" fmla="*/ 240424 w 599399"/>
                <a:gd name="connsiteY52" fmla="*/ 478346 h 549243"/>
                <a:gd name="connsiteX53" fmla="*/ 228522 w 599399"/>
                <a:gd name="connsiteY53" fmla="*/ 479036 h 549243"/>
                <a:gd name="connsiteX54" fmla="*/ 221622 w 599399"/>
                <a:gd name="connsiteY54" fmla="*/ 485764 h 549243"/>
                <a:gd name="connsiteX55" fmla="*/ 203681 w 599399"/>
                <a:gd name="connsiteY55" fmla="*/ 500944 h 549243"/>
                <a:gd name="connsiteX56" fmla="*/ 185396 w 599399"/>
                <a:gd name="connsiteY56" fmla="*/ 506636 h 549243"/>
                <a:gd name="connsiteX57" fmla="*/ 172631 w 599399"/>
                <a:gd name="connsiteY57" fmla="*/ 510776 h 549243"/>
                <a:gd name="connsiteX58" fmla="*/ 159349 w 599399"/>
                <a:gd name="connsiteY58" fmla="*/ 524921 h 549243"/>
                <a:gd name="connsiteX59" fmla="*/ 122434 w 599399"/>
                <a:gd name="connsiteY59" fmla="*/ 547692 h 549243"/>
                <a:gd name="connsiteX60" fmla="*/ 82068 w 599399"/>
                <a:gd name="connsiteY60" fmla="*/ 549244 h 549243"/>
                <a:gd name="connsiteX61" fmla="*/ 14103 w 599399"/>
                <a:gd name="connsiteY61" fmla="*/ 531822 h 549243"/>
                <a:gd name="connsiteX62" fmla="*/ 14103 w 599399"/>
                <a:gd name="connsiteY62" fmla="*/ 531822 h 549243"/>
                <a:gd name="connsiteX63" fmla="*/ 14103 w 599399"/>
                <a:gd name="connsiteY63" fmla="*/ 531822 h 549243"/>
                <a:gd name="connsiteX64" fmla="*/ 14793 w 599399"/>
                <a:gd name="connsiteY64" fmla="*/ 526474 h 549243"/>
                <a:gd name="connsiteX65" fmla="*/ 14965 w 599399"/>
                <a:gd name="connsiteY65" fmla="*/ 526474 h 549243"/>
                <a:gd name="connsiteX66" fmla="*/ 14793 w 599399"/>
                <a:gd name="connsiteY66" fmla="*/ 526474 h 54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99399" h="549243">
                  <a:moveTo>
                    <a:pt x="82068" y="549244"/>
                  </a:moveTo>
                  <a:cubicBezTo>
                    <a:pt x="51190" y="549244"/>
                    <a:pt x="22900" y="545277"/>
                    <a:pt x="12378" y="543552"/>
                  </a:cubicBezTo>
                  <a:cubicBezTo>
                    <a:pt x="8755" y="543034"/>
                    <a:pt x="5478" y="541136"/>
                    <a:pt x="3062" y="538031"/>
                  </a:cubicBezTo>
                  <a:cubicBezTo>
                    <a:pt x="648" y="534927"/>
                    <a:pt x="-387" y="530959"/>
                    <a:pt x="130" y="527164"/>
                  </a:cubicBezTo>
                  <a:cubicBezTo>
                    <a:pt x="648" y="523369"/>
                    <a:pt x="2718" y="519746"/>
                    <a:pt x="5995" y="517332"/>
                  </a:cubicBezTo>
                  <a:cubicBezTo>
                    <a:pt x="9273" y="515089"/>
                    <a:pt x="13240" y="514054"/>
                    <a:pt x="17208" y="514916"/>
                  </a:cubicBezTo>
                  <a:cubicBezTo>
                    <a:pt x="44981" y="519056"/>
                    <a:pt x="85346" y="522851"/>
                    <a:pt x="116913" y="517676"/>
                  </a:cubicBezTo>
                  <a:cubicBezTo>
                    <a:pt x="128126" y="515951"/>
                    <a:pt x="129851" y="513537"/>
                    <a:pt x="135198" y="506464"/>
                  </a:cubicBezTo>
                  <a:cubicBezTo>
                    <a:pt x="139511" y="500599"/>
                    <a:pt x="144858" y="493526"/>
                    <a:pt x="154691" y="486281"/>
                  </a:cubicBezTo>
                  <a:cubicBezTo>
                    <a:pt x="162799" y="480243"/>
                    <a:pt x="171596" y="478346"/>
                    <a:pt x="179187" y="476794"/>
                  </a:cubicBezTo>
                  <a:cubicBezTo>
                    <a:pt x="183844" y="475931"/>
                    <a:pt x="187294" y="475069"/>
                    <a:pt x="189709" y="473861"/>
                  </a:cubicBezTo>
                  <a:cubicBezTo>
                    <a:pt x="192296" y="472481"/>
                    <a:pt x="195919" y="468513"/>
                    <a:pt x="199542" y="464891"/>
                  </a:cubicBezTo>
                  <a:cubicBezTo>
                    <a:pt x="204544" y="459716"/>
                    <a:pt x="209374" y="454541"/>
                    <a:pt x="215757" y="451608"/>
                  </a:cubicBezTo>
                  <a:cubicBezTo>
                    <a:pt x="223692" y="447986"/>
                    <a:pt x="232144" y="448158"/>
                    <a:pt x="239045" y="448503"/>
                  </a:cubicBezTo>
                  <a:cubicBezTo>
                    <a:pt x="243012" y="448676"/>
                    <a:pt x="247497" y="448676"/>
                    <a:pt x="250257" y="447641"/>
                  </a:cubicBezTo>
                  <a:cubicBezTo>
                    <a:pt x="258537" y="444363"/>
                    <a:pt x="266990" y="433841"/>
                    <a:pt x="274407" y="424526"/>
                  </a:cubicBezTo>
                  <a:cubicBezTo>
                    <a:pt x="276994" y="420903"/>
                    <a:pt x="279582" y="417798"/>
                    <a:pt x="281997" y="415211"/>
                  </a:cubicBezTo>
                  <a:cubicBezTo>
                    <a:pt x="284757" y="411933"/>
                    <a:pt x="287689" y="407103"/>
                    <a:pt x="290967" y="400893"/>
                  </a:cubicBezTo>
                  <a:cubicBezTo>
                    <a:pt x="294589" y="394510"/>
                    <a:pt x="297522" y="389335"/>
                    <a:pt x="301145" y="384678"/>
                  </a:cubicBezTo>
                  <a:cubicBezTo>
                    <a:pt x="304595" y="380193"/>
                    <a:pt x="309252" y="376053"/>
                    <a:pt x="313393" y="372258"/>
                  </a:cubicBezTo>
                  <a:cubicBezTo>
                    <a:pt x="317532" y="368635"/>
                    <a:pt x="321672" y="365185"/>
                    <a:pt x="323742" y="362080"/>
                  </a:cubicBezTo>
                  <a:cubicBezTo>
                    <a:pt x="335645" y="346383"/>
                    <a:pt x="349273" y="319645"/>
                    <a:pt x="351688" y="309813"/>
                  </a:cubicBezTo>
                  <a:cubicBezTo>
                    <a:pt x="330297" y="294287"/>
                    <a:pt x="318912" y="262892"/>
                    <a:pt x="317532" y="216489"/>
                  </a:cubicBezTo>
                  <a:cubicBezTo>
                    <a:pt x="317015" y="200274"/>
                    <a:pt x="321500" y="190786"/>
                    <a:pt x="325467" y="182334"/>
                  </a:cubicBezTo>
                  <a:cubicBezTo>
                    <a:pt x="328745" y="175261"/>
                    <a:pt x="331332" y="168879"/>
                    <a:pt x="332713" y="157666"/>
                  </a:cubicBezTo>
                  <a:lnTo>
                    <a:pt x="333230" y="152319"/>
                  </a:lnTo>
                  <a:lnTo>
                    <a:pt x="337543" y="148524"/>
                  </a:lnTo>
                  <a:cubicBezTo>
                    <a:pt x="348410" y="138346"/>
                    <a:pt x="361865" y="130928"/>
                    <a:pt x="373595" y="124201"/>
                  </a:cubicBezTo>
                  <a:cubicBezTo>
                    <a:pt x="382565" y="119371"/>
                    <a:pt x="390328" y="114886"/>
                    <a:pt x="397228" y="109711"/>
                  </a:cubicBezTo>
                  <a:cubicBezTo>
                    <a:pt x="406888" y="102466"/>
                    <a:pt x="412408" y="95566"/>
                    <a:pt x="419653" y="86768"/>
                  </a:cubicBezTo>
                  <a:cubicBezTo>
                    <a:pt x="424138" y="81248"/>
                    <a:pt x="428796" y="75728"/>
                    <a:pt x="434488" y="69518"/>
                  </a:cubicBezTo>
                  <a:cubicBezTo>
                    <a:pt x="481064" y="20700"/>
                    <a:pt x="526086" y="0"/>
                    <a:pt x="584737" y="0"/>
                  </a:cubicBezTo>
                  <a:cubicBezTo>
                    <a:pt x="592844" y="0"/>
                    <a:pt x="599399" y="6555"/>
                    <a:pt x="599399" y="14663"/>
                  </a:cubicBezTo>
                  <a:cubicBezTo>
                    <a:pt x="599399" y="22770"/>
                    <a:pt x="592844" y="29325"/>
                    <a:pt x="584737" y="29325"/>
                  </a:cubicBezTo>
                  <a:cubicBezTo>
                    <a:pt x="535056" y="29325"/>
                    <a:pt x="496416" y="47438"/>
                    <a:pt x="455706" y="89874"/>
                  </a:cubicBezTo>
                  <a:cubicBezTo>
                    <a:pt x="450531" y="95221"/>
                    <a:pt x="446391" y="100396"/>
                    <a:pt x="442596" y="105226"/>
                  </a:cubicBezTo>
                  <a:cubicBezTo>
                    <a:pt x="435178" y="114368"/>
                    <a:pt x="427588" y="123684"/>
                    <a:pt x="414995" y="133171"/>
                  </a:cubicBezTo>
                  <a:cubicBezTo>
                    <a:pt x="406370" y="139553"/>
                    <a:pt x="396883" y="144901"/>
                    <a:pt x="387913" y="149904"/>
                  </a:cubicBezTo>
                  <a:cubicBezTo>
                    <a:pt x="378943" y="154734"/>
                    <a:pt x="369110" y="160426"/>
                    <a:pt x="361003" y="166809"/>
                  </a:cubicBezTo>
                  <a:cubicBezTo>
                    <a:pt x="358933" y="179401"/>
                    <a:pt x="355310" y="187681"/>
                    <a:pt x="352377" y="194409"/>
                  </a:cubicBezTo>
                  <a:cubicBezTo>
                    <a:pt x="348928" y="201999"/>
                    <a:pt x="346858" y="206829"/>
                    <a:pt x="347030" y="216144"/>
                  </a:cubicBezTo>
                  <a:cubicBezTo>
                    <a:pt x="348065" y="253922"/>
                    <a:pt x="356518" y="279452"/>
                    <a:pt x="371180" y="288077"/>
                  </a:cubicBezTo>
                  <a:cubicBezTo>
                    <a:pt x="373250" y="289285"/>
                    <a:pt x="378770" y="293080"/>
                    <a:pt x="380840" y="301705"/>
                  </a:cubicBezTo>
                  <a:cubicBezTo>
                    <a:pt x="385843" y="326890"/>
                    <a:pt x="348065" y="378985"/>
                    <a:pt x="347720" y="379503"/>
                  </a:cubicBezTo>
                  <a:cubicBezTo>
                    <a:pt x="343580" y="385196"/>
                    <a:pt x="337887" y="390198"/>
                    <a:pt x="333057" y="394510"/>
                  </a:cubicBezTo>
                  <a:lnTo>
                    <a:pt x="331505" y="395891"/>
                  </a:lnTo>
                  <a:cubicBezTo>
                    <a:pt x="328572" y="398478"/>
                    <a:pt x="325813" y="400893"/>
                    <a:pt x="324260" y="402963"/>
                  </a:cubicBezTo>
                  <a:cubicBezTo>
                    <a:pt x="322190" y="405895"/>
                    <a:pt x="319602" y="410036"/>
                    <a:pt x="317015" y="414866"/>
                  </a:cubicBezTo>
                  <a:cubicBezTo>
                    <a:pt x="313565" y="421248"/>
                    <a:pt x="309597" y="428493"/>
                    <a:pt x="304250" y="434876"/>
                  </a:cubicBezTo>
                  <a:cubicBezTo>
                    <a:pt x="303042" y="436256"/>
                    <a:pt x="302007" y="437463"/>
                    <a:pt x="300972" y="438843"/>
                  </a:cubicBezTo>
                  <a:cubicBezTo>
                    <a:pt x="299937" y="440051"/>
                    <a:pt x="298902" y="441431"/>
                    <a:pt x="297867" y="442811"/>
                  </a:cubicBezTo>
                  <a:cubicBezTo>
                    <a:pt x="287689" y="455749"/>
                    <a:pt x="276822" y="469376"/>
                    <a:pt x="261642" y="475413"/>
                  </a:cubicBezTo>
                  <a:cubicBezTo>
                    <a:pt x="254224" y="478346"/>
                    <a:pt x="246462" y="478346"/>
                    <a:pt x="240424" y="478346"/>
                  </a:cubicBezTo>
                  <a:cubicBezTo>
                    <a:pt x="236112" y="478174"/>
                    <a:pt x="230764" y="478001"/>
                    <a:pt x="228522" y="479036"/>
                  </a:cubicBezTo>
                  <a:cubicBezTo>
                    <a:pt x="227832" y="479381"/>
                    <a:pt x="225934" y="480761"/>
                    <a:pt x="221622" y="485764"/>
                  </a:cubicBezTo>
                  <a:cubicBezTo>
                    <a:pt x="216792" y="490939"/>
                    <a:pt x="210927" y="496976"/>
                    <a:pt x="203681" y="500944"/>
                  </a:cubicBezTo>
                  <a:cubicBezTo>
                    <a:pt x="197472" y="504049"/>
                    <a:pt x="191261" y="505601"/>
                    <a:pt x="185396" y="506636"/>
                  </a:cubicBezTo>
                  <a:cubicBezTo>
                    <a:pt x="179531" y="507844"/>
                    <a:pt x="175392" y="508707"/>
                    <a:pt x="172631" y="510776"/>
                  </a:cubicBezTo>
                  <a:cubicBezTo>
                    <a:pt x="166076" y="515951"/>
                    <a:pt x="162626" y="520437"/>
                    <a:pt x="159349" y="524921"/>
                  </a:cubicBezTo>
                  <a:cubicBezTo>
                    <a:pt x="152621" y="533892"/>
                    <a:pt x="145204" y="543896"/>
                    <a:pt x="122434" y="547692"/>
                  </a:cubicBezTo>
                  <a:cubicBezTo>
                    <a:pt x="108978" y="548554"/>
                    <a:pt x="95523" y="549244"/>
                    <a:pt x="82068" y="549244"/>
                  </a:cubicBezTo>
                  <a:close/>
                  <a:moveTo>
                    <a:pt x="14103" y="531822"/>
                  </a:moveTo>
                  <a:cubicBezTo>
                    <a:pt x="14103" y="531822"/>
                    <a:pt x="14103" y="531822"/>
                    <a:pt x="14103" y="531822"/>
                  </a:cubicBezTo>
                  <a:cubicBezTo>
                    <a:pt x="14103" y="531822"/>
                    <a:pt x="14103" y="531822"/>
                    <a:pt x="14103" y="531822"/>
                  </a:cubicBezTo>
                  <a:close/>
                  <a:moveTo>
                    <a:pt x="14793" y="526474"/>
                  </a:moveTo>
                  <a:cubicBezTo>
                    <a:pt x="14793" y="526474"/>
                    <a:pt x="14965" y="526474"/>
                    <a:pt x="14965" y="526474"/>
                  </a:cubicBezTo>
                  <a:cubicBezTo>
                    <a:pt x="14793" y="526474"/>
                    <a:pt x="14793" y="526474"/>
                    <a:pt x="14793" y="526474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4" name="Gráfico 1344">
            <a:extLst>
              <a:ext uri="{FF2B5EF4-FFF2-40B4-BE49-F238E27FC236}">
                <a16:creationId xmlns:a16="http://schemas.microsoft.com/office/drawing/2014/main" id="{9866E9AE-49CB-44A2-8C62-F8B00E10484B}"/>
              </a:ext>
            </a:extLst>
          </p:cNvPr>
          <p:cNvGrpSpPr/>
          <p:nvPr/>
        </p:nvGrpSpPr>
        <p:grpSpPr>
          <a:xfrm>
            <a:off x="8846588" y="4271636"/>
            <a:ext cx="211739" cy="600994"/>
            <a:chOff x="8966334" y="4380122"/>
            <a:chExt cx="211739" cy="600994"/>
          </a:xfrm>
          <a:solidFill>
            <a:srgbClr val="F59D24"/>
          </a:solidFill>
        </p:grpSpPr>
        <p:sp>
          <p:nvSpPr>
            <p:cNvPr id="594" name="Gráfico 1344">
              <a:extLst>
                <a:ext uri="{FF2B5EF4-FFF2-40B4-BE49-F238E27FC236}">
                  <a16:creationId xmlns:a16="http://schemas.microsoft.com/office/drawing/2014/main" id="{8B132866-68D4-43E0-ABF4-B5BD3BCE3D43}"/>
                </a:ext>
              </a:extLst>
            </p:cNvPr>
            <p:cNvSpPr/>
            <p:nvPr/>
          </p:nvSpPr>
          <p:spPr>
            <a:xfrm>
              <a:off x="8975131" y="4388574"/>
              <a:ext cx="194594" cy="583916"/>
            </a:xfrm>
            <a:custGeom>
              <a:avLst/>
              <a:gdLst>
                <a:gd name="connsiteX0" fmla="*/ 187337 w 194594"/>
                <a:gd name="connsiteY0" fmla="*/ 583917 h 583916"/>
                <a:gd name="connsiteX1" fmla="*/ 186646 w 194594"/>
                <a:gd name="connsiteY1" fmla="*/ 583917 h 583916"/>
                <a:gd name="connsiteX2" fmla="*/ 181299 w 194594"/>
                <a:gd name="connsiteY2" fmla="*/ 577534 h 583916"/>
                <a:gd name="connsiteX3" fmla="*/ 158357 w 194594"/>
                <a:gd name="connsiteY3" fmla="*/ 531132 h 583916"/>
                <a:gd name="connsiteX4" fmla="*/ 146626 w 194594"/>
                <a:gd name="connsiteY4" fmla="*/ 519746 h 583916"/>
                <a:gd name="connsiteX5" fmla="*/ 124546 w 194594"/>
                <a:gd name="connsiteY5" fmla="*/ 458509 h 583916"/>
                <a:gd name="connsiteX6" fmla="*/ 113851 w 194594"/>
                <a:gd name="connsiteY6" fmla="*/ 427113 h 583916"/>
                <a:gd name="connsiteX7" fmla="*/ 96601 w 194594"/>
                <a:gd name="connsiteY7" fmla="*/ 401928 h 583916"/>
                <a:gd name="connsiteX8" fmla="*/ 86768 w 194594"/>
                <a:gd name="connsiteY8" fmla="*/ 347245 h 583916"/>
                <a:gd name="connsiteX9" fmla="*/ 84871 w 194594"/>
                <a:gd name="connsiteY9" fmla="*/ 329995 h 583916"/>
                <a:gd name="connsiteX10" fmla="*/ 82973 w 194594"/>
                <a:gd name="connsiteY10" fmla="*/ 288250 h 583916"/>
                <a:gd name="connsiteX11" fmla="*/ 82111 w 194594"/>
                <a:gd name="connsiteY11" fmla="*/ 258752 h 583916"/>
                <a:gd name="connsiteX12" fmla="*/ 70381 w 194594"/>
                <a:gd name="connsiteY12" fmla="*/ 194237 h 583916"/>
                <a:gd name="connsiteX13" fmla="*/ 67966 w 194594"/>
                <a:gd name="connsiteY13" fmla="*/ 168361 h 583916"/>
                <a:gd name="connsiteX14" fmla="*/ 65378 w 194594"/>
                <a:gd name="connsiteY14" fmla="*/ 144556 h 583916"/>
                <a:gd name="connsiteX15" fmla="*/ 50198 w 194594"/>
                <a:gd name="connsiteY15" fmla="*/ 121614 h 583916"/>
                <a:gd name="connsiteX16" fmla="*/ 44506 w 194594"/>
                <a:gd name="connsiteY16" fmla="*/ 114368 h 583916"/>
                <a:gd name="connsiteX17" fmla="*/ 0 w 194594"/>
                <a:gd name="connsiteY17" fmla="*/ 6038 h 583916"/>
                <a:gd name="connsiteX18" fmla="*/ 6038 w 194594"/>
                <a:gd name="connsiteY18" fmla="*/ 0 h 583916"/>
                <a:gd name="connsiteX19" fmla="*/ 6038 w 194594"/>
                <a:gd name="connsiteY19" fmla="*/ 0 h 583916"/>
                <a:gd name="connsiteX20" fmla="*/ 12075 w 194594"/>
                <a:gd name="connsiteY20" fmla="*/ 5693 h 583916"/>
                <a:gd name="connsiteX21" fmla="*/ 53993 w 194594"/>
                <a:gd name="connsiteY21" fmla="*/ 106951 h 583916"/>
                <a:gd name="connsiteX22" fmla="*/ 59513 w 194594"/>
                <a:gd name="connsiteY22" fmla="*/ 114024 h 583916"/>
                <a:gd name="connsiteX23" fmla="*/ 76763 w 194594"/>
                <a:gd name="connsiteY23" fmla="*/ 140589 h 583916"/>
                <a:gd name="connsiteX24" fmla="*/ 80041 w 194594"/>
                <a:gd name="connsiteY24" fmla="*/ 168189 h 583916"/>
                <a:gd name="connsiteX25" fmla="*/ 82111 w 194594"/>
                <a:gd name="connsiteY25" fmla="*/ 190786 h 583916"/>
                <a:gd name="connsiteX26" fmla="*/ 94358 w 194594"/>
                <a:gd name="connsiteY26" fmla="*/ 257199 h 583916"/>
                <a:gd name="connsiteX27" fmla="*/ 95393 w 194594"/>
                <a:gd name="connsiteY27" fmla="*/ 287733 h 583916"/>
                <a:gd name="connsiteX28" fmla="*/ 97291 w 194594"/>
                <a:gd name="connsiteY28" fmla="*/ 327752 h 583916"/>
                <a:gd name="connsiteX29" fmla="*/ 99361 w 194594"/>
                <a:gd name="connsiteY29" fmla="*/ 345693 h 583916"/>
                <a:gd name="connsiteX30" fmla="*/ 108331 w 194594"/>
                <a:gd name="connsiteY30" fmla="*/ 396926 h 583916"/>
                <a:gd name="connsiteX31" fmla="*/ 123339 w 194594"/>
                <a:gd name="connsiteY31" fmla="*/ 418488 h 583916"/>
                <a:gd name="connsiteX32" fmla="*/ 137484 w 194594"/>
                <a:gd name="connsiteY32" fmla="*/ 459371 h 583916"/>
                <a:gd name="connsiteX33" fmla="*/ 156286 w 194594"/>
                <a:gd name="connsiteY33" fmla="*/ 511294 h 583916"/>
                <a:gd name="connsiteX34" fmla="*/ 167671 w 194594"/>
                <a:gd name="connsiteY34" fmla="*/ 522162 h 583916"/>
                <a:gd name="connsiteX35" fmla="*/ 194237 w 194594"/>
                <a:gd name="connsiteY35" fmla="*/ 578397 h 583916"/>
                <a:gd name="connsiteX36" fmla="*/ 187337 w 194594"/>
                <a:gd name="connsiteY36" fmla="*/ 583917 h 583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94594" h="583916">
                  <a:moveTo>
                    <a:pt x="187337" y="583917"/>
                  </a:moveTo>
                  <a:cubicBezTo>
                    <a:pt x="187164" y="583917"/>
                    <a:pt x="186991" y="583917"/>
                    <a:pt x="186646" y="583917"/>
                  </a:cubicBezTo>
                  <a:cubicBezTo>
                    <a:pt x="183369" y="583744"/>
                    <a:pt x="181126" y="580639"/>
                    <a:pt x="181299" y="577534"/>
                  </a:cubicBezTo>
                  <a:cubicBezTo>
                    <a:pt x="183369" y="554592"/>
                    <a:pt x="173536" y="545277"/>
                    <a:pt x="158357" y="531132"/>
                  </a:cubicBezTo>
                  <a:cubicBezTo>
                    <a:pt x="154562" y="527681"/>
                    <a:pt x="150594" y="523886"/>
                    <a:pt x="146626" y="519746"/>
                  </a:cubicBezTo>
                  <a:cubicBezTo>
                    <a:pt x="121959" y="494389"/>
                    <a:pt x="121614" y="489386"/>
                    <a:pt x="124546" y="458509"/>
                  </a:cubicBezTo>
                  <a:cubicBezTo>
                    <a:pt x="126444" y="440051"/>
                    <a:pt x="121268" y="435048"/>
                    <a:pt x="113851" y="427113"/>
                  </a:cubicBezTo>
                  <a:cubicBezTo>
                    <a:pt x="108503" y="421593"/>
                    <a:pt x="101603" y="414520"/>
                    <a:pt x="96601" y="401928"/>
                  </a:cubicBezTo>
                  <a:cubicBezTo>
                    <a:pt x="91081" y="388473"/>
                    <a:pt x="88666" y="365530"/>
                    <a:pt x="86768" y="347245"/>
                  </a:cubicBezTo>
                  <a:cubicBezTo>
                    <a:pt x="86078" y="340690"/>
                    <a:pt x="85561" y="334480"/>
                    <a:pt x="84871" y="329995"/>
                  </a:cubicBezTo>
                  <a:cubicBezTo>
                    <a:pt x="82973" y="316713"/>
                    <a:pt x="82973" y="302223"/>
                    <a:pt x="82973" y="288250"/>
                  </a:cubicBezTo>
                  <a:cubicBezTo>
                    <a:pt x="82973" y="277554"/>
                    <a:pt x="82973" y="267377"/>
                    <a:pt x="82111" y="258752"/>
                  </a:cubicBezTo>
                  <a:cubicBezTo>
                    <a:pt x="79523" y="233567"/>
                    <a:pt x="76418" y="216662"/>
                    <a:pt x="70381" y="194237"/>
                  </a:cubicBezTo>
                  <a:cubicBezTo>
                    <a:pt x="68311" y="186129"/>
                    <a:pt x="67966" y="177159"/>
                    <a:pt x="67966" y="168361"/>
                  </a:cubicBezTo>
                  <a:cubicBezTo>
                    <a:pt x="67793" y="159564"/>
                    <a:pt x="67793" y="151111"/>
                    <a:pt x="65378" y="144556"/>
                  </a:cubicBezTo>
                  <a:cubicBezTo>
                    <a:pt x="62791" y="137311"/>
                    <a:pt x="56580" y="129549"/>
                    <a:pt x="50198" y="121614"/>
                  </a:cubicBezTo>
                  <a:cubicBezTo>
                    <a:pt x="48301" y="119198"/>
                    <a:pt x="46058" y="116784"/>
                    <a:pt x="44506" y="114368"/>
                  </a:cubicBezTo>
                  <a:cubicBezTo>
                    <a:pt x="17423" y="79178"/>
                    <a:pt x="173" y="48818"/>
                    <a:pt x="0" y="6038"/>
                  </a:cubicBezTo>
                  <a:cubicBezTo>
                    <a:pt x="0" y="2760"/>
                    <a:pt x="2588" y="0"/>
                    <a:pt x="6038" y="0"/>
                  </a:cubicBezTo>
                  <a:lnTo>
                    <a:pt x="6038" y="0"/>
                  </a:lnTo>
                  <a:cubicBezTo>
                    <a:pt x="9315" y="0"/>
                    <a:pt x="12075" y="2588"/>
                    <a:pt x="12075" y="5693"/>
                  </a:cubicBezTo>
                  <a:cubicBezTo>
                    <a:pt x="12248" y="45368"/>
                    <a:pt x="27773" y="72796"/>
                    <a:pt x="53993" y="106951"/>
                  </a:cubicBezTo>
                  <a:cubicBezTo>
                    <a:pt x="55718" y="109366"/>
                    <a:pt x="57615" y="111608"/>
                    <a:pt x="59513" y="114024"/>
                  </a:cubicBezTo>
                  <a:cubicBezTo>
                    <a:pt x="66413" y="122649"/>
                    <a:pt x="73486" y="131101"/>
                    <a:pt x="76763" y="140589"/>
                  </a:cubicBezTo>
                  <a:cubicBezTo>
                    <a:pt x="79695" y="149214"/>
                    <a:pt x="79695" y="158701"/>
                    <a:pt x="80041" y="168189"/>
                  </a:cubicBezTo>
                  <a:cubicBezTo>
                    <a:pt x="80041" y="176124"/>
                    <a:pt x="80214" y="184232"/>
                    <a:pt x="82111" y="190786"/>
                  </a:cubicBezTo>
                  <a:cubicBezTo>
                    <a:pt x="88321" y="213902"/>
                    <a:pt x="91598" y="231324"/>
                    <a:pt x="94358" y="257199"/>
                  </a:cubicBezTo>
                  <a:cubicBezTo>
                    <a:pt x="95221" y="266342"/>
                    <a:pt x="95393" y="276865"/>
                    <a:pt x="95393" y="287733"/>
                  </a:cubicBezTo>
                  <a:cubicBezTo>
                    <a:pt x="95393" y="301188"/>
                    <a:pt x="95393" y="315332"/>
                    <a:pt x="97291" y="327752"/>
                  </a:cubicBezTo>
                  <a:cubicBezTo>
                    <a:pt x="97981" y="332582"/>
                    <a:pt x="98499" y="338793"/>
                    <a:pt x="99361" y="345693"/>
                  </a:cubicBezTo>
                  <a:cubicBezTo>
                    <a:pt x="101086" y="363288"/>
                    <a:pt x="103501" y="385196"/>
                    <a:pt x="108331" y="396926"/>
                  </a:cubicBezTo>
                  <a:cubicBezTo>
                    <a:pt x="112643" y="407621"/>
                    <a:pt x="117991" y="413141"/>
                    <a:pt x="123339" y="418488"/>
                  </a:cubicBezTo>
                  <a:cubicBezTo>
                    <a:pt x="131964" y="427286"/>
                    <a:pt x="139726" y="435566"/>
                    <a:pt x="137484" y="459371"/>
                  </a:cubicBezTo>
                  <a:cubicBezTo>
                    <a:pt x="134723" y="487144"/>
                    <a:pt x="134551" y="488696"/>
                    <a:pt x="156286" y="511294"/>
                  </a:cubicBezTo>
                  <a:cubicBezTo>
                    <a:pt x="160081" y="515434"/>
                    <a:pt x="163704" y="518711"/>
                    <a:pt x="167671" y="522162"/>
                  </a:cubicBezTo>
                  <a:cubicBezTo>
                    <a:pt x="183369" y="536824"/>
                    <a:pt x="196997" y="549589"/>
                    <a:pt x="194237" y="578397"/>
                  </a:cubicBezTo>
                  <a:cubicBezTo>
                    <a:pt x="192857" y="581847"/>
                    <a:pt x="190442" y="583917"/>
                    <a:pt x="187337" y="583917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95" name="Gráfico 1344">
              <a:extLst>
                <a:ext uri="{FF2B5EF4-FFF2-40B4-BE49-F238E27FC236}">
                  <a16:creationId xmlns:a16="http://schemas.microsoft.com/office/drawing/2014/main" id="{07CFEC43-C7FA-4D9D-8AB7-210285ECF7DD}"/>
                </a:ext>
              </a:extLst>
            </p:cNvPr>
            <p:cNvSpPr/>
            <p:nvPr/>
          </p:nvSpPr>
          <p:spPr>
            <a:xfrm>
              <a:off x="8966334" y="4380122"/>
              <a:ext cx="211739" cy="600994"/>
            </a:xfrm>
            <a:custGeom>
              <a:avLst/>
              <a:gdLst>
                <a:gd name="connsiteX0" fmla="*/ 196134 w 211739"/>
                <a:gd name="connsiteY0" fmla="*/ 600994 h 600994"/>
                <a:gd name="connsiteX1" fmla="*/ 195444 w 211739"/>
                <a:gd name="connsiteY1" fmla="*/ 600994 h 600994"/>
                <a:gd name="connsiteX2" fmla="*/ 181471 w 211739"/>
                <a:gd name="connsiteY2" fmla="*/ 585469 h 600994"/>
                <a:gd name="connsiteX3" fmla="*/ 161288 w 211739"/>
                <a:gd name="connsiteY3" fmla="*/ 545966 h 600994"/>
                <a:gd name="connsiteX4" fmla="*/ 149558 w 211739"/>
                <a:gd name="connsiteY4" fmla="*/ 534581 h 600994"/>
                <a:gd name="connsiteX5" fmla="*/ 124891 w 211739"/>
                <a:gd name="connsiteY5" fmla="*/ 466098 h 600994"/>
                <a:gd name="connsiteX6" fmla="*/ 116783 w 211739"/>
                <a:gd name="connsiteY6" fmla="*/ 441775 h 600994"/>
                <a:gd name="connsiteX7" fmla="*/ 97463 w 211739"/>
                <a:gd name="connsiteY7" fmla="*/ 413486 h 600994"/>
                <a:gd name="connsiteX8" fmla="*/ 87113 w 211739"/>
                <a:gd name="connsiteY8" fmla="*/ 356905 h 600994"/>
                <a:gd name="connsiteX9" fmla="*/ 85216 w 211739"/>
                <a:gd name="connsiteY9" fmla="*/ 339482 h 600994"/>
                <a:gd name="connsiteX10" fmla="*/ 83145 w 211739"/>
                <a:gd name="connsiteY10" fmla="*/ 296530 h 600994"/>
                <a:gd name="connsiteX11" fmla="*/ 82283 w 211739"/>
                <a:gd name="connsiteY11" fmla="*/ 267894 h 600994"/>
                <a:gd name="connsiteX12" fmla="*/ 70725 w 211739"/>
                <a:gd name="connsiteY12" fmla="*/ 204759 h 600994"/>
                <a:gd name="connsiteX13" fmla="*/ 68138 w 211739"/>
                <a:gd name="connsiteY13" fmla="*/ 176641 h 600994"/>
                <a:gd name="connsiteX14" fmla="*/ 68138 w 211739"/>
                <a:gd name="connsiteY14" fmla="*/ 174744 h 600994"/>
                <a:gd name="connsiteX15" fmla="*/ 66068 w 211739"/>
                <a:gd name="connsiteY15" fmla="*/ 155941 h 600994"/>
                <a:gd name="connsiteX16" fmla="*/ 52268 w 211739"/>
                <a:gd name="connsiteY16" fmla="*/ 135586 h 600994"/>
                <a:gd name="connsiteX17" fmla="*/ 46230 w 211739"/>
                <a:gd name="connsiteY17" fmla="*/ 127996 h 600994"/>
                <a:gd name="connsiteX18" fmla="*/ 0 w 211739"/>
                <a:gd name="connsiteY18" fmla="*/ 14663 h 600994"/>
                <a:gd name="connsiteX19" fmla="*/ 14662 w 211739"/>
                <a:gd name="connsiteY19" fmla="*/ 0 h 600994"/>
                <a:gd name="connsiteX20" fmla="*/ 29325 w 211739"/>
                <a:gd name="connsiteY20" fmla="*/ 14317 h 600994"/>
                <a:gd name="connsiteX21" fmla="*/ 69518 w 211739"/>
                <a:gd name="connsiteY21" fmla="*/ 110401 h 600994"/>
                <a:gd name="connsiteX22" fmla="*/ 74865 w 211739"/>
                <a:gd name="connsiteY22" fmla="*/ 117301 h 600994"/>
                <a:gd name="connsiteX23" fmla="*/ 93668 w 211739"/>
                <a:gd name="connsiteY23" fmla="*/ 146281 h 600994"/>
                <a:gd name="connsiteX24" fmla="*/ 97290 w 211739"/>
                <a:gd name="connsiteY24" fmla="*/ 174744 h 600994"/>
                <a:gd name="connsiteX25" fmla="*/ 97290 w 211739"/>
                <a:gd name="connsiteY25" fmla="*/ 176641 h 600994"/>
                <a:gd name="connsiteX26" fmla="*/ 99016 w 211739"/>
                <a:gd name="connsiteY26" fmla="*/ 197169 h 600994"/>
                <a:gd name="connsiteX27" fmla="*/ 111436 w 211739"/>
                <a:gd name="connsiteY27" fmla="*/ 265134 h 600994"/>
                <a:gd name="connsiteX28" fmla="*/ 112471 w 211739"/>
                <a:gd name="connsiteY28" fmla="*/ 296530 h 600994"/>
                <a:gd name="connsiteX29" fmla="*/ 114368 w 211739"/>
                <a:gd name="connsiteY29" fmla="*/ 335170 h 600994"/>
                <a:gd name="connsiteX30" fmla="*/ 116610 w 211739"/>
                <a:gd name="connsiteY30" fmla="*/ 353455 h 600994"/>
                <a:gd name="connsiteX31" fmla="*/ 125063 w 211739"/>
                <a:gd name="connsiteY31" fmla="*/ 402445 h 600994"/>
                <a:gd name="connsiteX32" fmla="*/ 138173 w 211739"/>
                <a:gd name="connsiteY32" fmla="*/ 421248 h 600994"/>
                <a:gd name="connsiteX33" fmla="*/ 154734 w 211739"/>
                <a:gd name="connsiteY33" fmla="*/ 469031 h 600994"/>
                <a:gd name="connsiteX34" fmla="*/ 171121 w 211739"/>
                <a:gd name="connsiteY34" fmla="*/ 514054 h 600994"/>
                <a:gd name="connsiteX35" fmla="*/ 181989 w 211739"/>
                <a:gd name="connsiteY35" fmla="*/ 524404 h 600994"/>
                <a:gd name="connsiteX36" fmla="*/ 211314 w 211739"/>
                <a:gd name="connsiteY36" fmla="*/ 587884 h 600994"/>
                <a:gd name="connsiteX37" fmla="*/ 210797 w 211739"/>
                <a:gd name="connsiteY37" fmla="*/ 590299 h 600994"/>
                <a:gd name="connsiteX38" fmla="*/ 196134 w 211739"/>
                <a:gd name="connsiteY38" fmla="*/ 600994 h 600994"/>
                <a:gd name="connsiteX39" fmla="*/ 196134 w 211739"/>
                <a:gd name="connsiteY39" fmla="*/ 586332 h 600994"/>
                <a:gd name="connsiteX40" fmla="*/ 196134 w 211739"/>
                <a:gd name="connsiteY40" fmla="*/ 592369 h 600994"/>
                <a:gd name="connsiteX41" fmla="*/ 196134 w 211739"/>
                <a:gd name="connsiteY41" fmla="*/ 586332 h 600994"/>
                <a:gd name="connsiteX42" fmla="*/ 196134 w 211739"/>
                <a:gd name="connsiteY42" fmla="*/ 584607 h 600994"/>
                <a:gd name="connsiteX43" fmla="*/ 196134 w 211739"/>
                <a:gd name="connsiteY43" fmla="*/ 584607 h 600994"/>
                <a:gd name="connsiteX44" fmla="*/ 196134 w 211739"/>
                <a:gd name="connsiteY44" fmla="*/ 583744 h 600994"/>
                <a:gd name="connsiteX45" fmla="*/ 196134 w 211739"/>
                <a:gd name="connsiteY45" fmla="*/ 583744 h 600994"/>
                <a:gd name="connsiteX46" fmla="*/ 196134 w 211739"/>
                <a:gd name="connsiteY46" fmla="*/ 584607 h 600994"/>
                <a:gd name="connsiteX47" fmla="*/ 12075 w 211739"/>
                <a:gd name="connsiteY47" fmla="*/ 14490 h 600994"/>
                <a:gd name="connsiteX48" fmla="*/ 12075 w 211739"/>
                <a:gd name="connsiteY48" fmla="*/ 14490 h 600994"/>
                <a:gd name="connsiteX49" fmla="*/ 12075 w 211739"/>
                <a:gd name="connsiteY49" fmla="*/ 14490 h 60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11739" h="600994">
                  <a:moveTo>
                    <a:pt x="196134" y="600994"/>
                  </a:moveTo>
                  <a:lnTo>
                    <a:pt x="195444" y="600994"/>
                  </a:lnTo>
                  <a:cubicBezTo>
                    <a:pt x="186991" y="600477"/>
                    <a:pt x="180954" y="593404"/>
                    <a:pt x="181471" y="585469"/>
                  </a:cubicBezTo>
                  <a:cubicBezTo>
                    <a:pt x="183196" y="567012"/>
                    <a:pt x="176986" y="560456"/>
                    <a:pt x="161288" y="545966"/>
                  </a:cubicBezTo>
                  <a:cubicBezTo>
                    <a:pt x="157493" y="542689"/>
                    <a:pt x="153699" y="538722"/>
                    <a:pt x="149558" y="534581"/>
                  </a:cubicBezTo>
                  <a:cubicBezTo>
                    <a:pt x="122993" y="507154"/>
                    <a:pt x="121613" y="499736"/>
                    <a:pt x="124891" y="466098"/>
                  </a:cubicBezTo>
                  <a:cubicBezTo>
                    <a:pt x="126443" y="451781"/>
                    <a:pt x="123511" y="448848"/>
                    <a:pt x="116783" y="441775"/>
                  </a:cubicBezTo>
                  <a:cubicBezTo>
                    <a:pt x="110746" y="435566"/>
                    <a:pt x="103155" y="427631"/>
                    <a:pt x="97463" y="413486"/>
                  </a:cubicBezTo>
                  <a:cubicBezTo>
                    <a:pt x="91425" y="398995"/>
                    <a:pt x="89011" y="375708"/>
                    <a:pt x="87113" y="356905"/>
                  </a:cubicBezTo>
                  <a:cubicBezTo>
                    <a:pt x="86423" y="350005"/>
                    <a:pt x="85733" y="343968"/>
                    <a:pt x="85216" y="339482"/>
                  </a:cubicBezTo>
                  <a:cubicBezTo>
                    <a:pt x="83145" y="325682"/>
                    <a:pt x="83145" y="310847"/>
                    <a:pt x="83145" y="296530"/>
                  </a:cubicBezTo>
                  <a:cubicBezTo>
                    <a:pt x="83145" y="286007"/>
                    <a:pt x="83145" y="276002"/>
                    <a:pt x="82283" y="267894"/>
                  </a:cubicBezTo>
                  <a:cubicBezTo>
                    <a:pt x="79868" y="244089"/>
                    <a:pt x="76763" y="227529"/>
                    <a:pt x="70725" y="204759"/>
                  </a:cubicBezTo>
                  <a:cubicBezTo>
                    <a:pt x="68310" y="195444"/>
                    <a:pt x="68138" y="185784"/>
                    <a:pt x="68138" y="176641"/>
                  </a:cubicBezTo>
                  <a:lnTo>
                    <a:pt x="68138" y="174744"/>
                  </a:lnTo>
                  <a:cubicBezTo>
                    <a:pt x="67966" y="167326"/>
                    <a:pt x="67793" y="160426"/>
                    <a:pt x="66068" y="155941"/>
                  </a:cubicBezTo>
                  <a:cubicBezTo>
                    <a:pt x="63998" y="149904"/>
                    <a:pt x="57960" y="142658"/>
                    <a:pt x="52268" y="135586"/>
                  </a:cubicBezTo>
                  <a:cubicBezTo>
                    <a:pt x="49680" y="132309"/>
                    <a:pt x="47783" y="130066"/>
                    <a:pt x="46230" y="127996"/>
                  </a:cubicBezTo>
                  <a:cubicBezTo>
                    <a:pt x="17940" y="91253"/>
                    <a:pt x="345" y="59513"/>
                    <a:pt x="0" y="14663"/>
                  </a:cubicBezTo>
                  <a:cubicBezTo>
                    <a:pt x="0" y="6555"/>
                    <a:pt x="6555" y="0"/>
                    <a:pt x="14662" y="0"/>
                  </a:cubicBezTo>
                  <a:cubicBezTo>
                    <a:pt x="22770" y="0"/>
                    <a:pt x="29325" y="6382"/>
                    <a:pt x="29325" y="14317"/>
                  </a:cubicBezTo>
                  <a:cubicBezTo>
                    <a:pt x="29498" y="51406"/>
                    <a:pt x="43643" y="76763"/>
                    <a:pt x="69518" y="110401"/>
                  </a:cubicBezTo>
                  <a:cubicBezTo>
                    <a:pt x="71243" y="112816"/>
                    <a:pt x="73140" y="115059"/>
                    <a:pt x="74865" y="117301"/>
                  </a:cubicBezTo>
                  <a:cubicBezTo>
                    <a:pt x="82800" y="127133"/>
                    <a:pt x="89873" y="136104"/>
                    <a:pt x="93668" y="146281"/>
                  </a:cubicBezTo>
                  <a:cubicBezTo>
                    <a:pt x="96946" y="155596"/>
                    <a:pt x="97118" y="165429"/>
                    <a:pt x="97290" y="174744"/>
                  </a:cubicBezTo>
                  <a:lnTo>
                    <a:pt x="97290" y="176641"/>
                  </a:lnTo>
                  <a:cubicBezTo>
                    <a:pt x="97290" y="183542"/>
                    <a:pt x="97463" y="191304"/>
                    <a:pt x="99016" y="197169"/>
                  </a:cubicBezTo>
                  <a:cubicBezTo>
                    <a:pt x="105398" y="220974"/>
                    <a:pt x="108676" y="238569"/>
                    <a:pt x="111436" y="265134"/>
                  </a:cubicBezTo>
                  <a:cubicBezTo>
                    <a:pt x="112126" y="273415"/>
                    <a:pt x="112471" y="283075"/>
                    <a:pt x="112471" y="296530"/>
                  </a:cubicBezTo>
                  <a:cubicBezTo>
                    <a:pt x="112471" y="309812"/>
                    <a:pt x="112471" y="323440"/>
                    <a:pt x="114368" y="335170"/>
                  </a:cubicBezTo>
                  <a:lnTo>
                    <a:pt x="116610" y="353455"/>
                  </a:lnTo>
                  <a:cubicBezTo>
                    <a:pt x="117991" y="366910"/>
                    <a:pt x="120233" y="391233"/>
                    <a:pt x="125063" y="402445"/>
                  </a:cubicBezTo>
                  <a:cubicBezTo>
                    <a:pt x="128858" y="411933"/>
                    <a:pt x="133688" y="416763"/>
                    <a:pt x="138173" y="421248"/>
                  </a:cubicBezTo>
                  <a:cubicBezTo>
                    <a:pt x="147316" y="430563"/>
                    <a:pt x="157493" y="441086"/>
                    <a:pt x="154734" y="469031"/>
                  </a:cubicBezTo>
                  <a:cubicBezTo>
                    <a:pt x="152146" y="494389"/>
                    <a:pt x="152146" y="494389"/>
                    <a:pt x="171121" y="514054"/>
                  </a:cubicBezTo>
                  <a:cubicBezTo>
                    <a:pt x="174916" y="518021"/>
                    <a:pt x="178366" y="521299"/>
                    <a:pt x="181989" y="524404"/>
                  </a:cubicBezTo>
                  <a:cubicBezTo>
                    <a:pt x="198376" y="539757"/>
                    <a:pt x="214592" y="555109"/>
                    <a:pt x="211314" y="587884"/>
                  </a:cubicBezTo>
                  <a:lnTo>
                    <a:pt x="210797" y="590299"/>
                  </a:lnTo>
                  <a:cubicBezTo>
                    <a:pt x="208381" y="596854"/>
                    <a:pt x="202689" y="600994"/>
                    <a:pt x="196134" y="600994"/>
                  </a:cubicBezTo>
                  <a:close/>
                  <a:moveTo>
                    <a:pt x="196134" y="586332"/>
                  </a:moveTo>
                  <a:lnTo>
                    <a:pt x="196134" y="592369"/>
                  </a:lnTo>
                  <a:lnTo>
                    <a:pt x="196134" y="586332"/>
                  </a:lnTo>
                  <a:close/>
                  <a:moveTo>
                    <a:pt x="196134" y="584607"/>
                  </a:moveTo>
                  <a:lnTo>
                    <a:pt x="196134" y="584607"/>
                  </a:lnTo>
                  <a:lnTo>
                    <a:pt x="196134" y="583744"/>
                  </a:lnTo>
                  <a:cubicBezTo>
                    <a:pt x="196134" y="583744"/>
                    <a:pt x="196134" y="583744"/>
                    <a:pt x="196134" y="583744"/>
                  </a:cubicBezTo>
                  <a:lnTo>
                    <a:pt x="196134" y="584607"/>
                  </a:lnTo>
                  <a:close/>
                  <a:moveTo>
                    <a:pt x="12075" y="14490"/>
                  </a:moveTo>
                  <a:cubicBezTo>
                    <a:pt x="12075" y="14490"/>
                    <a:pt x="12075" y="14490"/>
                    <a:pt x="12075" y="14490"/>
                  </a:cubicBezTo>
                  <a:cubicBezTo>
                    <a:pt x="12075" y="14490"/>
                    <a:pt x="12075" y="14490"/>
                    <a:pt x="12075" y="14490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5" name="Gráfico 1344">
            <a:extLst>
              <a:ext uri="{FF2B5EF4-FFF2-40B4-BE49-F238E27FC236}">
                <a16:creationId xmlns:a16="http://schemas.microsoft.com/office/drawing/2014/main" id="{93B7971B-50D3-4B5C-AA7C-72FFFF2AD375}"/>
              </a:ext>
            </a:extLst>
          </p:cNvPr>
          <p:cNvGrpSpPr/>
          <p:nvPr/>
        </p:nvGrpSpPr>
        <p:grpSpPr>
          <a:xfrm>
            <a:off x="8939897" y="3271031"/>
            <a:ext cx="1333513" cy="1264187"/>
            <a:chOff x="9059643" y="3379517"/>
            <a:chExt cx="1333513" cy="1264187"/>
          </a:xfrm>
          <a:solidFill>
            <a:srgbClr val="F59D24"/>
          </a:solidFill>
        </p:grpSpPr>
        <p:sp>
          <p:nvSpPr>
            <p:cNvPr id="592" name="Gráfico 1344">
              <a:extLst>
                <a:ext uri="{FF2B5EF4-FFF2-40B4-BE49-F238E27FC236}">
                  <a16:creationId xmlns:a16="http://schemas.microsoft.com/office/drawing/2014/main" id="{C91E6F59-169C-4490-B3DB-4A8C60F15747}"/>
                </a:ext>
              </a:extLst>
            </p:cNvPr>
            <p:cNvSpPr/>
            <p:nvPr/>
          </p:nvSpPr>
          <p:spPr>
            <a:xfrm>
              <a:off x="9068186" y="3389220"/>
              <a:ext cx="1316072" cy="1245859"/>
            </a:xfrm>
            <a:custGeom>
              <a:avLst/>
              <a:gdLst>
                <a:gd name="connsiteX0" fmla="*/ 6133 w 1316072"/>
                <a:gd name="connsiteY0" fmla="*/ 1245859 h 1245859"/>
                <a:gd name="connsiteX1" fmla="*/ 1648 w 1316072"/>
                <a:gd name="connsiteY1" fmla="*/ 1243962 h 1245859"/>
                <a:gd name="connsiteX2" fmla="*/ 1993 w 1316072"/>
                <a:gd name="connsiteY2" fmla="*/ 1235509 h 1245859"/>
                <a:gd name="connsiteX3" fmla="*/ 9410 w 1316072"/>
                <a:gd name="connsiteY3" fmla="*/ 1212221 h 1245859"/>
                <a:gd name="connsiteX4" fmla="*/ 11480 w 1316072"/>
                <a:gd name="connsiteY4" fmla="*/ 1195834 h 1245859"/>
                <a:gd name="connsiteX5" fmla="*/ 24763 w 1316072"/>
                <a:gd name="connsiteY5" fmla="*/ 1171339 h 1245859"/>
                <a:gd name="connsiteX6" fmla="*/ 32181 w 1316072"/>
                <a:gd name="connsiteY6" fmla="*/ 1164266 h 1245859"/>
                <a:gd name="connsiteX7" fmla="*/ 45463 w 1316072"/>
                <a:gd name="connsiteY7" fmla="*/ 1125626 h 1245859"/>
                <a:gd name="connsiteX8" fmla="*/ 47878 w 1316072"/>
                <a:gd name="connsiteY8" fmla="*/ 1091816 h 1245859"/>
                <a:gd name="connsiteX9" fmla="*/ 87554 w 1316072"/>
                <a:gd name="connsiteY9" fmla="*/ 1036270 h 1245859"/>
                <a:gd name="connsiteX10" fmla="*/ 106184 w 1316072"/>
                <a:gd name="connsiteY10" fmla="*/ 1015398 h 1245859"/>
                <a:gd name="connsiteX11" fmla="*/ 139994 w 1316072"/>
                <a:gd name="connsiteY11" fmla="*/ 938635 h 1245859"/>
                <a:gd name="connsiteX12" fmla="*/ 139994 w 1316072"/>
                <a:gd name="connsiteY12" fmla="*/ 903617 h 1245859"/>
                <a:gd name="connsiteX13" fmla="*/ 136199 w 1316072"/>
                <a:gd name="connsiteY13" fmla="*/ 871877 h 1245859"/>
                <a:gd name="connsiteX14" fmla="*/ 154139 w 1316072"/>
                <a:gd name="connsiteY14" fmla="*/ 819264 h 1245859"/>
                <a:gd name="connsiteX15" fmla="*/ 167077 w 1316072"/>
                <a:gd name="connsiteY15" fmla="*/ 790456 h 1245859"/>
                <a:gd name="connsiteX16" fmla="*/ 169664 w 1316072"/>
                <a:gd name="connsiteY16" fmla="*/ 778898 h 1245859"/>
                <a:gd name="connsiteX17" fmla="*/ 178980 w 1316072"/>
                <a:gd name="connsiteY17" fmla="*/ 758026 h 1245859"/>
                <a:gd name="connsiteX18" fmla="*/ 190019 w 1316072"/>
                <a:gd name="connsiteY18" fmla="*/ 744571 h 1245859"/>
                <a:gd name="connsiteX19" fmla="*/ 204509 w 1316072"/>
                <a:gd name="connsiteY19" fmla="*/ 725423 h 1245859"/>
                <a:gd name="connsiteX20" fmla="*/ 207787 w 1316072"/>
                <a:gd name="connsiteY20" fmla="*/ 715763 h 1245859"/>
                <a:gd name="connsiteX21" fmla="*/ 215722 w 1316072"/>
                <a:gd name="connsiteY21" fmla="*/ 698340 h 1245859"/>
                <a:gd name="connsiteX22" fmla="*/ 234007 w 1316072"/>
                <a:gd name="connsiteY22" fmla="*/ 682125 h 1245859"/>
                <a:gd name="connsiteX23" fmla="*/ 251430 w 1316072"/>
                <a:gd name="connsiteY23" fmla="*/ 667290 h 1245859"/>
                <a:gd name="connsiteX24" fmla="*/ 269543 w 1316072"/>
                <a:gd name="connsiteY24" fmla="*/ 644348 h 1245859"/>
                <a:gd name="connsiteX25" fmla="*/ 308873 w 1316072"/>
                <a:gd name="connsiteY25" fmla="*/ 602085 h 1245859"/>
                <a:gd name="connsiteX26" fmla="*/ 334058 w 1316072"/>
                <a:gd name="connsiteY26" fmla="*/ 551197 h 1245859"/>
                <a:gd name="connsiteX27" fmla="*/ 334058 w 1316072"/>
                <a:gd name="connsiteY27" fmla="*/ 550162 h 1245859"/>
                <a:gd name="connsiteX28" fmla="*/ 433246 w 1316072"/>
                <a:gd name="connsiteY28" fmla="*/ 433033 h 1245859"/>
                <a:gd name="connsiteX29" fmla="*/ 435834 w 1316072"/>
                <a:gd name="connsiteY29" fmla="*/ 431481 h 1245859"/>
                <a:gd name="connsiteX30" fmla="*/ 458949 w 1316072"/>
                <a:gd name="connsiteY30" fmla="*/ 415956 h 1245859"/>
                <a:gd name="connsiteX31" fmla="*/ 503626 w 1316072"/>
                <a:gd name="connsiteY31" fmla="*/ 389908 h 1245859"/>
                <a:gd name="connsiteX32" fmla="*/ 523292 w 1316072"/>
                <a:gd name="connsiteY32" fmla="*/ 388011 h 1245859"/>
                <a:gd name="connsiteX33" fmla="*/ 538817 w 1316072"/>
                <a:gd name="connsiteY33" fmla="*/ 386803 h 1245859"/>
                <a:gd name="connsiteX34" fmla="*/ 553307 w 1316072"/>
                <a:gd name="connsiteY34" fmla="*/ 376625 h 1245859"/>
                <a:gd name="connsiteX35" fmla="*/ 569350 w 1316072"/>
                <a:gd name="connsiteY35" fmla="*/ 365068 h 1245859"/>
                <a:gd name="connsiteX36" fmla="*/ 617133 w 1316072"/>
                <a:gd name="connsiteY36" fmla="*/ 344368 h 1245859"/>
                <a:gd name="connsiteX37" fmla="*/ 653703 w 1316072"/>
                <a:gd name="connsiteY37" fmla="*/ 329533 h 1245859"/>
                <a:gd name="connsiteX38" fmla="*/ 679233 w 1316072"/>
                <a:gd name="connsiteY38" fmla="*/ 321080 h 1245859"/>
                <a:gd name="connsiteX39" fmla="*/ 726154 w 1316072"/>
                <a:gd name="connsiteY39" fmla="*/ 300208 h 1245859"/>
                <a:gd name="connsiteX40" fmla="*/ 738574 w 1316072"/>
                <a:gd name="connsiteY40" fmla="*/ 229827 h 1245859"/>
                <a:gd name="connsiteX41" fmla="*/ 733744 w 1316072"/>
                <a:gd name="connsiteY41" fmla="*/ 216199 h 1245859"/>
                <a:gd name="connsiteX42" fmla="*/ 727361 w 1316072"/>
                <a:gd name="connsiteY42" fmla="*/ 196017 h 1245859"/>
                <a:gd name="connsiteX43" fmla="*/ 758239 w 1316072"/>
                <a:gd name="connsiteY43" fmla="*/ 148924 h 1245859"/>
                <a:gd name="connsiteX44" fmla="*/ 771866 w 1316072"/>
                <a:gd name="connsiteY44" fmla="*/ 140989 h 1245859"/>
                <a:gd name="connsiteX45" fmla="*/ 798259 w 1316072"/>
                <a:gd name="connsiteY45" fmla="*/ 115804 h 1245859"/>
                <a:gd name="connsiteX46" fmla="*/ 820166 w 1316072"/>
                <a:gd name="connsiteY46" fmla="*/ 94068 h 1245859"/>
                <a:gd name="connsiteX47" fmla="*/ 864155 w 1316072"/>
                <a:gd name="connsiteY47" fmla="*/ 71126 h 1245859"/>
                <a:gd name="connsiteX48" fmla="*/ 888649 w 1316072"/>
                <a:gd name="connsiteY48" fmla="*/ 59396 h 1245859"/>
                <a:gd name="connsiteX49" fmla="*/ 981973 w 1316072"/>
                <a:gd name="connsiteY49" fmla="*/ 27828 h 1245859"/>
                <a:gd name="connsiteX50" fmla="*/ 1042521 w 1316072"/>
                <a:gd name="connsiteY50" fmla="*/ 42663 h 1245859"/>
                <a:gd name="connsiteX51" fmla="*/ 1100309 w 1316072"/>
                <a:gd name="connsiteY51" fmla="*/ 56118 h 1245859"/>
                <a:gd name="connsiteX52" fmla="*/ 1110314 w 1316072"/>
                <a:gd name="connsiteY52" fmla="*/ 50771 h 1245859"/>
                <a:gd name="connsiteX53" fmla="*/ 1125321 w 1316072"/>
                <a:gd name="connsiteY53" fmla="*/ 42663 h 1245859"/>
                <a:gd name="connsiteX54" fmla="*/ 1143089 w 1316072"/>
                <a:gd name="connsiteY54" fmla="*/ 43526 h 1245859"/>
                <a:gd name="connsiteX55" fmla="*/ 1161029 w 1316072"/>
                <a:gd name="connsiteY55" fmla="*/ 43353 h 1245859"/>
                <a:gd name="connsiteX56" fmla="*/ 1180004 w 1316072"/>
                <a:gd name="connsiteY56" fmla="*/ 25068 h 1245859"/>
                <a:gd name="connsiteX57" fmla="*/ 1235895 w 1316072"/>
                <a:gd name="connsiteY57" fmla="*/ 2988 h 1245859"/>
                <a:gd name="connsiteX58" fmla="*/ 1261252 w 1316072"/>
                <a:gd name="connsiteY58" fmla="*/ 35246 h 1245859"/>
                <a:gd name="connsiteX59" fmla="*/ 1293683 w 1316072"/>
                <a:gd name="connsiteY59" fmla="*/ 74748 h 1245859"/>
                <a:gd name="connsiteX60" fmla="*/ 1305585 w 1316072"/>
                <a:gd name="connsiteY60" fmla="*/ 67331 h 1245859"/>
                <a:gd name="connsiteX61" fmla="*/ 1313865 w 1316072"/>
                <a:gd name="connsiteY61" fmla="*/ 66468 h 1245859"/>
                <a:gd name="connsiteX62" fmla="*/ 1314728 w 1316072"/>
                <a:gd name="connsiteY62" fmla="*/ 74748 h 1245859"/>
                <a:gd name="connsiteX63" fmla="*/ 1292475 w 1316072"/>
                <a:gd name="connsiteY63" fmla="*/ 86651 h 1245859"/>
                <a:gd name="connsiteX64" fmla="*/ 1250557 w 1316072"/>
                <a:gd name="connsiteY64" fmla="*/ 41283 h 1245859"/>
                <a:gd name="connsiteX65" fmla="*/ 1231755 w 1316072"/>
                <a:gd name="connsiteY65" fmla="*/ 14373 h 1245859"/>
                <a:gd name="connsiteX66" fmla="*/ 1189147 w 1316072"/>
                <a:gd name="connsiteY66" fmla="*/ 32486 h 1245859"/>
                <a:gd name="connsiteX67" fmla="*/ 1165514 w 1316072"/>
                <a:gd name="connsiteY67" fmla="*/ 54393 h 1245859"/>
                <a:gd name="connsiteX68" fmla="*/ 1140674 w 1316072"/>
                <a:gd name="connsiteY68" fmla="*/ 55428 h 1245859"/>
                <a:gd name="connsiteX69" fmla="*/ 1127391 w 1316072"/>
                <a:gd name="connsiteY69" fmla="*/ 54566 h 1245859"/>
                <a:gd name="connsiteX70" fmla="*/ 1117731 w 1316072"/>
                <a:gd name="connsiteY70" fmla="*/ 60086 h 1245859"/>
                <a:gd name="connsiteX71" fmla="*/ 1101344 w 1316072"/>
                <a:gd name="connsiteY71" fmla="*/ 68193 h 1245859"/>
                <a:gd name="connsiteX72" fmla="*/ 1038208 w 1316072"/>
                <a:gd name="connsiteY72" fmla="*/ 54048 h 1245859"/>
                <a:gd name="connsiteX73" fmla="*/ 981800 w 1316072"/>
                <a:gd name="connsiteY73" fmla="*/ 39731 h 1245859"/>
                <a:gd name="connsiteX74" fmla="*/ 893997 w 1316072"/>
                <a:gd name="connsiteY74" fmla="*/ 69918 h 1245859"/>
                <a:gd name="connsiteX75" fmla="*/ 868812 w 1316072"/>
                <a:gd name="connsiteY75" fmla="*/ 81821 h 1245859"/>
                <a:gd name="connsiteX76" fmla="*/ 826894 w 1316072"/>
                <a:gd name="connsiteY76" fmla="*/ 103556 h 1245859"/>
                <a:gd name="connsiteX77" fmla="*/ 806539 w 1316072"/>
                <a:gd name="connsiteY77" fmla="*/ 123566 h 1245859"/>
                <a:gd name="connsiteX78" fmla="*/ 777731 w 1316072"/>
                <a:gd name="connsiteY78" fmla="*/ 150994 h 1245859"/>
                <a:gd name="connsiteX79" fmla="*/ 763241 w 1316072"/>
                <a:gd name="connsiteY79" fmla="*/ 159274 h 1245859"/>
                <a:gd name="connsiteX80" fmla="*/ 738746 w 1316072"/>
                <a:gd name="connsiteY80" fmla="*/ 194809 h 1245859"/>
                <a:gd name="connsiteX81" fmla="*/ 744266 w 1316072"/>
                <a:gd name="connsiteY81" fmla="*/ 211714 h 1245859"/>
                <a:gd name="connsiteX82" fmla="*/ 749958 w 1316072"/>
                <a:gd name="connsiteY82" fmla="*/ 227412 h 1245859"/>
                <a:gd name="connsiteX83" fmla="*/ 734606 w 1316072"/>
                <a:gd name="connsiteY83" fmla="*/ 308315 h 1245859"/>
                <a:gd name="connsiteX84" fmla="*/ 682511 w 1316072"/>
                <a:gd name="connsiteY84" fmla="*/ 332465 h 1245859"/>
                <a:gd name="connsiteX85" fmla="*/ 658360 w 1316072"/>
                <a:gd name="connsiteY85" fmla="*/ 340573 h 1245859"/>
                <a:gd name="connsiteX86" fmla="*/ 621445 w 1316072"/>
                <a:gd name="connsiteY86" fmla="*/ 355753 h 1245859"/>
                <a:gd name="connsiteX87" fmla="*/ 574697 w 1316072"/>
                <a:gd name="connsiteY87" fmla="*/ 375763 h 1245859"/>
                <a:gd name="connsiteX88" fmla="*/ 560897 w 1316072"/>
                <a:gd name="connsiteY88" fmla="*/ 385768 h 1245859"/>
                <a:gd name="connsiteX89" fmla="*/ 542785 w 1316072"/>
                <a:gd name="connsiteY89" fmla="*/ 397843 h 1245859"/>
                <a:gd name="connsiteX90" fmla="*/ 522774 w 1316072"/>
                <a:gd name="connsiteY90" fmla="*/ 399913 h 1245859"/>
                <a:gd name="connsiteX91" fmla="*/ 506904 w 1316072"/>
                <a:gd name="connsiteY91" fmla="*/ 401121 h 1245859"/>
                <a:gd name="connsiteX92" fmla="*/ 465504 w 1316072"/>
                <a:gd name="connsiteY92" fmla="*/ 425443 h 1245859"/>
                <a:gd name="connsiteX93" fmla="*/ 441526 w 1316072"/>
                <a:gd name="connsiteY93" fmla="*/ 441486 h 1245859"/>
                <a:gd name="connsiteX94" fmla="*/ 438939 w 1316072"/>
                <a:gd name="connsiteY94" fmla="*/ 443039 h 1245859"/>
                <a:gd name="connsiteX95" fmla="*/ 345443 w 1316072"/>
                <a:gd name="connsiteY95" fmla="*/ 550679 h 1245859"/>
                <a:gd name="connsiteX96" fmla="*/ 345443 w 1316072"/>
                <a:gd name="connsiteY96" fmla="*/ 551714 h 1245859"/>
                <a:gd name="connsiteX97" fmla="*/ 315428 w 1316072"/>
                <a:gd name="connsiteY97" fmla="*/ 611572 h 1245859"/>
                <a:gd name="connsiteX98" fmla="*/ 278685 w 1316072"/>
                <a:gd name="connsiteY98" fmla="*/ 651247 h 1245859"/>
                <a:gd name="connsiteX99" fmla="*/ 259883 w 1316072"/>
                <a:gd name="connsiteY99" fmla="*/ 675053 h 1245859"/>
                <a:gd name="connsiteX100" fmla="*/ 240735 w 1316072"/>
                <a:gd name="connsiteY100" fmla="*/ 691613 h 1245859"/>
                <a:gd name="connsiteX101" fmla="*/ 224520 w 1316072"/>
                <a:gd name="connsiteY101" fmla="*/ 705758 h 1245859"/>
                <a:gd name="connsiteX102" fmla="*/ 218827 w 1316072"/>
                <a:gd name="connsiteY102" fmla="*/ 719040 h 1245859"/>
                <a:gd name="connsiteX103" fmla="*/ 214515 w 1316072"/>
                <a:gd name="connsiteY103" fmla="*/ 731116 h 1245859"/>
                <a:gd name="connsiteX104" fmla="*/ 198300 w 1316072"/>
                <a:gd name="connsiteY104" fmla="*/ 752678 h 1245859"/>
                <a:gd name="connsiteX105" fmla="*/ 187777 w 1316072"/>
                <a:gd name="connsiteY105" fmla="*/ 765271 h 1245859"/>
                <a:gd name="connsiteX106" fmla="*/ 180532 w 1316072"/>
                <a:gd name="connsiteY106" fmla="*/ 781314 h 1245859"/>
                <a:gd name="connsiteX107" fmla="*/ 177772 w 1316072"/>
                <a:gd name="connsiteY107" fmla="*/ 793906 h 1245859"/>
                <a:gd name="connsiteX108" fmla="*/ 163627 w 1316072"/>
                <a:gd name="connsiteY108" fmla="*/ 825301 h 1245859"/>
                <a:gd name="connsiteX109" fmla="*/ 147239 w 1316072"/>
                <a:gd name="connsiteY109" fmla="*/ 872567 h 1245859"/>
                <a:gd name="connsiteX110" fmla="*/ 150689 w 1316072"/>
                <a:gd name="connsiteY110" fmla="*/ 901374 h 1245859"/>
                <a:gd name="connsiteX111" fmla="*/ 150516 w 1316072"/>
                <a:gd name="connsiteY111" fmla="*/ 942257 h 1245859"/>
                <a:gd name="connsiteX112" fmla="*/ 114809 w 1316072"/>
                <a:gd name="connsiteY112" fmla="*/ 1022815 h 1245859"/>
                <a:gd name="connsiteX113" fmla="*/ 95316 w 1316072"/>
                <a:gd name="connsiteY113" fmla="*/ 1044723 h 1245859"/>
                <a:gd name="connsiteX114" fmla="*/ 58573 w 1316072"/>
                <a:gd name="connsiteY114" fmla="*/ 1095266 h 1245859"/>
                <a:gd name="connsiteX115" fmla="*/ 56504 w 1316072"/>
                <a:gd name="connsiteY115" fmla="*/ 1125281 h 1245859"/>
                <a:gd name="connsiteX116" fmla="*/ 39771 w 1316072"/>
                <a:gd name="connsiteY116" fmla="*/ 1172719 h 1245859"/>
                <a:gd name="connsiteX117" fmla="*/ 32008 w 1316072"/>
                <a:gd name="connsiteY117" fmla="*/ 1180136 h 1245859"/>
                <a:gd name="connsiteX118" fmla="*/ 22176 w 1316072"/>
                <a:gd name="connsiteY118" fmla="*/ 1199112 h 1245859"/>
                <a:gd name="connsiteX119" fmla="*/ 20451 w 1316072"/>
                <a:gd name="connsiteY119" fmla="*/ 1213257 h 1245859"/>
                <a:gd name="connsiteX120" fmla="*/ 9066 w 1316072"/>
                <a:gd name="connsiteY120" fmla="*/ 1244307 h 1245859"/>
                <a:gd name="connsiteX121" fmla="*/ 6133 w 1316072"/>
                <a:gd name="connsiteY121" fmla="*/ 1245859 h 1245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316072" h="1245859">
                  <a:moveTo>
                    <a:pt x="6133" y="1245859"/>
                  </a:moveTo>
                  <a:cubicBezTo>
                    <a:pt x="4408" y="1245859"/>
                    <a:pt x="2855" y="1245169"/>
                    <a:pt x="1648" y="1243962"/>
                  </a:cubicBezTo>
                  <a:cubicBezTo>
                    <a:pt x="-767" y="1241374"/>
                    <a:pt x="-422" y="1237752"/>
                    <a:pt x="1993" y="1235509"/>
                  </a:cubicBezTo>
                  <a:cubicBezTo>
                    <a:pt x="8376" y="1229817"/>
                    <a:pt x="8893" y="1221709"/>
                    <a:pt x="9410" y="1212221"/>
                  </a:cubicBezTo>
                  <a:cubicBezTo>
                    <a:pt x="9756" y="1206874"/>
                    <a:pt x="10101" y="1201354"/>
                    <a:pt x="11480" y="1195834"/>
                  </a:cubicBezTo>
                  <a:cubicBezTo>
                    <a:pt x="15621" y="1180654"/>
                    <a:pt x="16310" y="1178929"/>
                    <a:pt x="24763" y="1171339"/>
                  </a:cubicBezTo>
                  <a:cubicBezTo>
                    <a:pt x="26661" y="1169614"/>
                    <a:pt x="29076" y="1167371"/>
                    <a:pt x="32181" y="1164266"/>
                  </a:cubicBezTo>
                  <a:cubicBezTo>
                    <a:pt x="46843" y="1149431"/>
                    <a:pt x="46326" y="1139944"/>
                    <a:pt x="45463" y="1125626"/>
                  </a:cubicBezTo>
                  <a:cubicBezTo>
                    <a:pt x="44774" y="1116311"/>
                    <a:pt x="43911" y="1105616"/>
                    <a:pt x="47878" y="1091816"/>
                  </a:cubicBezTo>
                  <a:cubicBezTo>
                    <a:pt x="53226" y="1072668"/>
                    <a:pt x="71338" y="1053175"/>
                    <a:pt x="87554" y="1036270"/>
                  </a:cubicBezTo>
                  <a:cubicBezTo>
                    <a:pt x="94799" y="1028680"/>
                    <a:pt x="101699" y="1021608"/>
                    <a:pt x="106184" y="1015398"/>
                  </a:cubicBezTo>
                  <a:cubicBezTo>
                    <a:pt x="123089" y="992800"/>
                    <a:pt x="131369" y="967270"/>
                    <a:pt x="139994" y="938635"/>
                  </a:cubicBezTo>
                  <a:cubicBezTo>
                    <a:pt x="144479" y="923454"/>
                    <a:pt x="142581" y="914829"/>
                    <a:pt x="139994" y="903617"/>
                  </a:cubicBezTo>
                  <a:cubicBezTo>
                    <a:pt x="138097" y="895164"/>
                    <a:pt x="135682" y="885504"/>
                    <a:pt x="136199" y="871877"/>
                  </a:cubicBezTo>
                  <a:cubicBezTo>
                    <a:pt x="136889" y="850486"/>
                    <a:pt x="145514" y="834616"/>
                    <a:pt x="154139" y="819264"/>
                  </a:cubicBezTo>
                  <a:cubicBezTo>
                    <a:pt x="159487" y="809603"/>
                    <a:pt x="164317" y="800461"/>
                    <a:pt x="167077" y="790456"/>
                  </a:cubicBezTo>
                  <a:cubicBezTo>
                    <a:pt x="168629" y="785281"/>
                    <a:pt x="169147" y="782004"/>
                    <a:pt x="169664" y="778898"/>
                  </a:cubicBezTo>
                  <a:cubicBezTo>
                    <a:pt x="170872" y="771481"/>
                    <a:pt x="172079" y="767686"/>
                    <a:pt x="178980" y="758026"/>
                  </a:cubicBezTo>
                  <a:cubicBezTo>
                    <a:pt x="182602" y="753196"/>
                    <a:pt x="186397" y="748883"/>
                    <a:pt x="190019" y="744571"/>
                  </a:cubicBezTo>
                  <a:cubicBezTo>
                    <a:pt x="195539" y="738360"/>
                    <a:pt x="200714" y="732668"/>
                    <a:pt x="204509" y="725423"/>
                  </a:cubicBezTo>
                  <a:cubicBezTo>
                    <a:pt x="206234" y="722146"/>
                    <a:pt x="206925" y="719213"/>
                    <a:pt x="207787" y="715763"/>
                  </a:cubicBezTo>
                  <a:cubicBezTo>
                    <a:pt x="208995" y="710415"/>
                    <a:pt x="210720" y="704723"/>
                    <a:pt x="215722" y="698340"/>
                  </a:cubicBezTo>
                  <a:cubicBezTo>
                    <a:pt x="220207" y="692648"/>
                    <a:pt x="227107" y="687473"/>
                    <a:pt x="234007" y="682125"/>
                  </a:cubicBezTo>
                  <a:cubicBezTo>
                    <a:pt x="240390" y="677295"/>
                    <a:pt x="246772" y="672293"/>
                    <a:pt x="251430" y="667290"/>
                  </a:cubicBezTo>
                  <a:cubicBezTo>
                    <a:pt x="258330" y="659355"/>
                    <a:pt x="264023" y="651765"/>
                    <a:pt x="269543" y="644348"/>
                  </a:cubicBezTo>
                  <a:cubicBezTo>
                    <a:pt x="280582" y="629512"/>
                    <a:pt x="291105" y="615367"/>
                    <a:pt x="308873" y="602085"/>
                  </a:cubicBezTo>
                  <a:cubicBezTo>
                    <a:pt x="332333" y="584834"/>
                    <a:pt x="332506" y="581557"/>
                    <a:pt x="334058" y="551197"/>
                  </a:cubicBezTo>
                  <a:lnTo>
                    <a:pt x="334058" y="550162"/>
                  </a:lnTo>
                  <a:cubicBezTo>
                    <a:pt x="336991" y="488579"/>
                    <a:pt x="386153" y="460289"/>
                    <a:pt x="433246" y="433033"/>
                  </a:cubicBezTo>
                  <a:lnTo>
                    <a:pt x="435834" y="431481"/>
                  </a:lnTo>
                  <a:cubicBezTo>
                    <a:pt x="443251" y="427168"/>
                    <a:pt x="450841" y="421648"/>
                    <a:pt x="458949" y="415956"/>
                  </a:cubicBezTo>
                  <a:cubicBezTo>
                    <a:pt x="473267" y="405778"/>
                    <a:pt x="488274" y="395083"/>
                    <a:pt x="503626" y="389908"/>
                  </a:cubicBezTo>
                  <a:cubicBezTo>
                    <a:pt x="510009" y="387838"/>
                    <a:pt x="516909" y="388011"/>
                    <a:pt x="523292" y="388011"/>
                  </a:cubicBezTo>
                  <a:cubicBezTo>
                    <a:pt x="528984" y="388183"/>
                    <a:pt x="534677" y="388183"/>
                    <a:pt x="538817" y="386803"/>
                  </a:cubicBezTo>
                  <a:cubicBezTo>
                    <a:pt x="543475" y="385078"/>
                    <a:pt x="548132" y="381110"/>
                    <a:pt x="553307" y="376625"/>
                  </a:cubicBezTo>
                  <a:cubicBezTo>
                    <a:pt x="558137" y="372658"/>
                    <a:pt x="563312" y="368173"/>
                    <a:pt x="569350" y="365068"/>
                  </a:cubicBezTo>
                  <a:cubicBezTo>
                    <a:pt x="583667" y="357650"/>
                    <a:pt x="600745" y="350923"/>
                    <a:pt x="617133" y="344368"/>
                  </a:cubicBezTo>
                  <a:cubicBezTo>
                    <a:pt x="629380" y="339710"/>
                    <a:pt x="641973" y="334535"/>
                    <a:pt x="653703" y="329533"/>
                  </a:cubicBezTo>
                  <a:cubicBezTo>
                    <a:pt x="660775" y="326255"/>
                    <a:pt x="669918" y="323840"/>
                    <a:pt x="679233" y="321080"/>
                  </a:cubicBezTo>
                  <a:cubicBezTo>
                    <a:pt x="696655" y="315905"/>
                    <a:pt x="716666" y="310212"/>
                    <a:pt x="726154" y="300208"/>
                  </a:cubicBezTo>
                  <a:cubicBezTo>
                    <a:pt x="744439" y="280887"/>
                    <a:pt x="743058" y="251217"/>
                    <a:pt x="738574" y="229827"/>
                  </a:cubicBezTo>
                  <a:cubicBezTo>
                    <a:pt x="737711" y="225514"/>
                    <a:pt x="735814" y="221029"/>
                    <a:pt x="733744" y="216199"/>
                  </a:cubicBezTo>
                  <a:cubicBezTo>
                    <a:pt x="730984" y="209817"/>
                    <a:pt x="728051" y="202917"/>
                    <a:pt x="727361" y="196017"/>
                  </a:cubicBezTo>
                  <a:cubicBezTo>
                    <a:pt x="724428" y="166864"/>
                    <a:pt x="741679" y="157721"/>
                    <a:pt x="758239" y="148924"/>
                  </a:cubicBezTo>
                  <a:cubicBezTo>
                    <a:pt x="762724" y="146509"/>
                    <a:pt x="767381" y="144094"/>
                    <a:pt x="771866" y="140989"/>
                  </a:cubicBezTo>
                  <a:cubicBezTo>
                    <a:pt x="781871" y="134434"/>
                    <a:pt x="790496" y="124946"/>
                    <a:pt x="798259" y="115804"/>
                  </a:cubicBezTo>
                  <a:cubicBezTo>
                    <a:pt x="805504" y="107696"/>
                    <a:pt x="812404" y="100106"/>
                    <a:pt x="820166" y="94068"/>
                  </a:cubicBezTo>
                  <a:cubicBezTo>
                    <a:pt x="830861" y="86133"/>
                    <a:pt x="847939" y="78543"/>
                    <a:pt x="864155" y="71126"/>
                  </a:cubicBezTo>
                  <a:cubicBezTo>
                    <a:pt x="873297" y="67158"/>
                    <a:pt x="881922" y="63018"/>
                    <a:pt x="888649" y="59396"/>
                  </a:cubicBezTo>
                  <a:cubicBezTo>
                    <a:pt x="917457" y="43871"/>
                    <a:pt x="950923" y="28345"/>
                    <a:pt x="981973" y="27828"/>
                  </a:cubicBezTo>
                  <a:cubicBezTo>
                    <a:pt x="1001983" y="27656"/>
                    <a:pt x="1022511" y="35246"/>
                    <a:pt x="1042521" y="42663"/>
                  </a:cubicBezTo>
                  <a:cubicBezTo>
                    <a:pt x="1063393" y="50598"/>
                    <a:pt x="1083059" y="57843"/>
                    <a:pt x="1100309" y="56118"/>
                  </a:cubicBezTo>
                  <a:cubicBezTo>
                    <a:pt x="1104449" y="55773"/>
                    <a:pt x="1106691" y="53531"/>
                    <a:pt x="1110314" y="50771"/>
                  </a:cubicBezTo>
                  <a:cubicBezTo>
                    <a:pt x="1113936" y="47838"/>
                    <a:pt x="1118421" y="43871"/>
                    <a:pt x="1125321" y="42663"/>
                  </a:cubicBezTo>
                  <a:cubicBezTo>
                    <a:pt x="1131531" y="41456"/>
                    <a:pt x="1137569" y="42491"/>
                    <a:pt x="1143089" y="43526"/>
                  </a:cubicBezTo>
                  <a:cubicBezTo>
                    <a:pt x="1149644" y="44733"/>
                    <a:pt x="1155336" y="45596"/>
                    <a:pt x="1161029" y="43353"/>
                  </a:cubicBezTo>
                  <a:cubicBezTo>
                    <a:pt x="1168792" y="39903"/>
                    <a:pt x="1174311" y="32658"/>
                    <a:pt x="1180004" y="25068"/>
                  </a:cubicBezTo>
                  <a:cubicBezTo>
                    <a:pt x="1190872" y="10750"/>
                    <a:pt x="1204499" y="-7190"/>
                    <a:pt x="1235895" y="2988"/>
                  </a:cubicBezTo>
                  <a:cubicBezTo>
                    <a:pt x="1244692" y="5748"/>
                    <a:pt x="1251937" y="18685"/>
                    <a:pt x="1261252" y="35246"/>
                  </a:cubicBezTo>
                  <a:cubicBezTo>
                    <a:pt x="1270395" y="51461"/>
                    <a:pt x="1282988" y="73541"/>
                    <a:pt x="1293683" y="74748"/>
                  </a:cubicBezTo>
                  <a:cubicBezTo>
                    <a:pt x="1297305" y="75093"/>
                    <a:pt x="1301445" y="72678"/>
                    <a:pt x="1305585" y="67331"/>
                  </a:cubicBezTo>
                  <a:cubicBezTo>
                    <a:pt x="1307655" y="64743"/>
                    <a:pt x="1311278" y="64398"/>
                    <a:pt x="1313865" y="66468"/>
                  </a:cubicBezTo>
                  <a:cubicBezTo>
                    <a:pt x="1316453" y="68538"/>
                    <a:pt x="1316798" y="72161"/>
                    <a:pt x="1314728" y="74748"/>
                  </a:cubicBezTo>
                  <a:cubicBezTo>
                    <a:pt x="1307828" y="83201"/>
                    <a:pt x="1300410" y="87341"/>
                    <a:pt x="1292475" y="86651"/>
                  </a:cubicBezTo>
                  <a:cubicBezTo>
                    <a:pt x="1275397" y="85098"/>
                    <a:pt x="1262805" y="62846"/>
                    <a:pt x="1250557" y="41283"/>
                  </a:cubicBezTo>
                  <a:cubicBezTo>
                    <a:pt x="1244520" y="30588"/>
                    <a:pt x="1236239" y="15925"/>
                    <a:pt x="1231755" y="14373"/>
                  </a:cubicBezTo>
                  <a:cubicBezTo>
                    <a:pt x="1208467" y="6955"/>
                    <a:pt x="1200015" y="18168"/>
                    <a:pt x="1189147" y="32486"/>
                  </a:cubicBezTo>
                  <a:cubicBezTo>
                    <a:pt x="1182764" y="40938"/>
                    <a:pt x="1175864" y="49908"/>
                    <a:pt x="1165514" y="54393"/>
                  </a:cubicBezTo>
                  <a:cubicBezTo>
                    <a:pt x="1156544" y="58361"/>
                    <a:pt x="1148091" y="56808"/>
                    <a:pt x="1140674" y="55428"/>
                  </a:cubicBezTo>
                  <a:cubicBezTo>
                    <a:pt x="1136016" y="54566"/>
                    <a:pt x="1131531" y="53703"/>
                    <a:pt x="1127391" y="54566"/>
                  </a:cubicBezTo>
                  <a:cubicBezTo>
                    <a:pt x="1123596" y="55428"/>
                    <a:pt x="1121009" y="57498"/>
                    <a:pt x="1117731" y="60086"/>
                  </a:cubicBezTo>
                  <a:cubicBezTo>
                    <a:pt x="1113936" y="63363"/>
                    <a:pt x="1108934" y="67503"/>
                    <a:pt x="1101344" y="68193"/>
                  </a:cubicBezTo>
                  <a:cubicBezTo>
                    <a:pt x="1081334" y="70263"/>
                    <a:pt x="1059253" y="61983"/>
                    <a:pt x="1038208" y="54048"/>
                  </a:cubicBezTo>
                  <a:cubicBezTo>
                    <a:pt x="1019233" y="46976"/>
                    <a:pt x="999568" y="39385"/>
                    <a:pt x="981800" y="39731"/>
                  </a:cubicBezTo>
                  <a:cubicBezTo>
                    <a:pt x="953337" y="40076"/>
                    <a:pt x="919872" y="56118"/>
                    <a:pt x="893997" y="69918"/>
                  </a:cubicBezTo>
                  <a:cubicBezTo>
                    <a:pt x="886924" y="73713"/>
                    <a:pt x="878127" y="77508"/>
                    <a:pt x="868812" y="81821"/>
                  </a:cubicBezTo>
                  <a:cubicBezTo>
                    <a:pt x="853632" y="88721"/>
                    <a:pt x="836727" y="96311"/>
                    <a:pt x="826894" y="103556"/>
                  </a:cubicBezTo>
                  <a:cubicBezTo>
                    <a:pt x="819822" y="108731"/>
                    <a:pt x="813439" y="115976"/>
                    <a:pt x="806539" y="123566"/>
                  </a:cubicBezTo>
                  <a:cubicBezTo>
                    <a:pt x="798086" y="133399"/>
                    <a:pt x="789116" y="143404"/>
                    <a:pt x="777731" y="150994"/>
                  </a:cubicBezTo>
                  <a:cubicBezTo>
                    <a:pt x="772901" y="154271"/>
                    <a:pt x="767899" y="157031"/>
                    <a:pt x="763241" y="159274"/>
                  </a:cubicBezTo>
                  <a:cubicBezTo>
                    <a:pt x="747026" y="167726"/>
                    <a:pt x="736331" y="173591"/>
                    <a:pt x="738746" y="194809"/>
                  </a:cubicBezTo>
                  <a:cubicBezTo>
                    <a:pt x="739091" y="200157"/>
                    <a:pt x="741679" y="205677"/>
                    <a:pt x="744266" y="211714"/>
                  </a:cubicBezTo>
                  <a:cubicBezTo>
                    <a:pt x="746336" y="216889"/>
                    <a:pt x="748751" y="221892"/>
                    <a:pt x="749958" y="227412"/>
                  </a:cubicBezTo>
                  <a:cubicBezTo>
                    <a:pt x="757376" y="262085"/>
                    <a:pt x="752029" y="290202"/>
                    <a:pt x="734606" y="308315"/>
                  </a:cubicBezTo>
                  <a:cubicBezTo>
                    <a:pt x="722876" y="320735"/>
                    <a:pt x="701313" y="326773"/>
                    <a:pt x="682511" y="332465"/>
                  </a:cubicBezTo>
                  <a:cubicBezTo>
                    <a:pt x="673368" y="335053"/>
                    <a:pt x="664743" y="337640"/>
                    <a:pt x="658360" y="340573"/>
                  </a:cubicBezTo>
                  <a:cubicBezTo>
                    <a:pt x="646458" y="345920"/>
                    <a:pt x="633865" y="351095"/>
                    <a:pt x="621445" y="355753"/>
                  </a:cubicBezTo>
                  <a:cubicBezTo>
                    <a:pt x="604368" y="362308"/>
                    <a:pt x="588325" y="368690"/>
                    <a:pt x="574697" y="375763"/>
                  </a:cubicBezTo>
                  <a:cubicBezTo>
                    <a:pt x="570040" y="378178"/>
                    <a:pt x="565382" y="382146"/>
                    <a:pt x="560897" y="385768"/>
                  </a:cubicBezTo>
                  <a:cubicBezTo>
                    <a:pt x="555205" y="390426"/>
                    <a:pt x="549340" y="395428"/>
                    <a:pt x="542785" y="397843"/>
                  </a:cubicBezTo>
                  <a:cubicBezTo>
                    <a:pt x="536402" y="400258"/>
                    <a:pt x="529502" y="400258"/>
                    <a:pt x="522774" y="399913"/>
                  </a:cubicBezTo>
                  <a:cubicBezTo>
                    <a:pt x="517082" y="399913"/>
                    <a:pt x="511389" y="399741"/>
                    <a:pt x="506904" y="401121"/>
                  </a:cubicBezTo>
                  <a:cubicBezTo>
                    <a:pt x="493277" y="405606"/>
                    <a:pt x="479132" y="415611"/>
                    <a:pt x="465504" y="425443"/>
                  </a:cubicBezTo>
                  <a:cubicBezTo>
                    <a:pt x="457569" y="431136"/>
                    <a:pt x="449461" y="437001"/>
                    <a:pt x="441526" y="441486"/>
                  </a:cubicBezTo>
                  <a:lnTo>
                    <a:pt x="438939" y="443039"/>
                  </a:lnTo>
                  <a:cubicBezTo>
                    <a:pt x="394261" y="468741"/>
                    <a:pt x="348203" y="495479"/>
                    <a:pt x="345443" y="550679"/>
                  </a:cubicBezTo>
                  <a:lnTo>
                    <a:pt x="345443" y="551714"/>
                  </a:lnTo>
                  <a:cubicBezTo>
                    <a:pt x="343718" y="584662"/>
                    <a:pt x="342683" y="591562"/>
                    <a:pt x="315428" y="611572"/>
                  </a:cubicBezTo>
                  <a:cubicBezTo>
                    <a:pt x="299213" y="623475"/>
                    <a:pt x="289208" y="636930"/>
                    <a:pt x="278685" y="651247"/>
                  </a:cubicBezTo>
                  <a:cubicBezTo>
                    <a:pt x="272992" y="658838"/>
                    <a:pt x="267127" y="666772"/>
                    <a:pt x="259883" y="675053"/>
                  </a:cubicBezTo>
                  <a:cubicBezTo>
                    <a:pt x="254535" y="681263"/>
                    <a:pt x="247463" y="686610"/>
                    <a:pt x="240735" y="691613"/>
                  </a:cubicBezTo>
                  <a:cubicBezTo>
                    <a:pt x="234352" y="696443"/>
                    <a:pt x="228142" y="701273"/>
                    <a:pt x="224520" y="705758"/>
                  </a:cubicBezTo>
                  <a:cubicBezTo>
                    <a:pt x="221070" y="710243"/>
                    <a:pt x="220035" y="714210"/>
                    <a:pt x="218827" y="719040"/>
                  </a:cubicBezTo>
                  <a:cubicBezTo>
                    <a:pt x="217964" y="722663"/>
                    <a:pt x="216929" y="726630"/>
                    <a:pt x="214515" y="731116"/>
                  </a:cubicBezTo>
                  <a:cubicBezTo>
                    <a:pt x="210030" y="739568"/>
                    <a:pt x="203992" y="746296"/>
                    <a:pt x="198300" y="752678"/>
                  </a:cubicBezTo>
                  <a:cubicBezTo>
                    <a:pt x="194849" y="756473"/>
                    <a:pt x="191227" y="760613"/>
                    <a:pt x="187777" y="765271"/>
                  </a:cubicBezTo>
                  <a:cubicBezTo>
                    <a:pt x="182084" y="772861"/>
                    <a:pt x="181567" y="775103"/>
                    <a:pt x="180532" y="781314"/>
                  </a:cubicBezTo>
                  <a:cubicBezTo>
                    <a:pt x="179842" y="784246"/>
                    <a:pt x="179324" y="788214"/>
                    <a:pt x="177772" y="793906"/>
                  </a:cubicBezTo>
                  <a:cubicBezTo>
                    <a:pt x="174839" y="805119"/>
                    <a:pt x="168974" y="815468"/>
                    <a:pt x="163627" y="825301"/>
                  </a:cubicBezTo>
                  <a:cubicBezTo>
                    <a:pt x="155519" y="839964"/>
                    <a:pt x="147757" y="854109"/>
                    <a:pt x="147239" y="872567"/>
                  </a:cubicBezTo>
                  <a:cubicBezTo>
                    <a:pt x="146894" y="884642"/>
                    <a:pt x="148792" y="893267"/>
                    <a:pt x="150689" y="901374"/>
                  </a:cubicBezTo>
                  <a:cubicBezTo>
                    <a:pt x="153449" y="913104"/>
                    <a:pt x="156037" y="923972"/>
                    <a:pt x="150516" y="942257"/>
                  </a:cubicBezTo>
                  <a:cubicBezTo>
                    <a:pt x="141719" y="971927"/>
                    <a:pt x="133094" y="998493"/>
                    <a:pt x="114809" y="1022815"/>
                  </a:cubicBezTo>
                  <a:cubicBezTo>
                    <a:pt x="109979" y="1029370"/>
                    <a:pt x="102906" y="1036961"/>
                    <a:pt x="95316" y="1044723"/>
                  </a:cubicBezTo>
                  <a:cubicBezTo>
                    <a:pt x="80136" y="1060765"/>
                    <a:pt x="62886" y="1078878"/>
                    <a:pt x="58573" y="1095266"/>
                  </a:cubicBezTo>
                  <a:cubicBezTo>
                    <a:pt x="55296" y="1107168"/>
                    <a:pt x="55986" y="1116311"/>
                    <a:pt x="56504" y="1125281"/>
                  </a:cubicBezTo>
                  <a:cubicBezTo>
                    <a:pt x="57538" y="1140116"/>
                    <a:pt x="58401" y="1154261"/>
                    <a:pt x="39771" y="1172719"/>
                  </a:cubicBezTo>
                  <a:cubicBezTo>
                    <a:pt x="36493" y="1175997"/>
                    <a:pt x="34078" y="1178239"/>
                    <a:pt x="32008" y="1180136"/>
                  </a:cubicBezTo>
                  <a:cubicBezTo>
                    <a:pt x="25626" y="1186174"/>
                    <a:pt x="25626" y="1186174"/>
                    <a:pt x="22176" y="1199112"/>
                  </a:cubicBezTo>
                  <a:cubicBezTo>
                    <a:pt x="21140" y="1203596"/>
                    <a:pt x="20623" y="1208254"/>
                    <a:pt x="20451" y="1213257"/>
                  </a:cubicBezTo>
                  <a:cubicBezTo>
                    <a:pt x="19761" y="1223779"/>
                    <a:pt x="18898" y="1235337"/>
                    <a:pt x="9066" y="1244307"/>
                  </a:cubicBezTo>
                  <a:cubicBezTo>
                    <a:pt x="9066" y="1245169"/>
                    <a:pt x="7513" y="1245859"/>
                    <a:pt x="6133" y="1245859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93" name="Gráfico 1344">
              <a:extLst>
                <a:ext uri="{FF2B5EF4-FFF2-40B4-BE49-F238E27FC236}">
                  <a16:creationId xmlns:a16="http://schemas.microsoft.com/office/drawing/2014/main" id="{487BFB48-0F3A-423F-9807-5C3549E21FD4}"/>
                </a:ext>
              </a:extLst>
            </p:cNvPr>
            <p:cNvSpPr/>
            <p:nvPr/>
          </p:nvSpPr>
          <p:spPr>
            <a:xfrm>
              <a:off x="9059643" y="3379517"/>
              <a:ext cx="1333513" cy="1264187"/>
            </a:xfrm>
            <a:custGeom>
              <a:avLst/>
              <a:gdLst>
                <a:gd name="connsiteX0" fmla="*/ 14677 w 1333513"/>
                <a:gd name="connsiteY0" fmla="*/ 1264187 h 1264187"/>
                <a:gd name="connsiteX1" fmla="*/ 4154 w 1333513"/>
                <a:gd name="connsiteY1" fmla="*/ 1259702 h 1264187"/>
                <a:gd name="connsiteX2" fmla="*/ 14 w 1333513"/>
                <a:gd name="connsiteY2" fmla="*/ 1249007 h 1264187"/>
                <a:gd name="connsiteX3" fmla="*/ 4844 w 1333513"/>
                <a:gd name="connsiteY3" fmla="*/ 1238830 h 1264187"/>
                <a:gd name="connsiteX4" fmla="*/ 9502 w 1333513"/>
                <a:gd name="connsiteY4" fmla="*/ 1221924 h 1264187"/>
                <a:gd name="connsiteX5" fmla="*/ 9674 w 1333513"/>
                <a:gd name="connsiteY5" fmla="*/ 1218820 h 1264187"/>
                <a:gd name="connsiteX6" fmla="*/ 11917 w 1333513"/>
                <a:gd name="connsiteY6" fmla="*/ 1203295 h 1264187"/>
                <a:gd name="connsiteX7" fmla="*/ 27614 w 1333513"/>
                <a:gd name="connsiteY7" fmla="*/ 1174659 h 1264187"/>
                <a:gd name="connsiteX8" fmla="*/ 35032 w 1333513"/>
                <a:gd name="connsiteY8" fmla="*/ 1167587 h 1264187"/>
                <a:gd name="connsiteX9" fmla="*/ 45554 w 1333513"/>
                <a:gd name="connsiteY9" fmla="*/ 1136019 h 1264187"/>
                <a:gd name="connsiteX10" fmla="*/ 48142 w 1333513"/>
                <a:gd name="connsiteY10" fmla="*/ 1099104 h 1264187"/>
                <a:gd name="connsiteX11" fmla="*/ 89887 w 1333513"/>
                <a:gd name="connsiteY11" fmla="*/ 1039763 h 1264187"/>
                <a:gd name="connsiteX12" fmla="*/ 92130 w 1333513"/>
                <a:gd name="connsiteY12" fmla="*/ 1037348 h 1264187"/>
                <a:gd name="connsiteX13" fmla="*/ 107655 w 1333513"/>
                <a:gd name="connsiteY13" fmla="*/ 1019753 h 1264187"/>
                <a:gd name="connsiteX14" fmla="*/ 140085 w 1333513"/>
                <a:gd name="connsiteY14" fmla="*/ 945578 h 1264187"/>
                <a:gd name="connsiteX15" fmla="*/ 139913 w 1333513"/>
                <a:gd name="connsiteY15" fmla="*/ 915045 h 1264187"/>
                <a:gd name="connsiteX16" fmla="*/ 135773 w 1333513"/>
                <a:gd name="connsiteY16" fmla="*/ 881062 h 1264187"/>
                <a:gd name="connsiteX17" fmla="*/ 154748 w 1333513"/>
                <a:gd name="connsiteY17" fmla="*/ 824482 h 1264187"/>
                <a:gd name="connsiteX18" fmla="*/ 166995 w 1333513"/>
                <a:gd name="connsiteY18" fmla="*/ 797572 h 1264187"/>
                <a:gd name="connsiteX19" fmla="*/ 169410 w 1333513"/>
                <a:gd name="connsiteY19" fmla="*/ 787222 h 1264187"/>
                <a:gd name="connsiteX20" fmla="*/ 180451 w 1333513"/>
                <a:gd name="connsiteY20" fmla="*/ 762381 h 1264187"/>
                <a:gd name="connsiteX21" fmla="*/ 189593 w 1333513"/>
                <a:gd name="connsiteY21" fmla="*/ 751169 h 1264187"/>
                <a:gd name="connsiteX22" fmla="*/ 192008 w 1333513"/>
                <a:gd name="connsiteY22" fmla="*/ 748409 h 1264187"/>
                <a:gd name="connsiteX23" fmla="*/ 205463 w 1333513"/>
                <a:gd name="connsiteY23" fmla="*/ 730813 h 1264187"/>
                <a:gd name="connsiteX24" fmla="*/ 207706 w 1333513"/>
                <a:gd name="connsiteY24" fmla="*/ 724259 h 1264187"/>
                <a:gd name="connsiteX25" fmla="*/ 217366 w 1333513"/>
                <a:gd name="connsiteY25" fmla="*/ 702523 h 1264187"/>
                <a:gd name="connsiteX26" fmla="*/ 237031 w 1333513"/>
                <a:gd name="connsiteY26" fmla="*/ 684928 h 1264187"/>
                <a:gd name="connsiteX27" fmla="*/ 253764 w 1333513"/>
                <a:gd name="connsiteY27" fmla="*/ 670783 h 1264187"/>
                <a:gd name="connsiteX28" fmla="*/ 271359 w 1333513"/>
                <a:gd name="connsiteY28" fmla="*/ 648530 h 1264187"/>
                <a:gd name="connsiteX29" fmla="*/ 312414 w 1333513"/>
                <a:gd name="connsiteY29" fmla="*/ 604543 h 1264187"/>
                <a:gd name="connsiteX30" fmla="*/ 334149 w 1333513"/>
                <a:gd name="connsiteY30" fmla="*/ 560037 h 1264187"/>
                <a:gd name="connsiteX31" fmla="*/ 437650 w 1333513"/>
                <a:gd name="connsiteY31" fmla="*/ 434801 h 1264187"/>
                <a:gd name="connsiteX32" fmla="*/ 440237 w 1333513"/>
                <a:gd name="connsiteY32" fmla="*/ 433249 h 1264187"/>
                <a:gd name="connsiteX33" fmla="*/ 458695 w 1333513"/>
                <a:gd name="connsiteY33" fmla="*/ 420829 h 1264187"/>
                <a:gd name="connsiteX34" fmla="*/ 462662 w 1333513"/>
                <a:gd name="connsiteY34" fmla="*/ 418069 h 1264187"/>
                <a:gd name="connsiteX35" fmla="*/ 509583 w 1333513"/>
                <a:gd name="connsiteY35" fmla="*/ 390986 h 1264187"/>
                <a:gd name="connsiteX36" fmla="*/ 530456 w 1333513"/>
                <a:gd name="connsiteY36" fmla="*/ 388571 h 1264187"/>
                <a:gd name="connsiteX37" fmla="*/ 532353 w 1333513"/>
                <a:gd name="connsiteY37" fmla="*/ 388571 h 1264187"/>
                <a:gd name="connsiteX38" fmla="*/ 544773 w 1333513"/>
                <a:gd name="connsiteY38" fmla="*/ 387709 h 1264187"/>
                <a:gd name="connsiteX39" fmla="*/ 556503 w 1333513"/>
                <a:gd name="connsiteY39" fmla="*/ 379084 h 1264187"/>
                <a:gd name="connsiteX40" fmla="*/ 558056 w 1333513"/>
                <a:gd name="connsiteY40" fmla="*/ 377703 h 1264187"/>
                <a:gd name="connsiteX41" fmla="*/ 574271 w 1333513"/>
                <a:gd name="connsiteY41" fmla="*/ 366318 h 1264187"/>
                <a:gd name="connsiteX42" fmla="*/ 616879 w 1333513"/>
                <a:gd name="connsiteY42" fmla="*/ 347688 h 1264187"/>
                <a:gd name="connsiteX43" fmla="*/ 622744 w 1333513"/>
                <a:gd name="connsiteY43" fmla="*/ 345273 h 1264187"/>
                <a:gd name="connsiteX44" fmla="*/ 658969 w 1333513"/>
                <a:gd name="connsiteY44" fmla="*/ 330438 h 1264187"/>
                <a:gd name="connsiteX45" fmla="*/ 682601 w 1333513"/>
                <a:gd name="connsiteY45" fmla="*/ 322503 h 1264187"/>
                <a:gd name="connsiteX46" fmla="*/ 685534 w 1333513"/>
                <a:gd name="connsiteY46" fmla="*/ 321641 h 1264187"/>
                <a:gd name="connsiteX47" fmla="*/ 728660 w 1333513"/>
                <a:gd name="connsiteY47" fmla="*/ 303010 h 1264187"/>
                <a:gd name="connsiteX48" fmla="*/ 738837 w 1333513"/>
                <a:gd name="connsiteY48" fmla="*/ 240392 h 1264187"/>
                <a:gd name="connsiteX49" fmla="*/ 734525 w 1333513"/>
                <a:gd name="connsiteY49" fmla="*/ 228490 h 1264187"/>
                <a:gd name="connsiteX50" fmla="*/ 727452 w 1333513"/>
                <a:gd name="connsiteY50" fmla="*/ 205547 h 1264187"/>
                <a:gd name="connsiteX51" fmla="*/ 762987 w 1333513"/>
                <a:gd name="connsiteY51" fmla="*/ 150002 h 1264187"/>
                <a:gd name="connsiteX52" fmla="*/ 775925 w 1333513"/>
                <a:gd name="connsiteY52" fmla="*/ 142584 h 1264187"/>
                <a:gd name="connsiteX53" fmla="*/ 800592 w 1333513"/>
                <a:gd name="connsiteY53" fmla="*/ 118952 h 1264187"/>
                <a:gd name="connsiteX54" fmla="*/ 823880 w 1333513"/>
                <a:gd name="connsiteY54" fmla="*/ 96009 h 1264187"/>
                <a:gd name="connsiteX55" fmla="*/ 866661 w 1333513"/>
                <a:gd name="connsiteY55" fmla="*/ 73239 h 1264187"/>
                <a:gd name="connsiteX56" fmla="*/ 869421 w 1333513"/>
                <a:gd name="connsiteY56" fmla="*/ 72031 h 1264187"/>
                <a:gd name="connsiteX57" fmla="*/ 893571 w 1333513"/>
                <a:gd name="connsiteY57" fmla="*/ 60474 h 1264187"/>
                <a:gd name="connsiteX58" fmla="*/ 990689 w 1333513"/>
                <a:gd name="connsiteY58" fmla="*/ 27871 h 1264187"/>
                <a:gd name="connsiteX59" fmla="*/ 1053997 w 1333513"/>
                <a:gd name="connsiteY59" fmla="*/ 43224 h 1264187"/>
                <a:gd name="connsiteX60" fmla="*/ 1108507 w 1333513"/>
                <a:gd name="connsiteY60" fmla="*/ 56334 h 1264187"/>
                <a:gd name="connsiteX61" fmla="*/ 1112992 w 1333513"/>
                <a:gd name="connsiteY61" fmla="*/ 53574 h 1264187"/>
                <a:gd name="connsiteX62" fmla="*/ 1132657 w 1333513"/>
                <a:gd name="connsiteY62" fmla="*/ 42878 h 1264187"/>
                <a:gd name="connsiteX63" fmla="*/ 1153530 w 1333513"/>
                <a:gd name="connsiteY63" fmla="*/ 43741 h 1264187"/>
                <a:gd name="connsiteX64" fmla="*/ 1166640 w 1333513"/>
                <a:gd name="connsiteY64" fmla="*/ 44086 h 1264187"/>
                <a:gd name="connsiteX65" fmla="*/ 1181993 w 1333513"/>
                <a:gd name="connsiteY65" fmla="*/ 28561 h 1264187"/>
                <a:gd name="connsiteX66" fmla="*/ 1247371 w 1333513"/>
                <a:gd name="connsiteY66" fmla="*/ 3376 h 1264187"/>
                <a:gd name="connsiteX67" fmla="*/ 1276869 w 1333513"/>
                <a:gd name="connsiteY67" fmla="*/ 38221 h 1264187"/>
                <a:gd name="connsiteX68" fmla="*/ 1303434 w 1333513"/>
                <a:gd name="connsiteY68" fmla="*/ 74619 h 1264187"/>
                <a:gd name="connsiteX69" fmla="*/ 1307746 w 1333513"/>
                <a:gd name="connsiteY69" fmla="*/ 70306 h 1264187"/>
                <a:gd name="connsiteX70" fmla="*/ 1328274 w 1333513"/>
                <a:gd name="connsiteY70" fmla="*/ 68236 h 1264187"/>
                <a:gd name="connsiteX71" fmla="*/ 1333449 w 1333513"/>
                <a:gd name="connsiteY71" fmla="*/ 77896 h 1264187"/>
                <a:gd name="connsiteX72" fmla="*/ 1330171 w 1333513"/>
                <a:gd name="connsiteY72" fmla="*/ 88591 h 1264187"/>
                <a:gd name="connsiteX73" fmla="*/ 1300674 w 1333513"/>
                <a:gd name="connsiteY73" fmla="*/ 103599 h 1264187"/>
                <a:gd name="connsiteX74" fmla="*/ 1252201 w 1333513"/>
                <a:gd name="connsiteY74" fmla="*/ 54091 h 1264187"/>
                <a:gd name="connsiteX75" fmla="*/ 1237021 w 1333513"/>
                <a:gd name="connsiteY75" fmla="*/ 30458 h 1264187"/>
                <a:gd name="connsiteX76" fmla="*/ 1205108 w 1333513"/>
                <a:gd name="connsiteY76" fmla="*/ 45984 h 1264187"/>
                <a:gd name="connsiteX77" fmla="*/ 1177853 w 1333513"/>
                <a:gd name="connsiteY77" fmla="*/ 70824 h 1264187"/>
                <a:gd name="connsiteX78" fmla="*/ 1148872 w 1333513"/>
                <a:gd name="connsiteY78" fmla="*/ 72549 h 1264187"/>
                <a:gd name="connsiteX79" fmla="*/ 1138177 w 1333513"/>
                <a:gd name="connsiteY79" fmla="*/ 71514 h 1264187"/>
                <a:gd name="connsiteX80" fmla="*/ 1132485 w 1333513"/>
                <a:gd name="connsiteY80" fmla="*/ 75136 h 1264187"/>
                <a:gd name="connsiteX81" fmla="*/ 1111095 w 1333513"/>
                <a:gd name="connsiteY81" fmla="*/ 85314 h 1264187"/>
                <a:gd name="connsiteX82" fmla="*/ 1044854 w 1333513"/>
                <a:gd name="connsiteY82" fmla="*/ 70996 h 1264187"/>
                <a:gd name="connsiteX83" fmla="*/ 1041232 w 1333513"/>
                <a:gd name="connsiteY83" fmla="*/ 69616 h 1264187"/>
                <a:gd name="connsiteX84" fmla="*/ 991034 w 1333513"/>
                <a:gd name="connsiteY84" fmla="*/ 57024 h 1264187"/>
                <a:gd name="connsiteX85" fmla="*/ 907198 w 1333513"/>
                <a:gd name="connsiteY85" fmla="*/ 86176 h 1264187"/>
                <a:gd name="connsiteX86" fmla="*/ 885808 w 1333513"/>
                <a:gd name="connsiteY86" fmla="*/ 96354 h 1264187"/>
                <a:gd name="connsiteX87" fmla="*/ 881495 w 1333513"/>
                <a:gd name="connsiteY87" fmla="*/ 98251 h 1264187"/>
                <a:gd name="connsiteX88" fmla="*/ 841303 w 1333513"/>
                <a:gd name="connsiteY88" fmla="*/ 119124 h 1264187"/>
                <a:gd name="connsiteX89" fmla="*/ 822672 w 1333513"/>
                <a:gd name="connsiteY89" fmla="*/ 137582 h 1264187"/>
                <a:gd name="connsiteX90" fmla="*/ 791967 w 1333513"/>
                <a:gd name="connsiteY90" fmla="*/ 166907 h 1264187"/>
                <a:gd name="connsiteX91" fmla="*/ 776442 w 1333513"/>
                <a:gd name="connsiteY91" fmla="*/ 175877 h 1264187"/>
                <a:gd name="connsiteX92" fmla="*/ 756605 w 1333513"/>
                <a:gd name="connsiteY92" fmla="*/ 202787 h 1264187"/>
                <a:gd name="connsiteX93" fmla="*/ 760917 w 1333513"/>
                <a:gd name="connsiteY93" fmla="*/ 215725 h 1264187"/>
                <a:gd name="connsiteX94" fmla="*/ 762470 w 1333513"/>
                <a:gd name="connsiteY94" fmla="*/ 219520 h 1264187"/>
                <a:gd name="connsiteX95" fmla="*/ 767817 w 1333513"/>
                <a:gd name="connsiteY95" fmla="*/ 234355 h 1264187"/>
                <a:gd name="connsiteX96" fmla="*/ 750222 w 1333513"/>
                <a:gd name="connsiteY96" fmla="*/ 323193 h 1264187"/>
                <a:gd name="connsiteX97" fmla="*/ 695539 w 1333513"/>
                <a:gd name="connsiteY97" fmla="*/ 349241 h 1264187"/>
                <a:gd name="connsiteX98" fmla="*/ 671562 w 1333513"/>
                <a:gd name="connsiteY98" fmla="*/ 357176 h 1264187"/>
                <a:gd name="connsiteX99" fmla="*/ 634129 w 1333513"/>
                <a:gd name="connsiteY99" fmla="*/ 372528 h 1264187"/>
                <a:gd name="connsiteX100" fmla="*/ 588243 w 1333513"/>
                <a:gd name="connsiteY100" fmla="*/ 392194 h 1264187"/>
                <a:gd name="connsiteX101" fmla="*/ 577721 w 1333513"/>
                <a:gd name="connsiteY101" fmla="*/ 399784 h 1264187"/>
                <a:gd name="connsiteX102" fmla="*/ 575996 w 1333513"/>
                <a:gd name="connsiteY102" fmla="*/ 401164 h 1264187"/>
                <a:gd name="connsiteX103" fmla="*/ 555468 w 1333513"/>
                <a:gd name="connsiteY103" fmla="*/ 414619 h 1264187"/>
                <a:gd name="connsiteX104" fmla="*/ 532008 w 1333513"/>
                <a:gd name="connsiteY104" fmla="*/ 417379 h 1264187"/>
                <a:gd name="connsiteX105" fmla="*/ 530283 w 1333513"/>
                <a:gd name="connsiteY105" fmla="*/ 417379 h 1264187"/>
                <a:gd name="connsiteX106" fmla="*/ 519071 w 1333513"/>
                <a:gd name="connsiteY106" fmla="*/ 418241 h 1264187"/>
                <a:gd name="connsiteX107" fmla="*/ 479912 w 1333513"/>
                <a:gd name="connsiteY107" fmla="*/ 441356 h 1264187"/>
                <a:gd name="connsiteX108" fmla="*/ 455245 w 1333513"/>
                <a:gd name="connsiteY108" fmla="*/ 457916 h 1264187"/>
                <a:gd name="connsiteX109" fmla="*/ 452830 w 1333513"/>
                <a:gd name="connsiteY109" fmla="*/ 459297 h 1264187"/>
                <a:gd name="connsiteX110" fmla="*/ 363647 w 1333513"/>
                <a:gd name="connsiteY110" fmla="*/ 559865 h 1264187"/>
                <a:gd name="connsiteX111" fmla="*/ 330009 w 1333513"/>
                <a:gd name="connsiteY111" fmla="*/ 627313 h 1264187"/>
                <a:gd name="connsiteX112" fmla="*/ 295164 w 1333513"/>
                <a:gd name="connsiteY112" fmla="*/ 665090 h 1264187"/>
                <a:gd name="connsiteX113" fmla="*/ 293094 w 1333513"/>
                <a:gd name="connsiteY113" fmla="*/ 667850 h 1264187"/>
                <a:gd name="connsiteX114" fmla="*/ 276016 w 1333513"/>
                <a:gd name="connsiteY114" fmla="*/ 689586 h 1264187"/>
                <a:gd name="connsiteX115" fmla="*/ 255489 w 1333513"/>
                <a:gd name="connsiteY115" fmla="*/ 707353 h 1264187"/>
                <a:gd name="connsiteX116" fmla="*/ 240826 w 1333513"/>
                <a:gd name="connsiteY116" fmla="*/ 719946 h 1264187"/>
                <a:gd name="connsiteX117" fmla="*/ 236686 w 1333513"/>
                <a:gd name="connsiteY117" fmla="*/ 729778 h 1264187"/>
                <a:gd name="connsiteX118" fmla="*/ 231683 w 1333513"/>
                <a:gd name="connsiteY118" fmla="*/ 743924 h 1264187"/>
                <a:gd name="connsiteX119" fmla="*/ 214433 w 1333513"/>
                <a:gd name="connsiteY119" fmla="*/ 767039 h 1264187"/>
                <a:gd name="connsiteX120" fmla="*/ 204428 w 1333513"/>
                <a:gd name="connsiteY120" fmla="*/ 779114 h 1264187"/>
                <a:gd name="connsiteX121" fmla="*/ 198736 w 1333513"/>
                <a:gd name="connsiteY121" fmla="*/ 791534 h 1264187"/>
                <a:gd name="connsiteX122" fmla="*/ 198218 w 1333513"/>
                <a:gd name="connsiteY122" fmla="*/ 794294 h 1264187"/>
                <a:gd name="connsiteX123" fmla="*/ 195803 w 1333513"/>
                <a:gd name="connsiteY123" fmla="*/ 804816 h 1264187"/>
                <a:gd name="connsiteX124" fmla="*/ 181830 w 1333513"/>
                <a:gd name="connsiteY124" fmla="*/ 836385 h 1264187"/>
                <a:gd name="connsiteX125" fmla="*/ 180968 w 1333513"/>
                <a:gd name="connsiteY125" fmla="*/ 838109 h 1264187"/>
                <a:gd name="connsiteX126" fmla="*/ 165615 w 1333513"/>
                <a:gd name="connsiteY126" fmla="*/ 881580 h 1264187"/>
                <a:gd name="connsiteX127" fmla="*/ 168893 w 1333513"/>
                <a:gd name="connsiteY127" fmla="*/ 908145 h 1264187"/>
                <a:gd name="connsiteX128" fmla="*/ 168548 w 1333513"/>
                <a:gd name="connsiteY128" fmla="*/ 953512 h 1264187"/>
                <a:gd name="connsiteX129" fmla="*/ 131632 w 1333513"/>
                <a:gd name="connsiteY129" fmla="*/ 1036658 h 1264187"/>
                <a:gd name="connsiteX130" fmla="*/ 111622 w 1333513"/>
                <a:gd name="connsiteY130" fmla="*/ 1059429 h 1264187"/>
                <a:gd name="connsiteX131" fmla="*/ 76950 w 1333513"/>
                <a:gd name="connsiteY131" fmla="*/ 1106176 h 1264187"/>
                <a:gd name="connsiteX132" fmla="*/ 75052 w 1333513"/>
                <a:gd name="connsiteY132" fmla="*/ 1132224 h 1264187"/>
                <a:gd name="connsiteX133" fmla="*/ 55905 w 1333513"/>
                <a:gd name="connsiteY133" fmla="*/ 1187597 h 1264187"/>
                <a:gd name="connsiteX134" fmla="*/ 48142 w 1333513"/>
                <a:gd name="connsiteY134" fmla="*/ 1195014 h 1264187"/>
                <a:gd name="connsiteX135" fmla="*/ 40552 w 1333513"/>
                <a:gd name="connsiteY135" fmla="*/ 1210022 h 1264187"/>
                <a:gd name="connsiteX136" fmla="*/ 39172 w 1333513"/>
                <a:gd name="connsiteY136" fmla="*/ 1222270 h 1264187"/>
                <a:gd name="connsiteX137" fmla="*/ 25027 w 1333513"/>
                <a:gd name="connsiteY137" fmla="*/ 1259357 h 1264187"/>
                <a:gd name="connsiteX138" fmla="*/ 14677 w 1333513"/>
                <a:gd name="connsiteY138" fmla="*/ 1264187 h 1264187"/>
                <a:gd name="connsiteX139" fmla="*/ 1317061 w 1333513"/>
                <a:gd name="connsiteY139" fmla="*/ 78586 h 1264187"/>
                <a:gd name="connsiteX140" fmla="*/ 1317061 w 1333513"/>
                <a:gd name="connsiteY140" fmla="*/ 78586 h 1264187"/>
                <a:gd name="connsiteX141" fmla="*/ 1317061 w 1333513"/>
                <a:gd name="connsiteY141" fmla="*/ 78586 h 1264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1333513" h="1264187">
                  <a:moveTo>
                    <a:pt x="14677" y="1264187"/>
                  </a:moveTo>
                  <a:cubicBezTo>
                    <a:pt x="10709" y="1264187"/>
                    <a:pt x="7086" y="1262635"/>
                    <a:pt x="4154" y="1259702"/>
                  </a:cubicBezTo>
                  <a:cubicBezTo>
                    <a:pt x="1222" y="1256597"/>
                    <a:pt x="-158" y="1252802"/>
                    <a:pt x="14" y="1249007"/>
                  </a:cubicBezTo>
                  <a:cubicBezTo>
                    <a:pt x="187" y="1245040"/>
                    <a:pt x="1912" y="1241417"/>
                    <a:pt x="4844" y="1238830"/>
                  </a:cubicBezTo>
                  <a:cubicBezTo>
                    <a:pt x="8467" y="1235552"/>
                    <a:pt x="8984" y="1230549"/>
                    <a:pt x="9502" y="1221924"/>
                  </a:cubicBezTo>
                  <a:lnTo>
                    <a:pt x="9674" y="1218820"/>
                  </a:lnTo>
                  <a:cubicBezTo>
                    <a:pt x="10019" y="1214162"/>
                    <a:pt x="10364" y="1208815"/>
                    <a:pt x="11917" y="1203295"/>
                  </a:cubicBezTo>
                  <a:cubicBezTo>
                    <a:pt x="16229" y="1187079"/>
                    <a:pt x="17609" y="1183802"/>
                    <a:pt x="27614" y="1174659"/>
                  </a:cubicBezTo>
                  <a:lnTo>
                    <a:pt x="35032" y="1167587"/>
                  </a:lnTo>
                  <a:cubicBezTo>
                    <a:pt x="46762" y="1155684"/>
                    <a:pt x="46417" y="1149647"/>
                    <a:pt x="45554" y="1136019"/>
                  </a:cubicBezTo>
                  <a:cubicBezTo>
                    <a:pt x="44864" y="1125669"/>
                    <a:pt x="44002" y="1113939"/>
                    <a:pt x="48142" y="1099104"/>
                  </a:cubicBezTo>
                  <a:cubicBezTo>
                    <a:pt x="54180" y="1077369"/>
                    <a:pt x="74017" y="1056496"/>
                    <a:pt x="89887" y="1039763"/>
                  </a:cubicBezTo>
                  <a:lnTo>
                    <a:pt x="92130" y="1037348"/>
                  </a:lnTo>
                  <a:cubicBezTo>
                    <a:pt x="98167" y="1030966"/>
                    <a:pt x="104033" y="1024756"/>
                    <a:pt x="107655" y="1019753"/>
                  </a:cubicBezTo>
                  <a:cubicBezTo>
                    <a:pt x="123525" y="998536"/>
                    <a:pt x="131460" y="974558"/>
                    <a:pt x="140085" y="945578"/>
                  </a:cubicBezTo>
                  <a:cubicBezTo>
                    <a:pt x="144053" y="932467"/>
                    <a:pt x="142328" y="925567"/>
                    <a:pt x="139913" y="915045"/>
                  </a:cubicBezTo>
                  <a:cubicBezTo>
                    <a:pt x="137843" y="905557"/>
                    <a:pt x="135427" y="895208"/>
                    <a:pt x="135773" y="881062"/>
                  </a:cubicBezTo>
                  <a:cubicBezTo>
                    <a:pt x="136462" y="857430"/>
                    <a:pt x="146295" y="839834"/>
                    <a:pt x="154748" y="824482"/>
                  </a:cubicBezTo>
                  <a:cubicBezTo>
                    <a:pt x="159923" y="814994"/>
                    <a:pt x="164580" y="806542"/>
                    <a:pt x="166995" y="797572"/>
                  </a:cubicBezTo>
                  <a:cubicBezTo>
                    <a:pt x="168375" y="792914"/>
                    <a:pt x="168893" y="789809"/>
                    <a:pt x="169410" y="787222"/>
                  </a:cubicBezTo>
                  <a:cubicBezTo>
                    <a:pt x="170963" y="778424"/>
                    <a:pt x="172516" y="773249"/>
                    <a:pt x="180451" y="762381"/>
                  </a:cubicBezTo>
                  <a:cubicBezTo>
                    <a:pt x="183383" y="758414"/>
                    <a:pt x="186488" y="754791"/>
                    <a:pt x="189593" y="751169"/>
                  </a:cubicBezTo>
                  <a:lnTo>
                    <a:pt x="192008" y="748409"/>
                  </a:lnTo>
                  <a:cubicBezTo>
                    <a:pt x="197183" y="742544"/>
                    <a:pt x="202013" y="737196"/>
                    <a:pt x="205463" y="730813"/>
                  </a:cubicBezTo>
                  <a:cubicBezTo>
                    <a:pt x="206498" y="728916"/>
                    <a:pt x="207016" y="726846"/>
                    <a:pt x="207706" y="724259"/>
                  </a:cubicBezTo>
                  <a:cubicBezTo>
                    <a:pt x="209431" y="717013"/>
                    <a:pt x="211673" y="710113"/>
                    <a:pt x="217366" y="702523"/>
                  </a:cubicBezTo>
                  <a:cubicBezTo>
                    <a:pt x="222541" y="695968"/>
                    <a:pt x="229958" y="690276"/>
                    <a:pt x="237031" y="684928"/>
                  </a:cubicBezTo>
                  <a:cubicBezTo>
                    <a:pt x="243241" y="680098"/>
                    <a:pt x="249451" y="675441"/>
                    <a:pt x="253764" y="670783"/>
                  </a:cubicBezTo>
                  <a:cubicBezTo>
                    <a:pt x="260319" y="663193"/>
                    <a:pt x="265838" y="655776"/>
                    <a:pt x="271359" y="648530"/>
                  </a:cubicBezTo>
                  <a:cubicBezTo>
                    <a:pt x="282916" y="633178"/>
                    <a:pt x="293611" y="618515"/>
                    <a:pt x="312414" y="604543"/>
                  </a:cubicBezTo>
                  <a:cubicBezTo>
                    <a:pt x="332769" y="589707"/>
                    <a:pt x="332769" y="589707"/>
                    <a:pt x="334149" y="560037"/>
                  </a:cubicBezTo>
                  <a:cubicBezTo>
                    <a:pt x="337427" y="492762"/>
                    <a:pt x="390557" y="461884"/>
                    <a:pt x="437650" y="434801"/>
                  </a:cubicBezTo>
                  <a:lnTo>
                    <a:pt x="440237" y="433249"/>
                  </a:lnTo>
                  <a:cubicBezTo>
                    <a:pt x="446102" y="429799"/>
                    <a:pt x="452312" y="425486"/>
                    <a:pt x="458695" y="420829"/>
                  </a:cubicBezTo>
                  <a:lnTo>
                    <a:pt x="462662" y="418069"/>
                  </a:lnTo>
                  <a:cubicBezTo>
                    <a:pt x="476808" y="407891"/>
                    <a:pt x="492850" y="396506"/>
                    <a:pt x="509583" y="390986"/>
                  </a:cubicBezTo>
                  <a:cubicBezTo>
                    <a:pt x="516828" y="388571"/>
                    <a:pt x="523901" y="388398"/>
                    <a:pt x="530456" y="388571"/>
                  </a:cubicBezTo>
                  <a:lnTo>
                    <a:pt x="532353" y="388571"/>
                  </a:lnTo>
                  <a:cubicBezTo>
                    <a:pt x="537183" y="388744"/>
                    <a:pt x="541840" y="388744"/>
                    <a:pt x="544773" y="387709"/>
                  </a:cubicBezTo>
                  <a:cubicBezTo>
                    <a:pt x="547878" y="386501"/>
                    <a:pt x="552363" y="382706"/>
                    <a:pt x="556503" y="379084"/>
                  </a:cubicBezTo>
                  <a:lnTo>
                    <a:pt x="558056" y="377703"/>
                  </a:lnTo>
                  <a:cubicBezTo>
                    <a:pt x="562713" y="373908"/>
                    <a:pt x="568061" y="369423"/>
                    <a:pt x="574271" y="366318"/>
                  </a:cubicBezTo>
                  <a:cubicBezTo>
                    <a:pt x="587208" y="359591"/>
                    <a:pt x="602216" y="353553"/>
                    <a:pt x="616879" y="347688"/>
                  </a:cubicBezTo>
                  <a:lnTo>
                    <a:pt x="622744" y="345273"/>
                  </a:lnTo>
                  <a:cubicBezTo>
                    <a:pt x="634991" y="340616"/>
                    <a:pt x="647412" y="335441"/>
                    <a:pt x="658969" y="330438"/>
                  </a:cubicBezTo>
                  <a:cubicBezTo>
                    <a:pt x="665697" y="327333"/>
                    <a:pt x="673976" y="324918"/>
                    <a:pt x="682601" y="322503"/>
                  </a:cubicBezTo>
                  <a:lnTo>
                    <a:pt x="685534" y="321641"/>
                  </a:lnTo>
                  <a:cubicBezTo>
                    <a:pt x="701404" y="316983"/>
                    <a:pt x="720725" y="311290"/>
                    <a:pt x="728660" y="303010"/>
                  </a:cubicBezTo>
                  <a:cubicBezTo>
                    <a:pt x="744357" y="286278"/>
                    <a:pt x="742977" y="259713"/>
                    <a:pt x="738837" y="240392"/>
                  </a:cubicBezTo>
                  <a:cubicBezTo>
                    <a:pt x="738147" y="237115"/>
                    <a:pt x="736594" y="233320"/>
                    <a:pt x="734525" y="228490"/>
                  </a:cubicBezTo>
                  <a:cubicBezTo>
                    <a:pt x="731420" y="221417"/>
                    <a:pt x="728142" y="213827"/>
                    <a:pt x="727452" y="205547"/>
                  </a:cubicBezTo>
                  <a:cubicBezTo>
                    <a:pt x="723830" y="170530"/>
                    <a:pt x="746427" y="158627"/>
                    <a:pt x="762987" y="150002"/>
                  </a:cubicBezTo>
                  <a:cubicBezTo>
                    <a:pt x="767300" y="147759"/>
                    <a:pt x="771612" y="145344"/>
                    <a:pt x="775925" y="142584"/>
                  </a:cubicBezTo>
                  <a:cubicBezTo>
                    <a:pt x="785240" y="136374"/>
                    <a:pt x="793520" y="127232"/>
                    <a:pt x="800592" y="118952"/>
                  </a:cubicBezTo>
                  <a:cubicBezTo>
                    <a:pt x="808528" y="110154"/>
                    <a:pt x="815428" y="102391"/>
                    <a:pt x="823880" y="96009"/>
                  </a:cubicBezTo>
                  <a:cubicBezTo>
                    <a:pt x="834748" y="87901"/>
                    <a:pt x="850963" y="80484"/>
                    <a:pt x="866661" y="73239"/>
                  </a:cubicBezTo>
                  <a:lnTo>
                    <a:pt x="869421" y="72031"/>
                  </a:lnTo>
                  <a:cubicBezTo>
                    <a:pt x="878563" y="68064"/>
                    <a:pt x="886843" y="64096"/>
                    <a:pt x="893571" y="60474"/>
                  </a:cubicBezTo>
                  <a:cubicBezTo>
                    <a:pt x="921171" y="45639"/>
                    <a:pt x="957224" y="28388"/>
                    <a:pt x="990689" y="27871"/>
                  </a:cubicBezTo>
                  <a:cubicBezTo>
                    <a:pt x="1012769" y="27699"/>
                    <a:pt x="1033469" y="35461"/>
                    <a:pt x="1053997" y="43224"/>
                  </a:cubicBezTo>
                  <a:cubicBezTo>
                    <a:pt x="1073317" y="50469"/>
                    <a:pt x="1092809" y="57886"/>
                    <a:pt x="1108507" y="56334"/>
                  </a:cubicBezTo>
                  <a:cubicBezTo>
                    <a:pt x="1109542" y="56161"/>
                    <a:pt x="1110232" y="55644"/>
                    <a:pt x="1112992" y="53574"/>
                  </a:cubicBezTo>
                  <a:cubicBezTo>
                    <a:pt x="1118167" y="49434"/>
                    <a:pt x="1123860" y="44604"/>
                    <a:pt x="1132657" y="42878"/>
                  </a:cubicBezTo>
                  <a:cubicBezTo>
                    <a:pt x="1140593" y="41326"/>
                    <a:pt x="1148183" y="42706"/>
                    <a:pt x="1153530" y="43741"/>
                  </a:cubicBezTo>
                  <a:cubicBezTo>
                    <a:pt x="1159913" y="44949"/>
                    <a:pt x="1163362" y="45293"/>
                    <a:pt x="1166640" y="44086"/>
                  </a:cubicBezTo>
                  <a:cubicBezTo>
                    <a:pt x="1172160" y="41671"/>
                    <a:pt x="1177163" y="34944"/>
                    <a:pt x="1181993" y="28561"/>
                  </a:cubicBezTo>
                  <a:cubicBezTo>
                    <a:pt x="1193205" y="13726"/>
                    <a:pt x="1210283" y="-8527"/>
                    <a:pt x="1247371" y="3376"/>
                  </a:cubicBezTo>
                  <a:cubicBezTo>
                    <a:pt x="1259101" y="7171"/>
                    <a:pt x="1267036" y="20798"/>
                    <a:pt x="1276869" y="38221"/>
                  </a:cubicBezTo>
                  <a:cubicBezTo>
                    <a:pt x="1282906" y="48744"/>
                    <a:pt x="1296879" y="73584"/>
                    <a:pt x="1303434" y="74619"/>
                  </a:cubicBezTo>
                  <a:cubicBezTo>
                    <a:pt x="1303434" y="74619"/>
                    <a:pt x="1304986" y="73929"/>
                    <a:pt x="1307746" y="70306"/>
                  </a:cubicBezTo>
                  <a:cubicBezTo>
                    <a:pt x="1313094" y="63924"/>
                    <a:pt x="1322064" y="63061"/>
                    <a:pt x="1328274" y="68236"/>
                  </a:cubicBezTo>
                  <a:cubicBezTo>
                    <a:pt x="1331206" y="70651"/>
                    <a:pt x="1333104" y="74101"/>
                    <a:pt x="1333449" y="77896"/>
                  </a:cubicBezTo>
                  <a:cubicBezTo>
                    <a:pt x="1333794" y="81864"/>
                    <a:pt x="1332759" y="85659"/>
                    <a:pt x="1330171" y="88591"/>
                  </a:cubicBezTo>
                  <a:cubicBezTo>
                    <a:pt x="1319304" y="102047"/>
                    <a:pt x="1308264" y="104289"/>
                    <a:pt x="1300674" y="103599"/>
                  </a:cubicBezTo>
                  <a:cubicBezTo>
                    <a:pt x="1279111" y="101701"/>
                    <a:pt x="1265483" y="77551"/>
                    <a:pt x="1252201" y="54091"/>
                  </a:cubicBezTo>
                  <a:cubicBezTo>
                    <a:pt x="1248923" y="48054"/>
                    <a:pt x="1240298" y="32873"/>
                    <a:pt x="1237021" y="30458"/>
                  </a:cubicBezTo>
                  <a:cubicBezTo>
                    <a:pt x="1220806" y="25456"/>
                    <a:pt x="1215803" y="31838"/>
                    <a:pt x="1205108" y="45984"/>
                  </a:cubicBezTo>
                  <a:cubicBezTo>
                    <a:pt x="1198553" y="54609"/>
                    <a:pt x="1190618" y="65304"/>
                    <a:pt x="1177853" y="70824"/>
                  </a:cubicBezTo>
                  <a:cubicBezTo>
                    <a:pt x="1166985" y="75826"/>
                    <a:pt x="1156462" y="73929"/>
                    <a:pt x="1148872" y="72549"/>
                  </a:cubicBezTo>
                  <a:cubicBezTo>
                    <a:pt x="1144042" y="71686"/>
                    <a:pt x="1140593" y="70996"/>
                    <a:pt x="1138177" y="71514"/>
                  </a:cubicBezTo>
                  <a:cubicBezTo>
                    <a:pt x="1136625" y="71859"/>
                    <a:pt x="1135245" y="72894"/>
                    <a:pt x="1132485" y="75136"/>
                  </a:cubicBezTo>
                  <a:cubicBezTo>
                    <a:pt x="1127655" y="79104"/>
                    <a:pt x="1121273" y="84451"/>
                    <a:pt x="1111095" y="85314"/>
                  </a:cubicBezTo>
                  <a:cubicBezTo>
                    <a:pt x="1089360" y="87729"/>
                    <a:pt x="1066762" y="79104"/>
                    <a:pt x="1044854" y="70996"/>
                  </a:cubicBezTo>
                  <a:lnTo>
                    <a:pt x="1041232" y="69616"/>
                  </a:lnTo>
                  <a:cubicBezTo>
                    <a:pt x="1023982" y="63234"/>
                    <a:pt x="1006214" y="56851"/>
                    <a:pt x="991034" y="57024"/>
                  </a:cubicBezTo>
                  <a:cubicBezTo>
                    <a:pt x="963951" y="57369"/>
                    <a:pt x="930141" y="73929"/>
                    <a:pt x="907198" y="86176"/>
                  </a:cubicBezTo>
                  <a:cubicBezTo>
                    <a:pt x="901161" y="89454"/>
                    <a:pt x="893743" y="92904"/>
                    <a:pt x="885808" y="96354"/>
                  </a:cubicBezTo>
                  <a:lnTo>
                    <a:pt x="881495" y="98251"/>
                  </a:lnTo>
                  <a:cubicBezTo>
                    <a:pt x="868386" y="104116"/>
                    <a:pt x="850618" y="112224"/>
                    <a:pt x="841303" y="119124"/>
                  </a:cubicBezTo>
                  <a:cubicBezTo>
                    <a:pt x="835093" y="123609"/>
                    <a:pt x="829055" y="130337"/>
                    <a:pt x="822672" y="137582"/>
                  </a:cubicBezTo>
                  <a:cubicBezTo>
                    <a:pt x="813012" y="148622"/>
                    <a:pt x="803698" y="158799"/>
                    <a:pt x="791967" y="166907"/>
                  </a:cubicBezTo>
                  <a:cubicBezTo>
                    <a:pt x="786620" y="170357"/>
                    <a:pt x="781445" y="173289"/>
                    <a:pt x="776442" y="175877"/>
                  </a:cubicBezTo>
                  <a:cubicBezTo>
                    <a:pt x="759710" y="184675"/>
                    <a:pt x="754880" y="187780"/>
                    <a:pt x="756605" y="202787"/>
                  </a:cubicBezTo>
                  <a:cubicBezTo>
                    <a:pt x="756949" y="206582"/>
                    <a:pt x="758847" y="211067"/>
                    <a:pt x="760917" y="215725"/>
                  </a:cubicBezTo>
                  <a:lnTo>
                    <a:pt x="762470" y="219520"/>
                  </a:lnTo>
                  <a:cubicBezTo>
                    <a:pt x="764367" y="224177"/>
                    <a:pt x="766437" y="229007"/>
                    <a:pt x="767817" y="234355"/>
                  </a:cubicBezTo>
                  <a:cubicBezTo>
                    <a:pt x="775925" y="272305"/>
                    <a:pt x="769887" y="303010"/>
                    <a:pt x="750222" y="323193"/>
                  </a:cubicBezTo>
                  <a:cubicBezTo>
                    <a:pt x="737112" y="336993"/>
                    <a:pt x="715032" y="343548"/>
                    <a:pt x="695539" y="349241"/>
                  </a:cubicBezTo>
                  <a:cubicBezTo>
                    <a:pt x="686052" y="351828"/>
                    <a:pt x="677427" y="354416"/>
                    <a:pt x="671562" y="357176"/>
                  </a:cubicBezTo>
                  <a:cubicBezTo>
                    <a:pt x="660004" y="362351"/>
                    <a:pt x="647412" y="367526"/>
                    <a:pt x="634129" y="372528"/>
                  </a:cubicBezTo>
                  <a:cubicBezTo>
                    <a:pt x="618431" y="378566"/>
                    <a:pt x="602044" y="385121"/>
                    <a:pt x="588243" y="392194"/>
                  </a:cubicBezTo>
                  <a:cubicBezTo>
                    <a:pt x="584966" y="393919"/>
                    <a:pt x="581171" y="396851"/>
                    <a:pt x="577721" y="399784"/>
                  </a:cubicBezTo>
                  <a:lnTo>
                    <a:pt x="575996" y="401164"/>
                  </a:lnTo>
                  <a:cubicBezTo>
                    <a:pt x="569096" y="406856"/>
                    <a:pt x="563058" y="411686"/>
                    <a:pt x="555468" y="414619"/>
                  </a:cubicBezTo>
                  <a:cubicBezTo>
                    <a:pt x="547533" y="417551"/>
                    <a:pt x="539598" y="417551"/>
                    <a:pt x="532008" y="417379"/>
                  </a:cubicBezTo>
                  <a:lnTo>
                    <a:pt x="530283" y="417379"/>
                  </a:lnTo>
                  <a:cubicBezTo>
                    <a:pt x="525971" y="417379"/>
                    <a:pt x="521831" y="417379"/>
                    <a:pt x="519071" y="418241"/>
                  </a:cubicBezTo>
                  <a:cubicBezTo>
                    <a:pt x="506305" y="422381"/>
                    <a:pt x="492333" y="432386"/>
                    <a:pt x="479912" y="441356"/>
                  </a:cubicBezTo>
                  <a:cubicBezTo>
                    <a:pt x="472495" y="446704"/>
                    <a:pt x="463870" y="452914"/>
                    <a:pt x="455245" y="457916"/>
                  </a:cubicBezTo>
                  <a:lnTo>
                    <a:pt x="452830" y="459297"/>
                  </a:lnTo>
                  <a:cubicBezTo>
                    <a:pt x="408325" y="484999"/>
                    <a:pt x="366234" y="509322"/>
                    <a:pt x="363647" y="559865"/>
                  </a:cubicBezTo>
                  <a:cubicBezTo>
                    <a:pt x="361922" y="595400"/>
                    <a:pt x="360197" y="605232"/>
                    <a:pt x="330009" y="627313"/>
                  </a:cubicBezTo>
                  <a:cubicBezTo>
                    <a:pt x="314484" y="638698"/>
                    <a:pt x="304651" y="652153"/>
                    <a:pt x="295164" y="665090"/>
                  </a:cubicBezTo>
                  <a:lnTo>
                    <a:pt x="293094" y="667850"/>
                  </a:lnTo>
                  <a:cubicBezTo>
                    <a:pt x="287919" y="674750"/>
                    <a:pt x="282571" y="681996"/>
                    <a:pt x="276016" y="689586"/>
                  </a:cubicBezTo>
                  <a:cubicBezTo>
                    <a:pt x="269979" y="696658"/>
                    <a:pt x="261871" y="702523"/>
                    <a:pt x="255489" y="707353"/>
                  </a:cubicBezTo>
                  <a:cubicBezTo>
                    <a:pt x="249451" y="711839"/>
                    <a:pt x="243758" y="716323"/>
                    <a:pt x="240826" y="719946"/>
                  </a:cubicBezTo>
                  <a:cubicBezTo>
                    <a:pt x="238583" y="722878"/>
                    <a:pt x="237893" y="725638"/>
                    <a:pt x="236686" y="729778"/>
                  </a:cubicBezTo>
                  <a:cubicBezTo>
                    <a:pt x="235651" y="733746"/>
                    <a:pt x="234444" y="738576"/>
                    <a:pt x="231683" y="743924"/>
                  </a:cubicBezTo>
                  <a:cubicBezTo>
                    <a:pt x="226681" y="753411"/>
                    <a:pt x="220126" y="760656"/>
                    <a:pt x="214433" y="767039"/>
                  </a:cubicBezTo>
                  <a:cubicBezTo>
                    <a:pt x="210983" y="770834"/>
                    <a:pt x="207533" y="774629"/>
                    <a:pt x="204428" y="779114"/>
                  </a:cubicBezTo>
                  <a:cubicBezTo>
                    <a:pt x="199771" y="785324"/>
                    <a:pt x="199598" y="786187"/>
                    <a:pt x="198736" y="791534"/>
                  </a:cubicBezTo>
                  <a:lnTo>
                    <a:pt x="198218" y="794294"/>
                  </a:lnTo>
                  <a:cubicBezTo>
                    <a:pt x="197701" y="797054"/>
                    <a:pt x="197011" y="800332"/>
                    <a:pt x="195803" y="804816"/>
                  </a:cubicBezTo>
                  <a:cubicBezTo>
                    <a:pt x="192698" y="816546"/>
                    <a:pt x="187178" y="826724"/>
                    <a:pt x="181830" y="836385"/>
                  </a:cubicBezTo>
                  <a:lnTo>
                    <a:pt x="180968" y="838109"/>
                  </a:lnTo>
                  <a:cubicBezTo>
                    <a:pt x="173378" y="851910"/>
                    <a:pt x="166133" y="865020"/>
                    <a:pt x="165615" y="881580"/>
                  </a:cubicBezTo>
                  <a:cubicBezTo>
                    <a:pt x="165270" y="892965"/>
                    <a:pt x="167168" y="900900"/>
                    <a:pt x="168893" y="908145"/>
                  </a:cubicBezTo>
                  <a:cubicBezTo>
                    <a:pt x="171826" y="920393"/>
                    <a:pt x="174758" y="932985"/>
                    <a:pt x="168548" y="953512"/>
                  </a:cubicBezTo>
                  <a:cubicBezTo>
                    <a:pt x="159578" y="984046"/>
                    <a:pt x="150608" y="1011301"/>
                    <a:pt x="131632" y="1036658"/>
                  </a:cubicBezTo>
                  <a:cubicBezTo>
                    <a:pt x="126285" y="1043731"/>
                    <a:pt x="118867" y="1051666"/>
                    <a:pt x="111622" y="1059429"/>
                  </a:cubicBezTo>
                  <a:cubicBezTo>
                    <a:pt x="96960" y="1074954"/>
                    <a:pt x="80745" y="1092031"/>
                    <a:pt x="76950" y="1106176"/>
                  </a:cubicBezTo>
                  <a:cubicBezTo>
                    <a:pt x="74190" y="1116182"/>
                    <a:pt x="74535" y="1124117"/>
                    <a:pt x="75052" y="1132224"/>
                  </a:cubicBezTo>
                  <a:cubicBezTo>
                    <a:pt x="76260" y="1148784"/>
                    <a:pt x="77467" y="1166207"/>
                    <a:pt x="55905" y="1187597"/>
                  </a:cubicBezTo>
                  <a:lnTo>
                    <a:pt x="48142" y="1195014"/>
                  </a:lnTo>
                  <a:cubicBezTo>
                    <a:pt x="43312" y="1199499"/>
                    <a:pt x="43312" y="1199499"/>
                    <a:pt x="40552" y="1210022"/>
                  </a:cubicBezTo>
                  <a:cubicBezTo>
                    <a:pt x="39517" y="1213990"/>
                    <a:pt x="39345" y="1218647"/>
                    <a:pt x="39172" y="1222270"/>
                  </a:cubicBezTo>
                  <a:cubicBezTo>
                    <a:pt x="38482" y="1233137"/>
                    <a:pt x="37620" y="1247972"/>
                    <a:pt x="25027" y="1259357"/>
                  </a:cubicBezTo>
                  <a:cubicBezTo>
                    <a:pt x="21577" y="1262635"/>
                    <a:pt x="18472" y="1264187"/>
                    <a:pt x="14677" y="1264187"/>
                  </a:cubicBezTo>
                  <a:close/>
                  <a:moveTo>
                    <a:pt x="1317061" y="78586"/>
                  </a:moveTo>
                  <a:cubicBezTo>
                    <a:pt x="1317061" y="78586"/>
                    <a:pt x="1317061" y="78586"/>
                    <a:pt x="1317061" y="78586"/>
                  </a:cubicBezTo>
                  <a:cubicBezTo>
                    <a:pt x="1317061" y="78586"/>
                    <a:pt x="1317061" y="78586"/>
                    <a:pt x="1317061" y="78586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6" name="Gráfico 1344">
            <a:extLst>
              <a:ext uri="{FF2B5EF4-FFF2-40B4-BE49-F238E27FC236}">
                <a16:creationId xmlns:a16="http://schemas.microsoft.com/office/drawing/2014/main" id="{FEA16E07-D1AC-47E0-9B60-26897372563B}"/>
              </a:ext>
            </a:extLst>
          </p:cNvPr>
          <p:cNvGrpSpPr/>
          <p:nvPr/>
        </p:nvGrpSpPr>
        <p:grpSpPr>
          <a:xfrm>
            <a:off x="9821645" y="2611657"/>
            <a:ext cx="456224" cy="758142"/>
            <a:chOff x="9941391" y="2720143"/>
            <a:chExt cx="456224" cy="758142"/>
          </a:xfrm>
          <a:solidFill>
            <a:srgbClr val="F59D24"/>
          </a:solidFill>
        </p:grpSpPr>
        <p:sp>
          <p:nvSpPr>
            <p:cNvPr id="590" name="Gráfico 1344">
              <a:extLst>
                <a:ext uri="{FF2B5EF4-FFF2-40B4-BE49-F238E27FC236}">
                  <a16:creationId xmlns:a16="http://schemas.microsoft.com/office/drawing/2014/main" id="{9D441BDF-6A59-4547-B38C-4D826BA5FBD7}"/>
                </a:ext>
              </a:extLst>
            </p:cNvPr>
            <p:cNvSpPr/>
            <p:nvPr/>
          </p:nvSpPr>
          <p:spPr>
            <a:xfrm>
              <a:off x="9949981" y="2728813"/>
              <a:ext cx="438784" cy="741020"/>
            </a:xfrm>
            <a:custGeom>
              <a:avLst/>
              <a:gdLst>
                <a:gd name="connsiteX0" fmla="*/ 428792 w 438784"/>
                <a:gd name="connsiteY0" fmla="*/ 740848 h 741020"/>
                <a:gd name="connsiteX1" fmla="*/ 422238 w 438784"/>
                <a:gd name="connsiteY1" fmla="*/ 736535 h 741020"/>
                <a:gd name="connsiteX2" fmla="*/ 424135 w 438784"/>
                <a:gd name="connsiteY2" fmla="*/ 728428 h 741020"/>
                <a:gd name="connsiteX3" fmla="*/ 425343 w 438784"/>
                <a:gd name="connsiteY3" fmla="*/ 727738 h 741020"/>
                <a:gd name="connsiteX4" fmla="*/ 426378 w 438784"/>
                <a:gd name="connsiteY4" fmla="*/ 716007 h 741020"/>
                <a:gd name="connsiteX5" fmla="*/ 426723 w 438784"/>
                <a:gd name="connsiteY5" fmla="*/ 710315 h 741020"/>
                <a:gd name="connsiteX6" fmla="*/ 418960 w 438784"/>
                <a:gd name="connsiteY6" fmla="*/ 659082 h 741020"/>
                <a:gd name="connsiteX7" fmla="*/ 414130 w 438784"/>
                <a:gd name="connsiteY7" fmla="*/ 637347 h 741020"/>
                <a:gd name="connsiteX8" fmla="*/ 399985 w 438784"/>
                <a:gd name="connsiteY8" fmla="*/ 588874 h 741020"/>
                <a:gd name="connsiteX9" fmla="*/ 388427 w 438784"/>
                <a:gd name="connsiteY9" fmla="*/ 579559 h 741020"/>
                <a:gd name="connsiteX10" fmla="*/ 373937 w 438784"/>
                <a:gd name="connsiteY10" fmla="*/ 567656 h 741020"/>
                <a:gd name="connsiteX11" fmla="*/ 367900 w 438784"/>
                <a:gd name="connsiteY11" fmla="*/ 555409 h 741020"/>
                <a:gd name="connsiteX12" fmla="*/ 360655 w 438784"/>
                <a:gd name="connsiteY12" fmla="*/ 542816 h 741020"/>
                <a:gd name="connsiteX13" fmla="*/ 340645 w 438784"/>
                <a:gd name="connsiteY13" fmla="*/ 528499 h 741020"/>
                <a:gd name="connsiteX14" fmla="*/ 308387 w 438784"/>
                <a:gd name="connsiteY14" fmla="*/ 501243 h 741020"/>
                <a:gd name="connsiteX15" fmla="*/ 254221 w 438784"/>
                <a:gd name="connsiteY15" fmla="*/ 441385 h 741020"/>
                <a:gd name="connsiteX16" fmla="*/ 207991 w 438784"/>
                <a:gd name="connsiteY16" fmla="*/ 391360 h 741020"/>
                <a:gd name="connsiteX17" fmla="*/ 183324 w 438784"/>
                <a:gd name="connsiteY17" fmla="*/ 354617 h 741020"/>
                <a:gd name="connsiteX18" fmla="*/ 166764 w 438784"/>
                <a:gd name="connsiteY18" fmla="*/ 328570 h 741020"/>
                <a:gd name="connsiteX19" fmla="*/ 44632 w 438784"/>
                <a:gd name="connsiteY19" fmla="*/ 229554 h 741020"/>
                <a:gd name="connsiteX20" fmla="*/ 36525 w 438784"/>
                <a:gd name="connsiteY20" fmla="*/ 227829 h 741020"/>
                <a:gd name="connsiteX21" fmla="*/ 40837 w 438784"/>
                <a:gd name="connsiteY21" fmla="*/ 220584 h 741020"/>
                <a:gd name="connsiteX22" fmla="*/ 61020 w 438784"/>
                <a:gd name="connsiteY22" fmla="*/ 208681 h 741020"/>
                <a:gd name="connsiteX23" fmla="*/ 645 w 438784"/>
                <a:gd name="connsiteY23" fmla="*/ 8580 h 741020"/>
                <a:gd name="connsiteX24" fmla="*/ 3405 w 438784"/>
                <a:gd name="connsiteY24" fmla="*/ 645 h 741020"/>
                <a:gd name="connsiteX25" fmla="*/ 11340 w 438784"/>
                <a:gd name="connsiteY25" fmla="*/ 3405 h 741020"/>
                <a:gd name="connsiteX26" fmla="*/ 73612 w 438784"/>
                <a:gd name="connsiteY26" fmla="*/ 214201 h 741020"/>
                <a:gd name="connsiteX27" fmla="*/ 74475 w 438784"/>
                <a:gd name="connsiteY27" fmla="*/ 221964 h 741020"/>
                <a:gd name="connsiteX28" fmla="*/ 66713 w 438784"/>
                <a:gd name="connsiteY28" fmla="*/ 220929 h 741020"/>
                <a:gd name="connsiteX29" fmla="*/ 58433 w 438784"/>
                <a:gd name="connsiteY29" fmla="*/ 220584 h 741020"/>
                <a:gd name="connsiteX30" fmla="*/ 176424 w 438784"/>
                <a:gd name="connsiteY30" fmla="*/ 321670 h 741020"/>
                <a:gd name="connsiteX31" fmla="*/ 193674 w 438784"/>
                <a:gd name="connsiteY31" fmla="*/ 348407 h 741020"/>
                <a:gd name="connsiteX32" fmla="*/ 217306 w 438784"/>
                <a:gd name="connsiteY32" fmla="*/ 383597 h 741020"/>
                <a:gd name="connsiteX33" fmla="*/ 263019 w 438784"/>
                <a:gd name="connsiteY33" fmla="*/ 432760 h 741020"/>
                <a:gd name="connsiteX34" fmla="*/ 318220 w 438784"/>
                <a:gd name="connsiteY34" fmla="*/ 493653 h 741020"/>
                <a:gd name="connsiteX35" fmla="*/ 347200 w 438784"/>
                <a:gd name="connsiteY35" fmla="*/ 518148 h 741020"/>
                <a:gd name="connsiteX36" fmla="*/ 368935 w 438784"/>
                <a:gd name="connsiteY36" fmla="*/ 533674 h 741020"/>
                <a:gd name="connsiteX37" fmla="*/ 379457 w 438784"/>
                <a:gd name="connsiteY37" fmla="*/ 551269 h 741020"/>
                <a:gd name="connsiteX38" fmla="*/ 383770 w 438784"/>
                <a:gd name="connsiteY38" fmla="*/ 560239 h 741020"/>
                <a:gd name="connsiteX39" fmla="*/ 395673 w 438784"/>
                <a:gd name="connsiteY39" fmla="*/ 569899 h 741020"/>
                <a:gd name="connsiteX40" fmla="*/ 410335 w 438784"/>
                <a:gd name="connsiteY40" fmla="*/ 582664 h 741020"/>
                <a:gd name="connsiteX41" fmla="*/ 425860 w 438784"/>
                <a:gd name="connsiteY41" fmla="*/ 634932 h 741020"/>
                <a:gd name="connsiteX42" fmla="*/ 430518 w 438784"/>
                <a:gd name="connsiteY42" fmla="*/ 656150 h 741020"/>
                <a:gd name="connsiteX43" fmla="*/ 438453 w 438784"/>
                <a:gd name="connsiteY43" fmla="*/ 711695 h 741020"/>
                <a:gd name="connsiteX44" fmla="*/ 438108 w 438784"/>
                <a:gd name="connsiteY44" fmla="*/ 717042 h 741020"/>
                <a:gd name="connsiteX45" fmla="*/ 430173 w 438784"/>
                <a:gd name="connsiteY45" fmla="*/ 741020 h 741020"/>
                <a:gd name="connsiteX46" fmla="*/ 428792 w 438784"/>
                <a:gd name="connsiteY46" fmla="*/ 740848 h 7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38784" h="741020">
                  <a:moveTo>
                    <a:pt x="428792" y="740848"/>
                  </a:moveTo>
                  <a:cubicBezTo>
                    <a:pt x="426895" y="740848"/>
                    <a:pt x="424308" y="740158"/>
                    <a:pt x="422238" y="736535"/>
                  </a:cubicBezTo>
                  <a:cubicBezTo>
                    <a:pt x="420513" y="733775"/>
                    <a:pt x="421375" y="730153"/>
                    <a:pt x="424135" y="728428"/>
                  </a:cubicBezTo>
                  <a:cubicBezTo>
                    <a:pt x="424480" y="728255"/>
                    <a:pt x="424998" y="728083"/>
                    <a:pt x="425343" y="727738"/>
                  </a:cubicBezTo>
                  <a:cubicBezTo>
                    <a:pt x="425688" y="724115"/>
                    <a:pt x="426205" y="718940"/>
                    <a:pt x="426378" y="716007"/>
                  </a:cubicBezTo>
                  <a:cubicBezTo>
                    <a:pt x="426550" y="713938"/>
                    <a:pt x="426550" y="711867"/>
                    <a:pt x="426723" y="710315"/>
                  </a:cubicBezTo>
                  <a:cubicBezTo>
                    <a:pt x="428275" y="693582"/>
                    <a:pt x="423445" y="675297"/>
                    <a:pt x="418960" y="659082"/>
                  </a:cubicBezTo>
                  <a:cubicBezTo>
                    <a:pt x="417235" y="652872"/>
                    <a:pt x="415683" y="645455"/>
                    <a:pt x="414130" y="637347"/>
                  </a:cubicBezTo>
                  <a:cubicBezTo>
                    <a:pt x="410507" y="619752"/>
                    <a:pt x="406023" y="598189"/>
                    <a:pt x="399985" y="588874"/>
                  </a:cubicBezTo>
                  <a:cubicBezTo>
                    <a:pt x="398433" y="586286"/>
                    <a:pt x="393085" y="582664"/>
                    <a:pt x="388427" y="579559"/>
                  </a:cubicBezTo>
                  <a:cubicBezTo>
                    <a:pt x="382908" y="575764"/>
                    <a:pt x="377387" y="571796"/>
                    <a:pt x="373937" y="567656"/>
                  </a:cubicBezTo>
                  <a:cubicBezTo>
                    <a:pt x="371005" y="563862"/>
                    <a:pt x="369280" y="559549"/>
                    <a:pt x="367900" y="555409"/>
                  </a:cubicBezTo>
                  <a:cubicBezTo>
                    <a:pt x="366175" y="550751"/>
                    <a:pt x="364450" y="546266"/>
                    <a:pt x="360655" y="542816"/>
                  </a:cubicBezTo>
                  <a:cubicBezTo>
                    <a:pt x="353755" y="536779"/>
                    <a:pt x="347200" y="532639"/>
                    <a:pt x="340645" y="528499"/>
                  </a:cubicBezTo>
                  <a:cubicBezTo>
                    <a:pt x="329950" y="521944"/>
                    <a:pt x="318909" y="515044"/>
                    <a:pt x="308387" y="501243"/>
                  </a:cubicBezTo>
                  <a:cubicBezTo>
                    <a:pt x="292344" y="480371"/>
                    <a:pt x="273024" y="460533"/>
                    <a:pt x="254221" y="441385"/>
                  </a:cubicBezTo>
                  <a:cubicBezTo>
                    <a:pt x="238524" y="425343"/>
                    <a:pt x="221964" y="408783"/>
                    <a:pt x="207991" y="391360"/>
                  </a:cubicBezTo>
                  <a:cubicBezTo>
                    <a:pt x="198676" y="379975"/>
                    <a:pt x="190914" y="367210"/>
                    <a:pt x="183324" y="354617"/>
                  </a:cubicBezTo>
                  <a:cubicBezTo>
                    <a:pt x="177803" y="345475"/>
                    <a:pt x="172456" y="336677"/>
                    <a:pt x="166764" y="328570"/>
                  </a:cubicBezTo>
                  <a:cubicBezTo>
                    <a:pt x="143303" y="295967"/>
                    <a:pt x="96210" y="239559"/>
                    <a:pt x="44632" y="229554"/>
                  </a:cubicBezTo>
                  <a:lnTo>
                    <a:pt x="36525" y="227829"/>
                  </a:lnTo>
                  <a:lnTo>
                    <a:pt x="40837" y="220584"/>
                  </a:lnTo>
                  <a:cubicBezTo>
                    <a:pt x="46185" y="211441"/>
                    <a:pt x="52740" y="208681"/>
                    <a:pt x="61020" y="208681"/>
                  </a:cubicBezTo>
                  <a:cubicBezTo>
                    <a:pt x="52567" y="143821"/>
                    <a:pt x="31867" y="74820"/>
                    <a:pt x="645" y="8580"/>
                  </a:cubicBezTo>
                  <a:cubicBezTo>
                    <a:pt x="-908" y="5647"/>
                    <a:pt x="472" y="2197"/>
                    <a:pt x="3405" y="645"/>
                  </a:cubicBezTo>
                  <a:cubicBezTo>
                    <a:pt x="6337" y="-908"/>
                    <a:pt x="9787" y="472"/>
                    <a:pt x="11340" y="3405"/>
                  </a:cubicBezTo>
                  <a:cubicBezTo>
                    <a:pt x="44115" y="73268"/>
                    <a:pt x="65678" y="146063"/>
                    <a:pt x="73612" y="214201"/>
                  </a:cubicBezTo>
                  <a:lnTo>
                    <a:pt x="74475" y="221964"/>
                  </a:lnTo>
                  <a:lnTo>
                    <a:pt x="66713" y="220929"/>
                  </a:lnTo>
                  <a:cubicBezTo>
                    <a:pt x="63090" y="220584"/>
                    <a:pt x="60330" y="220239"/>
                    <a:pt x="58433" y="220584"/>
                  </a:cubicBezTo>
                  <a:cubicBezTo>
                    <a:pt x="109148" y="236627"/>
                    <a:pt x="153481" y="289757"/>
                    <a:pt x="176424" y="321670"/>
                  </a:cubicBezTo>
                  <a:cubicBezTo>
                    <a:pt x="182633" y="330295"/>
                    <a:pt x="188154" y="339437"/>
                    <a:pt x="193674" y="348407"/>
                  </a:cubicBezTo>
                  <a:cubicBezTo>
                    <a:pt x="201091" y="360655"/>
                    <a:pt x="208681" y="372902"/>
                    <a:pt x="217306" y="383597"/>
                  </a:cubicBezTo>
                  <a:cubicBezTo>
                    <a:pt x="231106" y="400503"/>
                    <a:pt x="247321" y="416890"/>
                    <a:pt x="263019" y="432760"/>
                  </a:cubicBezTo>
                  <a:cubicBezTo>
                    <a:pt x="282166" y="452253"/>
                    <a:pt x="301832" y="472091"/>
                    <a:pt x="318220" y="493653"/>
                  </a:cubicBezTo>
                  <a:cubicBezTo>
                    <a:pt x="327362" y="505901"/>
                    <a:pt x="337022" y="511766"/>
                    <a:pt x="347200" y="518148"/>
                  </a:cubicBezTo>
                  <a:cubicBezTo>
                    <a:pt x="354272" y="522461"/>
                    <a:pt x="361517" y="527119"/>
                    <a:pt x="368935" y="533674"/>
                  </a:cubicBezTo>
                  <a:cubicBezTo>
                    <a:pt x="374972" y="539021"/>
                    <a:pt x="377215" y="545404"/>
                    <a:pt x="379457" y="551269"/>
                  </a:cubicBezTo>
                  <a:cubicBezTo>
                    <a:pt x="380665" y="554891"/>
                    <a:pt x="381873" y="557824"/>
                    <a:pt x="383770" y="560239"/>
                  </a:cubicBezTo>
                  <a:cubicBezTo>
                    <a:pt x="385840" y="563171"/>
                    <a:pt x="391015" y="566621"/>
                    <a:pt x="395673" y="569899"/>
                  </a:cubicBezTo>
                  <a:cubicBezTo>
                    <a:pt x="401882" y="574211"/>
                    <a:pt x="407403" y="578179"/>
                    <a:pt x="410335" y="582664"/>
                  </a:cubicBezTo>
                  <a:cubicBezTo>
                    <a:pt x="417408" y="594049"/>
                    <a:pt x="421893" y="615784"/>
                    <a:pt x="425860" y="634932"/>
                  </a:cubicBezTo>
                  <a:cubicBezTo>
                    <a:pt x="427585" y="642867"/>
                    <a:pt x="429138" y="650285"/>
                    <a:pt x="430518" y="656150"/>
                  </a:cubicBezTo>
                  <a:cubicBezTo>
                    <a:pt x="434830" y="672537"/>
                    <a:pt x="440178" y="692892"/>
                    <a:pt x="438453" y="711695"/>
                  </a:cubicBezTo>
                  <a:cubicBezTo>
                    <a:pt x="438280" y="713247"/>
                    <a:pt x="438280" y="715145"/>
                    <a:pt x="438108" y="717042"/>
                  </a:cubicBezTo>
                  <a:cubicBezTo>
                    <a:pt x="437073" y="731532"/>
                    <a:pt x="436383" y="739468"/>
                    <a:pt x="430173" y="741020"/>
                  </a:cubicBezTo>
                  <a:cubicBezTo>
                    <a:pt x="430173" y="740675"/>
                    <a:pt x="429483" y="740848"/>
                    <a:pt x="428792" y="740848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91" name="Gráfico 1344">
              <a:extLst>
                <a:ext uri="{FF2B5EF4-FFF2-40B4-BE49-F238E27FC236}">
                  <a16:creationId xmlns:a16="http://schemas.microsoft.com/office/drawing/2014/main" id="{44DEA986-679B-4A3D-B348-C0EC0B714604}"/>
                </a:ext>
              </a:extLst>
            </p:cNvPr>
            <p:cNvSpPr/>
            <p:nvPr/>
          </p:nvSpPr>
          <p:spPr>
            <a:xfrm>
              <a:off x="9941391" y="2720143"/>
              <a:ext cx="456224" cy="758142"/>
            </a:xfrm>
            <a:custGeom>
              <a:avLst/>
              <a:gdLst>
                <a:gd name="connsiteX0" fmla="*/ 437383 w 456224"/>
                <a:gd name="connsiteY0" fmla="*/ 758143 h 758142"/>
                <a:gd name="connsiteX1" fmla="*/ 423410 w 456224"/>
                <a:gd name="connsiteY1" fmla="*/ 749690 h 758142"/>
                <a:gd name="connsiteX2" fmla="*/ 425826 w 456224"/>
                <a:gd name="connsiteY2" fmla="*/ 731750 h 758142"/>
                <a:gd name="connsiteX3" fmla="*/ 426516 w 456224"/>
                <a:gd name="connsiteY3" fmla="*/ 724333 h 758142"/>
                <a:gd name="connsiteX4" fmla="*/ 426688 w 456224"/>
                <a:gd name="connsiteY4" fmla="*/ 721573 h 758142"/>
                <a:gd name="connsiteX5" fmla="*/ 427033 w 456224"/>
                <a:gd name="connsiteY5" fmla="*/ 718123 h 758142"/>
                <a:gd name="connsiteX6" fmla="*/ 419615 w 456224"/>
                <a:gd name="connsiteY6" fmla="*/ 670167 h 758142"/>
                <a:gd name="connsiteX7" fmla="*/ 415131 w 456224"/>
                <a:gd name="connsiteY7" fmla="*/ 650847 h 758142"/>
                <a:gd name="connsiteX8" fmla="*/ 414441 w 456224"/>
                <a:gd name="connsiteY8" fmla="*/ 647915 h 758142"/>
                <a:gd name="connsiteX9" fmla="*/ 401503 w 456224"/>
                <a:gd name="connsiteY9" fmla="*/ 602374 h 758142"/>
                <a:gd name="connsiteX10" fmla="*/ 392533 w 456224"/>
                <a:gd name="connsiteY10" fmla="*/ 595474 h 758142"/>
                <a:gd name="connsiteX11" fmla="*/ 376145 w 456224"/>
                <a:gd name="connsiteY11" fmla="*/ 581674 h 758142"/>
                <a:gd name="connsiteX12" fmla="*/ 368728 w 456224"/>
                <a:gd name="connsiteY12" fmla="*/ 566667 h 758142"/>
                <a:gd name="connsiteX13" fmla="*/ 363898 w 456224"/>
                <a:gd name="connsiteY13" fmla="*/ 557869 h 758142"/>
                <a:gd name="connsiteX14" fmla="*/ 345095 w 456224"/>
                <a:gd name="connsiteY14" fmla="*/ 544414 h 758142"/>
                <a:gd name="connsiteX15" fmla="*/ 310595 w 456224"/>
                <a:gd name="connsiteY15" fmla="*/ 514916 h 758142"/>
                <a:gd name="connsiteX16" fmla="*/ 257120 w 456224"/>
                <a:gd name="connsiteY16" fmla="*/ 455921 h 758142"/>
                <a:gd name="connsiteX17" fmla="*/ 210372 w 456224"/>
                <a:gd name="connsiteY17" fmla="*/ 405378 h 758142"/>
                <a:gd name="connsiteX18" fmla="*/ 186049 w 456224"/>
                <a:gd name="connsiteY18" fmla="*/ 369498 h 758142"/>
                <a:gd name="connsiteX19" fmla="*/ 184841 w 456224"/>
                <a:gd name="connsiteY19" fmla="*/ 367600 h 758142"/>
                <a:gd name="connsiteX20" fmla="*/ 168454 w 456224"/>
                <a:gd name="connsiteY20" fmla="*/ 342070 h 758142"/>
                <a:gd name="connsiteX21" fmla="*/ 51670 w 456224"/>
                <a:gd name="connsiteY21" fmla="*/ 246504 h 758142"/>
                <a:gd name="connsiteX22" fmla="*/ 31660 w 456224"/>
                <a:gd name="connsiteY22" fmla="*/ 242364 h 758142"/>
                <a:gd name="connsiteX23" fmla="*/ 39423 w 456224"/>
                <a:gd name="connsiteY23" fmla="*/ 229254 h 758142"/>
                <a:gd name="connsiteX24" fmla="*/ 25450 w 456224"/>
                <a:gd name="connsiteY24" fmla="*/ 224942 h 758142"/>
                <a:gd name="connsiteX25" fmla="*/ 43218 w 456224"/>
                <a:gd name="connsiteY25" fmla="*/ 223044 h 758142"/>
                <a:gd name="connsiteX26" fmla="*/ 59951 w 456224"/>
                <a:gd name="connsiteY26" fmla="*/ 209934 h 758142"/>
                <a:gd name="connsiteX27" fmla="*/ 1473 w 456224"/>
                <a:gd name="connsiteY27" fmla="*/ 20873 h 758142"/>
                <a:gd name="connsiteX28" fmla="*/ 8200 w 456224"/>
                <a:gd name="connsiteY28" fmla="*/ 1552 h 758142"/>
                <a:gd name="connsiteX29" fmla="*/ 27693 w 456224"/>
                <a:gd name="connsiteY29" fmla="*/ 8108 h 758142"/>
                <a:gd name="connsiteX30" fmla="*/ 90828 w 456224"/>
                <a:gd name="connsiteY30" fmla="*/ 221837 h 758142"/>
                <a:gd name="connsiteX31" fmla="*/ 91691 w 456224"/>
                <a:gd name="connsiteY31" fmla="*/ 229944 h 758142"/>
                <a:gd name="connsiteX32" fmla="*/ 192087 w 456224"/>
                <a:gd name="connsiteY32" fmla="*/ 324992 h 758142"/>
                <a:gd name="connsiteX33" fmla="*/ 207612 w 456224"/>
                <a:gd name="connsiteY33" fmla="*/ 348970 h 758142"/>
                <a:gd name="connsiteX34" fmla="*/ 210889 w 456224"/>
                <a:gd name="connsiteY34" fmla="*/ 354318 h 758142"/>
                <a:gd name="connsiteX35" fmla="*/ 232624 w 456224"/>
                <a:gd name="connsiteY35" fmla="*/ 386575 h 758142"/>
                <a:gd name="connsiteX36" fmla="*/ 277819 w 456224"/>
                <a:gd name="connsiteY36" fmla="*/ 435048 h 758142"/>
                <a:gd name="connsiteX37" fmla="*/ 333710 w 456224"/>
                <a:gd name="connsiteY37" fmla="*/ 496804 h 758142"/>
                <a:gd name="connsiteX38" fmla="*/ 360275 w 456224"/>
                <a:gd name="connsiteY38" fmla="*/ 519229 h 758142"/>
                <a:gd name="connsiteX39" fmla="*/ 383391 w 456224"/>
                <a:gd name="connsiteY39" fmla="*/ 535789 h 758142"/>
                <a:gd name="connsiteX40" fmla="*/ 396155 w 456224"/>
                <a:gd name="connsiteY40" fmla="*/ 556661 h 758142"/>
                <a:gd name="connsiteX41" fmla="*/ 399088 w 456224"/>
                <a:gd name="connsiteY41" fmla="*/ 563217 h 758142"/>
                <a:gd name="connsiteX42" fmla="*/ 408576 w 456224"/>
                <a:gd name="connsiteY42" fmla="*/ 570807 h 758142"/>
                <a:gd name="connsiteX43" fmla="*/ 426171 w 456224"/>
                <a:gd name="connsiteY43" fmla="*/ 586332 h 758142"/>
                <a:gd name="connsiteX44" fmla="*/ 442731 w 456224"/>
                <a:gd name="connsiteY44" fmla="*/ 640152 h 758142"/>
                <a:gd name="connsiteX45" fmla="*/ 444283 w 456224"/>
                <a:gd name="connsiteY45" fmla="*/ 647397 h 758142"/>
                <a:gd name="connsiteX46" fmla="*/ 447733 w 456224"/>
                <a:gd name="connsiteY46" fmla="*/ 662405 h 758142"/>
                <a:gd name="connsiteX47" fmla="*/ 455841 w 456224"/>
                <a:gd name="connsiteY47" fmla="*/ 720883 h 758142"/>
                <a:gd name="connsiteX48" fmla="*/ 455323 w 456224"/>
                <a:gd name="connsiteY48" fmla="*/ 726403 h 758142"/>
                <a:gd name="connsiteX49" fmla="*/ 443593 w 456224"/>
                <a:gd name="connsiteY49" fmla="*/ 756935 h 758142"/>
                <a:gd name="connsiteX50" fmla="*/ 442558 w 456224"/>
                <a:gd name="connsiteY50" fmla="*/ 757971 h 758142"/>
                <a:gd name="connsiteX51" fmla="*/ 437383 w 456224"/>
                <a:gd name="connsiteY51" fmla="*/ 758143 h 758142"/>
                <a:gd name="connsiteX52" fmla="*/ 16998 w 456224"/>
                <a:gd name="connsiteY52" fmla="*/ 13110 h 758142"/>
                <a:gd name="connsiteX53" fmla="*/ 16998 w 456224"/>
                <a:gd name="connsiteY53" fmla="*/ 13110 h 758142"/>
                <a:gd name="connsiteX54" fmla="*/ 16998 w 456224"/>
                <a:gd name="connsiteY54" fmla="*/ 13110 h 75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56224" h="758142">
                  <a:moveTo>
                    <a:pt x="437383" y="758143"/>
                  </a:moveTo>
                  <a:cubicBezTo>
                    <a:pt x="431518" y="758143"/>
                    <a:pt x="426516" y="755038"/>
                    <a:pt x="423410" y="749690"/>
                  </a:cubicBezTo>
                  <a:cubicBezTo>
                    <a:pt x="419788" y="743825"/>
                    <a:pt x="420996" y="736235"/>
                    <a:pt x="425826" y="731750"/>
                  </a:cubicBezTo>
                  <a:cubicBezTo>
                    <a:pt x="425998" y="728990"/>
                    <a:pt x="426343" y="726230"/>
                    <a:pt x="426516" y="724333"/>
                  </a:cubicBezTo>
                  <a:lnTo>
                    <a:pt x="426688" y="721573"/>
                  </a:lnTo>
                  <a:cubicBezTo>
                    <a:pt x="426688" y="720365"/>
                    <a:pt x="426861" y="719158"/>
                    <a:pt x="427033" y="718123"/>
                  </a:cubicBezTo>
                  <a:cubicBezTo>
                    <a:pt x="428413" y="703460"/>
                    <a:pt x="424101" y="686382"/>
                    <a:pt x="419615" y="670167"/>
                  </a:cubicBezTo>
                  <a:cubicBezTo>
                    <a:pt x="418063" y="664647"/>
                    <a:pt x="416683" y="657920"/>
                    <a:pt x="415131" y="650847"/>
                  </a:cubicBezTo>
                  <a:lnTo>
                    <a:pt x="414441" y="647915"/>
                  </a:lnTo>
                  <a:cubicBezTo>
                    <a:pt x="411163" y="632045"/>
                    <a:pt x="406678" y="610309"/>
                    <a:pt x="401503" y="602374"/>
                  </a:cubicBezTo>
                  <a:cubicBezTo>
                    <a:pt x="400295" y="600822"/>
                    <a:pt x="395293" y="597372"/>
                    <a:pt x="392533" y="595474"/>
                  </a:cubicBezTo>
                  <a:cubicBezTo>
                    <a:pt x="386495" y="591334"/>
                    <a:pt x="380285" y="587022"/>
                    <a:pt x="376145" y="581674"/>
                  </a:cubicBezTo>
                  <a:cubicBezTo>
                    <a:pt x="372005" y="576327"/>
                    <a:pt x="369935" y="570979"/>
                    <a:pt x="368728" y="566667"/>
                  </a:cubicBezTo>
                  <a:cubicBezTo>
                    <a:pt x="367348" y="562699"/>
                    <a:pt x="366140" y="559767"/>
                    <a:pt x="363898" y="557869"/>
                  </a:cubicBezTo>
                  <a:cubicBezTo>
                    <a:pt x="357343" y="552176"/>
                    <a:pt x="350960" y="548209"/>
                    <a:pt x="345095" y="544414"/>
                  </a:cubicBezTo>
                  <a:cubicBezTo>
                    <a:pt x="334055" y="537514"/>
                    <a:pt x="321807" y="529924"/>
                    <a:pt x="310595" y="514916"/>
                  </a:cubicBezTo>
                  <a:cubicBezTo>
                    <a:pt x="295587" y="495251"/>
                    <a:pt x="277475" y="476621"/>
                    <a:pt x="257120" y="455921"/>
                  </a:cubicBezTo>
                  <a:cubicBezTo>
                    <a:pt x="240904" y="439533"/>
                    <a:pt x="224517" y="422801"/>
                    <a:pt x="210372" y="405378"/>
                  </a:cubicBezTo>
                  <a:cubicBezTo>
                    <a:pt x="201057" y="394165"/>
                    <a:pt x="193467" y="381745"/>
                    <a:pt x="186049" y="369498"/>
                  </a:cubicBezTo>
                  <a:lnTo>
                    <a:pt x="184841" y="367600"/>
                  </a:lnTo>
                  <a:cubicBezTo>
                    <a:pt x="179321" y="358630"/>
                    <a:pt x="174146" y="350005"/>
                    <a:pt x="168454" y="342070"/>
                  </a:cubicBezTo>
                  <a:cubicBezTo>
                    <a:pt x="145684" y="310502"/>
                    <a:pt x="100316" y="255992"/>
                    <a:pt x="51670" y="246504"/>
                  </a:cubicBezTo>
                  <a:lnTo>
                    <a:pt x="31660" y="242364"/>
                  </a:lnTo>
                  <a:lnTo>
                    <a:pt x="39423" y="229254"/>
                  </a:lnTo>
                  <a:lnTo>
                    <a:pt x="25450" y="224942"/>
                  </a:lnTo>
                  <a:lnTo>
                    <a:pt x="43218" y="223044"/>
                  </a:lnTo>
                  <a:cubicBezTo>
                    <a:pt x="47531" y="216317"/>
                    <a:pt x="53223" y="212004"/>
                    <a:pt x="59951" y="209934"/>
                  </a:cubicBezTo>
                  <a:cubicBezTo>
                    <a:pt x="50808" y="148179"/>
                    <a:pt x="30798" y="82973"/>
                    <a:pt x="1473" y="20873"/>
                  </a:cubicBezTo>
                  <a:cubicBezTo>
                    <a:pt x="-1977" y="13800"/>
                    <a:pt x="782" y="5348"/>
                    <a:pt x="8200" y="1552"/>
                  </a:cubicBezTo>
                  <a:cubicBezTo>
                    <a:pt x="15445" y="-2070"/>
                    <a:pt x="24070" y="863"/>
                    <a:pt x="27693" y="8108"/>
                  </a:cubicBezTo>
                  <a:cubicBezTo>
                    <a:pt x="60986" y="79006"/>
                    <a:pt x="82893" y="152836"/>
                    <a:pt x="90828" y="221837"/>
                  </a:cubicBezTo>
                  <a:lnTo>
                    <a:pt x="91691" y="229944"/>
                  </a:lnTo>
                  <a:cubicBezTo>
                    <a:pt x="135678" y="252714"/>
                    <a:pt x="172421" y="297737"/>
                    <a:pt x="192087" y="324992"/>
                  </a:cubicBezTo>
                  <a:cubicBezTo>
                    <a:pt x="197606" y="332582"/>
                    <a:pt x="202609" y="340862"/>
                    <a:pt x="207612" y="348970"/>
                  </a:cubicBezTo>
                  <a:lnTo>
                    <a:pt x="210889" y="354318"/>
                  </a:lnTo>
                  <a:cubicBezTo>
                    <a:pt x="217789" y="365530"/>
                    <a:pt x="224689" y="376915"/>
                    <a:pt x="232624" y="386575"/>
                  </a:cubicBezTo>
                  <a:cubicBezTo>
                    <a:pt x="246252" y="403135"/>
                    <a:pt x="262294" y="419351"/>
                    <a:pt x="277819" y="435048"/>
                  </a:cubicBezTo>
                  <a:cubicBezTo>
                    <a:pt x="297140" y="454541"/>
                    <a:pt x="316977" y="474723"/>
                    <a:pt x="333710" y="496804"/>
                  </a:cubicBezTo>
                  <a:cubicBezTo>
                    <a:pt x="341990" y="507671"/>
                    <a:pt x="350443" y="513019"/>
                    <a:pt x="360275" y="519229"/>
                  </a:cubicBezTo>
                  <a:cubicBezTo>
                    <a:pt x="367520" y="523541"/>
                    <a:pt x="375283" y="528716"/>
                    <a:pt x="383391" y="535789"/>
                  </a:cubicBezTo>
                  <a:cubicBezTo>
                    <a:pt x="390981" y="542516"/>
                    <a:pt x="393913" y="550451"/>
                    <a:pt x="396155" y="556661"/>
                  </a:cubicBezTo>
                  <a:cubicBezTo>
                    <a:pt x="397190" y="559594"/>
                    <a:pt x="398053" y="562009"/>
                    <a:pt x="399088" y="563217"/>
                  </a:cubicBezTo>
                  <a:cubicBezTo>
                    <a:pt x="400641" y="565286"/>
                    <a:pt x="405643" y="568737"/>
                    <a:pt x="408576" y="570807"/>
                  </a:cubicBezTo>
                  <a:cubicBezTo>
                    <a:pt x="415993" y="575982"/>
                    <a:pt x="422375" y="580639"/>
                    <a:pt x="426171" y="586332"/>
                  </a:cubicBezTo>
                  <a:cubicBezTo>
                    <a:pt x="433933" y="598924"/>
                    <a:pt x="438419" y="619797"/>
                    <a:pt x="442731" y="640152"/>
                  </a:cubicBezTo>
                  <a:lnTo>
                    <a:pt x="444283" y="647397"/>
                  </a:lnTo>
                  <a:cubicBezTo>
                    <a:pt x="445491" y="653090"/>
                    <a:pt x="446526" y="658265"/>
                    <a:pt x="447733" y="662405"/>
                  </a:cubicBezTo>
                  <a:cubicBezTo>
                    <a:pt x="452218" y="679827"/>
                    <a:pt x="457739" y="700872"/>
                    <a:pt x="455841" y="720883"/>
                  </a:cubicBezTo>
                  <a:lnTo>
                    <a:pt x="455323" y="726403"/>
                  </a:lnTo>
                  <a:cubicBezTo>
                    <a:pt x="454288" y="740893"/>
                    <a:pt x="453426" y="752796"/>
                    <a:pt x="443593" y="756935"/>
                  </a:cubicBezTo>
                  <a:lnTo>
                    <a:pt x="442558" y="757971"/>
                  </a:lnTo>
                  <a:lnTo>
                    <a:pt x="437383" y="758143"/>
                  </a:lnTo>
                  <a:close/>
                  <a:moveTo>
                    <a:pt x="16998" y="13110"/>
                  </a:moveTo>
                  <a:cubicBezTo>
                    <a:pt x="16998" y="13110"/>
                    <a:pt x="17170" y="13110"/>
                    <a:pt x="16998" y="13110"/>
                  </a:cubicBezTo>
                  <a:cubicBezTo>
                    <a:pt x="17170" y="13110"/>
                    <a:pt x="16998" y="13110"/>
                    <a:pt x="16998" y="13110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587" name="Gráfico 1344">
            <a:extLst>
              <a:ext uri="{FF2B5EF4-FFF2-40B4-BE49-F238E27FC236}">
                <a16:creationId xmlns:a16="http://schemas.microsoft.com/office/drawing/2014/main" id="{B4271054-6A0A-44D6-9183-32E3D49C45F1}"/>
              </a:ext>
            </a:extLst>
          </p:cNvPr>
          <p:cNvGrpSpPr/>
          <p:nvPr/>
        </p:nvGrpSpPr>
        <p:grpSpPr>
          <a:xfrm>
            <a:off x="10223325" y="2833188"/>
            <a:ext cx="363053" cy="404130"/>
            <a:chOff x="10343071" y="2941674"/>
            <a:chExt cx="363053" cy="404130"/>
          </a:xfrm>
          <a:solidFill>
            <a:srgbClr val="F59D24"/>
          </a:solidFill>
        </p:grpSpPr>
        <p:sp>
          <p:nvSpPr>
            <p:cNvPr id="588" name="Gráfico 1344">
              <a:extLst>
                <a:ext uri="{FF2B5EF4-FFF2-40B4-BE49-F238E27FC236}">
                  <a16:creationId xmlns:a16="http://schemas.microsoft.com/office/drawing/2014/main" id="{67168E08-6F89-4DCD-9B27-25E8C9738A95}"/>
                </a:ext>
              </a:extLst>
            </p:cNvPr>
            <p:cNvSpPr/>
            <p:nvPr/>
          </p:nvSpPr>
          <p:spPr>
            <a:xfrm>
              <a:off x="10351736" y="2949575"/>
              <a:ext cx="345814" cy="387604"/>
            </a:xfrm>
            <a:custGeom>
              <a:avLst/>
              <a:gdLst>
                <a:gd name="connsiteX0" fmla="*/ 5993 w 345814"/>
                <a:gd name="connsiteY0" fmla="*/ 387605 h 387604"/>
                <a:gd name="connsiteX1" fmla="*/ 3405 w 345814"/>
                <a:gd name="connsiteY1" fmla="*/ 386915 h 387604"/>
                <a:gd name="connsiteX2" fmla="*/ 645 w 345814"/>
                <a:gd name="connsiteY2" fmla="*/ 378980 h 387604"/>
                <a:gd name="connsiteX3" fmla="*/ 49808 w 345814"/>
                <a:gd name="connsiteY3" fmla="*/ 346550 h 387604"/>
                <a:gd name="connsiteX4" fmla="*/ 55155 w 345814"/>
                <a:gd name="connsiteY4" fmla="*/ 344825 h 387604"/>
                <a:gd name="connsiteX5" fmla="*/ 63435 w 345814"/>
                <a:gd name="connsiteY5" fmla="*/ 342237 h 387604"/>
                <a:gd name="connsiteX6" fmla="*/ 81720 w 345814"/>
                <a:gd name="connsiteY6" fmla="*/ 326712 h 387604"/>
                <a:gd name="connsiteX7" fmla="*/ 85343 w 345814"/>
                <a:gd name="connsiteY7" fmla="*/ 319640 h 387604"/>
                <a:gd name="connsiteX8" fmla="*/ 101731 w 345814"/>
                <a:gd name="connsiteY8" fmla="*/ 275134 h 387604"/>
                <a:gd name="connsiteX9" fmla="*/ 115876 w 345814"/>
                <a:gd name="connsiteY9" fmla="*/ 235631 h 387604"/>
                <a:gd name="connsiteX10" fmla="*/ 117773 w 345814"/>
                <a:gd name="connsiteY10" fmla="*/ 230284 h 387604"/>
                <a:gd name="connsiteX11" fmla="*/ 125708 w 345814"/>
                <a:gd name="connsiteY11" fmla="*/ 214241 h 387604"/>
                <a:gd name="connsiteX12" fmla="*/ 139163 w 345814"/>
                <a:gd name="connsiteY12" fmla="*/ 203029 h 387604"/>
                <a:gd name="connsiteX13" fmla="*/ 149169 w 345814"/>
                <a:gd name="connsiteY13" fmla="*/ 194921 h 387604"/>
                <a:gd name="connsiteX14" fmla="*/ 159173 w 345814"/>
                <a:gd name="connsiteY14" fmla="*/ 180431 h 387604"/>
                <a:gd name="connsiteX15" fmla="*/ 187809 w 345814"/>
                <a:gd name="connsiteY15" fmla="*/ 153176 h 387604"/>
                <a:gd name="connsiteX16" fmla="*/ 234729 w 345814"/>
                <a:gd name="connsiteY16" fmla="*/ 144378 h 387604"/>
                <a:gd name="connsiteX17" fmla="*/ 257327 w 345814"/>
                <a:gd name="connsiteY17" fmla="*/ 149036 h 387604"/>
                <a:gd name="connsiteX18" fmla="*/ 276992 w 345814"/>
                <a:gd name="connsiteY18" fmla="*/ 153003 h 387604"/>
                <a:gd name="connsiteX19" fmla="*/ 266987 w 345814"/>
                <a:gd name="connsiteY19" fmla="*/ 137478 h 387604"/>
                <a:gd name="connsiteX20" fmla="*/ 254394 w 345814"/>
                <a:gd name="connsiteY20" fmla="*/ 109533 h 387604"/>
                <a:gd name="connsiteX21" fmla="*/ 281305 w 345814"/>
                <a:gd name="connsiteY21" fmla="*/ 91420 h 387604"/>
                <a:gd name="connsiteX22" fmla="*/ 298209 w 345814"/>
                <a:gd name="connsiteY22" fmla="*/ 88660 h 387604"/>
                <a:gd name="connsiteX23" fmla="*/ 298900 w 345814"/>
                <a:gd name="connsiteY23" fmla="*/ 67960 h 387604"/>
                <a:gd name="connsiteX24" fmla="*/ 295104 w 345814"/>
                <a:gd name="connsiteY24" fmla="*/ 41050 h 387604"/>
                <a:gd name="connsiteX25" fmla="*/ 337022 w 345814"/>
                <a:gd name="connsiteY25" fmla="*/ 685 h 387604"/>
                <a:gd name="connsiteX26" fmla="*/ 345130 w 345814"/>
                <a:gd name="connsiteY26" fmla="*/ 3100 h 387604"/>
                <a:gd name="connsiteX27" fmla="*/ 342715 w 345814"/>
                <a:gd name="connsiteY27" fmla="*/ 11207 h 387604"/>
                <a:gd name="connsiteX28" fmla="*/ 306662 w 345814"/>
                <a:gd name="connsiteY28" fmla="*/ 44327 h 387604"/>
                <a:gd name="connsiteX29" fmla="*/ 310112 w 345814"/>
                <a:gd name="connsiteY29" fmla="*/ 63475 h 387604"/>
                <a:gd name="connsiteX30" fmla="*/ 306490 w 345814"/>
                <a:gd name="connsiteY30" fmla="*/ 97285 h 387604"/>
                <a:gd name="connsiteX31" fmla="*/ 280442 w 345814"/>
                <a:gd name="connsiteY31" fmla="*/ 102978 h 387604"/>
                <a:gd name="connsiteX32" fmla="*/ 266642 w 345814"/>
                <a:gd name="connsiteY32" fmla="*/ 111258 h 387604"/>
                <a:gd name="connsiteX33" fmla="*/ 275957 w 345814"/>
                <a:gd name="connsiteY33" fmla="*/ 128508 h 387604"/>
                <a:gd name="connsiteX34" fmla="*/ 288722 w 345814"/>
                <a:gd name="connsiteY34" fmla="*/ 159041 h 387604"/>
                <a:gd name="connsiteX35" fmla="*/ 287860 w 345814"/>
                <a:gd name="connsiteY35" fmla="*/ 162836 h 387604"/>
                <a:gd name="connsiteX36" fmla="*/ 284065 w 345814"/>
                <a:gd name="connsiteY36" fmla="*/ 163526 h 387604"/>
                <a:gd name="connsiteX37" fmla="*/ 253877 w 345814"/>
                <a:gd name="connsiteY37" fmla="*/ 159558 h 387604"/>
                <a:gd name="connsiteX38" fmla="*/ 235592 w 345814"/>
                <a:gd name="connsiteY38" fmla="*/ 155591 h 387604"/>
                <a:gd name="connsiteX39" fmla="*/ 192121 w 345814"/>
                <a:gd name="connsiteY39" fmla="*/ 163871 h 387604"/>
                <a:gd name="connsiteX40" fmla="*/ 170214 w 345814"/>
                <a:gd name="connsiteY40" fmla="*/ 186124 h 387604"/>
                <a:gd name="connsiteX41" fmla="*/ 158829 w 345814"/>
                <a:gd name="connsiteY41" fmla="*/ 202339 h 387604"/>
                <a:gd name="connsiteX42" fmla="*/ 146408 w 345814"/>
                <a:gd name="connsiteY42" fmla="*/ 212344 h 387604"/>
                <a:gd name="connsiteX43" fmla="*/ 135713 w 345814"/>
                <a:gd name="connsiteY43" fmla="*/ 220796 h 387604"/>
                <a:gd name="connsiteX44" fmla="*/ 129676 w 345814"/>
                <a:gd name="connsiteY44" fmla="*/ 233216 h 387604"/>
                <a:gd name="connsiteX45" fmla="*/ 126916 w 345814"/>
                <a:gd name="connsiteY45" fmla="*/ 240461 h 387604"/>
                <a:gd name="connsiteX46" fmla="*/ 113633 w 345814"/>
                <a:gd name="connsiteY46" fmla="*/ 277722 h 387604"/>
                <a:gd name="connsiteX47" fmla="*/ 96383 w 345814"/>
                <a:gd name="connsiteY47" fmla="*/ 324642 h 387604"/>
                <a:gd name="connsiteX48" fmla="*/ 92761 w 345814"/>
                <a:gd name="connsiteY48" fmla="*/ 331715 h 387604"/>
                <a:gd name="connsiteX49" fmla="*/ 67058 w 345814"/>
                <a:gd name="connsiteY49" fmla="*/ 353277 h 387604"/>
                <a:gd name="connsiteX50" fmla="*/ 58950 w 345814"/>
                <a:gd name="connsiteY50" fmla="*/ 355865 h 387604"/>
                <a:gd name="connsiteX51" fmla="*/ 53431 w 345814"/>
                <a:gd name="connsiteY51" fmla="*/ 357590 h 387604"/>
                <a:gd name="connsiteX52" fmla="*/ 11340 w 345814"/>
                <a:gd name="connsiteY52" fmla="*/ 383982 h 387604"/>
                <a:gd name="connsiteX53" fmla="*/ 5993 w 345814"/>
                <a:gd name="connsiteY53" fmla="*/ 387605 h 38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45814" h="387604">
                  <a:moveTo>
                    <a:pt x="5993" y="387605"/>
                  </a:moveTo>
                  <a:cubicBezTo>
                    <a:pt x="5130" y="387605"/>
                    <a:pt x="4268" y="387432"/>
                    <a:pt x="3405" y="386915"/>
                  </a:cubicBezTo>
                  <a:cubicBezTo>
                    <a:pt x="473" y="385363"/>
                    <a:pt x="-908" y="382085"/>
                    <a:pt x="645" y="378980"/>
                  </a:cubicBezTo>
                  <a:cubicBezTo>
                    <a:pt x="10650" y="358970"/>
                    <a:pt x="30488" y="352587"/>
                    <a:pt x="49808" y="346550"/>
                  </a:cubicBezTo>
                  <a:cubicBezTo>
                    <a:pt x="51533" y="345860"/>
                    <a:pt x="53431" y="345515"/>
                    <a:pt x="55155" y="344825"/>
                  </a:cubicBezTo>
                  <a:cubicBezTo>
                    <a:pt x="58433" y="343790"/>
                    <a:pt x="61193" y="342927"/>
                    <a:pt x="63435" y="342237"/>
                  </a:cubicBezTo>
                  <a:cubicBezTo>
                    <a:pt x="76028" y="338442"/>
                    <a:pt x="76028" y="338442"/>
                    <a:pt x="81720" y="326712"/>
                  </a:cubicBezTo>
                  <a:cubicBezTo>
                    <a:pt x="82755" y="324642"/>
                    <a:pt x="83790" y="322227"/>
                    <a:pt x="85343" y="319640"/>
                  </a:cubicBezTo>
                  <a:cubicBezTo>
                    <a:pt x="94141" y="303079"/>
                    <a:pt x="97936" y="288762"/>
                    <a:pt x="101731" y="275134"/>
                  </a:cubicBezTo>
                  <a:cubicBezTo>
                    <a:pt x="105181" y="262714"/>
                    <a:pt x="108803" y="249777"/>
                    <a:pt x="115876" y="235631"/>
                  </a:cubicBezTo>
                  <a:cubicBezTo>
                    <a:pt x="116738" y="233906"/>
                    <a:pt x="117428" y="232181"/>
                    <a:pt x="117773" y="230284"/>
                  </a:cubicBezTo>
                  <a:cubicBezTo>
                    <a:pt x="118981" y="226316"/>
                    <a:pt x="120533" y="221314"/>
                    <a:pt x="125708" y="214241"/>
                  </a:cubicBezTo>
                  <a:cubicBezTo>
                    <a:pt x="129331" y="209584"/>
                    <a:pt x="134333" y="206134"/>
                    <a:pt x="139163" y="203029"/>
                  </a:cubicBezTo>
                  <a:cubicBezTo>
                    <a:pt x="142958" y="200268"/>
                    <a:pt x="146926" y="197853"/>
                    <a:pt x="149169" y="194921"/>
                  </a:cubicBezTo>
                  <a:cubicBezTo>
                    <a:pt x="152964" y="190608"/>
                    <a:pt x="156241" y="185261"/>
                    <a:pt x="159173" y="180431"/>
                  </a:cubicBezTo>
                  <a:cubicBezTo>
                    <a:pt x="166074" y="169391"/>
                    <a:pt x="172801" y="158006"/>
                    <a:pt x="187809" y="153176"/>
                  </a:cubicBezTo>
                  <a:cubicBezTo>
                    <a:pt x="197641" y="149898"/>
                    <a:pt x="225586" y="144723"/>
                    <a:pt x="234729" y="144378"/>
                  </a:cubicBezTo>
                  <a:cubicBezTo>
                    <a:pt x="243527" y="144206"/>
                    <a:pt x="250599" y="146793"/>
                    <a:pt x="257327" y="149036"/>
                  </a:cubicBezTo>
                  <a:cubicBezTo>
                    <a:pt x="263882" y="151451"/>
                    <a:pt x="269919" y="153521"/>
                    <a:pt x="276992" y="153003"/>
                  </a:cubicBezTo>
                  <a:cubicBezTo>
                    <a:pt x="276647" y="147483"/>
                    <a:pt x="272680" y="143171"/>
                    <a:pt x="266987" y="137478"/>
                  </a:cubicBezTo>
                  <a:cubicBezTo>
                    <a:pt x="260432" y="130923"/>
                    <a:pt x="251979" y="122643"/>
                    <a:pt x="254394" y="109533"/>
                  </a:cubicBezTo>
                  <a:cubicBezTo>
                    <a:pt x="258017" y="89005"/>
                    <a:pt x="272162" y="90558"/>
                    <a:pt x="281305" y="91420"/>
                  </a:cubicBezTo>
                  <a:cubicBezTo>
                    <a:pt x="288722" y="92283"/>
                    <a:pt x="293897" y="92455"/>
                    <a:pt x="298209" y="88660"/>
                  </a:cubicBezTo>
                  <a:cubicBezTo>
                    <a:pt x="304420" y="82968"/>
                    <a:pt x="302695" y="77965"/>
                    <a:pt x="298900" y="67960"/>
                  </a:cubicBezTo>
                  <a:cubicBezTo>
                    <a:pt x="295622" y="60025"/>
                    <a:pt x="292000" y="51400"/>
                    <a:pt x="295104" y="41050"/>
                  </a:cubicBezTo>
                  <a:cubicBezTo>
                    <a:pt x="300280" y="22765"/>
                    <a:pt x="323740" y="7930"/>
                    <a:pt x="337022" y="685"/>
                  </a:cubicBezTo>
                  <a:cubicBezTo>
                    <a:pt x="339955" y="-868"/>
                    <a:pt x="343405" y="340"/>
                    <a:pt x="345130" y="3100"/>
                  </a:cubicBezTo>
                  <a:cubicBezTo>
                    <a:pt x="346683" y="6032"/>
                    <a:pt x="345475" y="9482"/>
                    <a:pt x="342715" y="11207"/>
                  </a:cubicBezTo>
                  <a:cubicBezTo>
                    <a:pt x="335298" y="15002"/>
                    <a:pt x="310975" y="29320"/>
                    <a:pt x="306662" y="44327"/>
                  </a:cubicBezTo>
                  <a:cubicBezTo>
                    <a:pt x="304937" y="50538"/>
                    <a:pt x="307525" y="56920"/>
                    <a:pt x="310112" y="63475"/>
                  </a:cubicBezTo>
                  <a:cubicBezTo>
                    <a:pt x="314252" y="73480"/>
                    <a:pt x="319255" y="85900"/>
                    <a:pt x="306490" y="97285"/>
                  </a:cubicBezTo>
                  <a:cubicBezTo>
                    <a:pt x="297865" y="104875"/>
                    <a:pt x="287860" y="103840"/>
                    <a:pt x="280442" y="102978"/>
                  </a:cubicBezTo>
                  <a:cubicBezTo>
                    <a:pt x="270782" y="101943"/>
                    <a:pt x="268194" y="101770"/>
                    <a:pt x="266642" y="111258"/>
                  </a:cubicBezTo>
                  <a:cubicBezTo>
                    <a:pt x="265607" y="117813"/>
                    <a:pt x="269402" y="122125"/>
                    <a:pt x="275957" y="128508"/>
                  </a:cubicBezTo>
                  <a:cubicBezTo>
                    <a:pt x="283030" y="135753"/>
                    <a:pt x="292000" y="144551"/>
                    <a:pt x="288722" y="159041"/>
                  </a:cubicBezTo>
                  <a:lnTo>
                    <a:pt x="287860" y="162836"/>
                  </a:lnTo>
                  <a:lnTo>
                    <a:pt x="284065" y="163526"/>
                  </a:lnTo>
                  <a:cubicBezTo>
                    <a:pt x="271817" y="165941"/>
                    <a:pt x="262329" y="162491"/>
                    <a:pt x="253877" y="159558"/>
                  </a:cubicBezTo>
                  <a:cubicBezTo>
                    <a:pt x="247667" y="157488"/>
                    <a:pt x="241974" y="155591"/>
                    <a:pt x="235592" y="155591"/>
                  </a:cubicBezTo>
                  <a:cubicBezTo>
                    <a:pt x="227484" y="155763"/>
                    <a:pt x="200746" y="161111"/>
                    <a:pt x="192121" y="163871"/>
                  </a:cubicBezTo>
                  <a:cubicBezTo>
                    <a:pt x="181426" y="167321"/>
                    <a:pt x="176251" y="175946"/>
                    <a:pt x="170214" y="186124"/>
                  </a:cubicBezTo>
                  <a:cubicBezTo>
                    <a:pt x="166763" y="191643"/>
                    <a:pt x="163314" y="197164"/>
                    <a:pt x="158829" y="202339"/>
                  </a:cubicBezTo>
                  <a:cubicBezTo>
                    <a:pt x="155378" y="206306"/>
                    <a:pt x="150721" y="209411"/>
                    <a:pt x="146408" y="212344"/>
                  </a:cubicBezTo>
                  <a:cubicBezTo>
                    <a:pt x="142096" y="215104"/>
                    <a:pt x="138128" y="217864"/>
                    <a:pt x="135713" y="220796"/>
                  </a:cubicBezTo>
                  <a:cubicBezTo>
                    <a:pt x="131574" y="226144"/>
                    <a:pt x="130883" y="229594"/>
                    <a:pt x="129676" y="233216"/>
                  </a:cubicBezTo>
                  <a:cubicBezTo>
                    <a:pt x="128986" y="235286"/>
                    <a:pt x="128468" y="237701"/>
                    <a:pt x="126916" y="240461"/>
                  </a:cubicBezTo>
                  <a:cubicBezTo>
                    <a:pt x="120361" y="253744"/>
                    <a:pt x="117083" y="265474"/>
                    <a:pt x="113633" y="277722"/>
                  </a:cubicBezTo>
                  <a:cubicBezTo>
                    <a:pt x="109493" y="292039"/>
                    <a:pt x="105526" y="306874"/>
                    <a:pt x="96383" y="324642"/>
                  </a:cubicBezTo>
                  <a:cubicBezTo>
                    <a:pt x="95176" y="327229"/>
                    <a:pt x="93796" y="329472"/>
                    <a:pt x="92761" y="331715"/>
                  </a:cubicBezTo>
                  <a:cubicBezTo>
                    <a:pt x="84825" y="347067"/>
                    <a:pt x="83790" y="348102"/>
                    <a:pt x="67058" y="353277"/>
                  </a:cubicBezTo>
                  <a:cubicBezTo>
                    <a:pt x="64643" y="354140"/>
                    <a:pt x="62228" y="354830"/>
                    <a:pt x="58950" y="355865"/>
                  </a:cubicBezTo>
                  <a:cubicBezTo>
                    <a:pt x="57053" y="356555"/>
                    <a:pt x="55328" y="357072"/>
                    <a:pt x="53431" y="357590"/>
                  </a:cubicBezTo>
                  <a:cubicBezTo>
                    <a:pt x="35662" y="363110"/>
                    <a:pt x="19102" y="368457"/>
                    <a:pt x="11340" y="383982"/>
                  </a:cubicBezTo>
                  <a:cubicBezTo>
                    <a:pt x="10133" y="386570"/>
                    <a:pt x="8063" y="387605"/>
                    <a:pt x="5993" y="387605"/>
                  </a:cubicBezTo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589" name="Gráfico 1344">
              <a:extLst>
                <a:ext uri="{FF2B5EF4-FFF2-40B4-BE49-F238E27FC236}">
                  <a16:creationId xmlns:a16="http://schemas.microsoft.com/office/drawing/2014/main" id="{7505AA7D-C867-4936-9A41-5FC307B9F401}"/>
                </a:ext>
              </a:extLst>
            </p:cNvPr>
            <p:cNvSpPr/>
            <p:nvPr/>
          </p:nvSpPr>
          <p:spPr>
            <a:xfrm>
              <a:off x="10343071" y="2941674"/>
              <a:ext cx="363053" cy="404130"/>
            </a:xfrm>
            <a:custGeom>
              <a:avLst/>
              <a:gdLst>
                <a:gd name="connsiteX0" fmla="*/ 14658 w 363053"/>
                <a:gd name="connsiteY0" fmla="*/ 404131 h 404130"/>
                <a:gd name="connsiteX1" fmla="*/ 8275 w 363053"/>
                <a:gd name="connsiteY1" fmla="*/ 402578 h 404130"/>
                <a:gd name="connsiteX2" fmla="*/ 1548 w 363053"/>
                <a:gd name="connsiteY2" fmla="*/ 383086 h 404130"/>
                <a:gd name="connsiteX3" fmla="*/ 55886 w 363053"/>
                <a:gd name="connsiteY3" fmla="*/ 346343 h 404130"/>
                <a:gd name="connsiteX4" fmla="*/ 58646 w 363053"/>
                <a:gd name="connsiteY4" fmla="*/ 345480 h 404130"/>
                <a:gd name="connsiteX5" fmla="*/ 60716 w 363053"/>
                <a:gd name="connsiteY5" fmla="*/ 344790 h 404130"/>
                <a:gd name="connsiteX6" fmla="*/ 69859 w 363053"/>
                <a:gd name="connsiteY6" fmla="*/ 342030 h 404130"/>
                <a:gd name="connsiteX7" fmla="*/ 82796 w 363053"/>
                <a:gd name="connsiteY7" fmla="*/ 330990 h 404130"/>
                <a:gd name="connsiteX8" fmla="*/ 83659 w 363053"/>
                <a:gd name="connsiteY8" fmla="*/ 329438 h 404130"/>
                <a:gd name="connsiteX9" fmla="*/ 86764 w 363053"/>
                <a:gd name="connsiteY9" fmla="*/ 323400 h 404130"/>
                <a:gd name="connsiteX10" fmla="*/ 101944 w 363053"/>
                <a:gd name="connsiteY10" fmla="*/ 282517 h 404130"/>
                <a:gd name="connsiteX11" fmla="*/ 117124 w 363053"/>
                <a:gd name="connsiteY11" fmla="*/ 239910 h 404130"/>
                <a:gd name="connsiteX12" fmla="*/ 118331 w 363053"/>
                <a:gd name="connsiteY12" fmla="*/ 236632 h 404130"/>
                <a:gd name="connsiteX13" fmla="*/ 127647 w 363053"/>
                <a:gd name="connsiteY13" fmla="*/ 217484 h 404130"/>
                <a:gd name="connsiteX14" fmla="*/ 143344 w 363053"/>
                <a:gd name="connsiteY14" fmla="*/ 204029 h 404130"/>
                <a:gd name="connsiteX15" fmla="*/ 145414 w 363053"/>
                <a:gd name="connsiteY15" fmla="*/ 202477 h 404130"/>
                <a:gd name="connsiteX16" fmla="*/ 151279 w 363053"/>
                <a:gd name="connsiteY16" fmla="*/ 197819 h 404130"/>
                <a:gd name="connsiteX17" fmla="*/ 160422 w 363053"/>
                <a:gd name="connsiteY17" fmla="*/ 184709 h 404130"/>
                <a:gd name="connsiteX18" fmla="*/ 194060 w 363053"/>
                <a:gd name="connsiteY18" fmla="*/ 153142 h 404130"/>
                <a:gd name="connsiteX19" fmla="*/ 243567 w 363053"/>
                <a:gd name="connsiteY19" fmla="*/ 143999 h 404130"/>
                <a:gd name="connsiteX20" fmla="*/ 266165 w 363053"/>
                <a:gd name="connsiteY20" fmla="*/ 148139 h 404130"/>
                <a:gd name="connsiteX21" fmla="*/ 254953 w 363053"/>
                <a:gd name="connsiteY21" fmla="*/ 116399 h 404130"/>
                <a:gd name="connsiteX22" fmla="*/ 290833 w 363053"/>
                <a:gd name="connsiteY22" fmla="*/ 91213 h 404130"/>
                <a:gd name="connsiteX23" fmla="*/ 301355 w 363053"/>
                <a:gd name="connsiteY23" fmla="*/ 90696 h 404130"/>
                <a:gd name="connsiteX24" fmla="*/ 299630 w 363053"/>
                <a:gd name="connsiteY24" fmla="*/ 79483 h 404130"/>
                <a:gd name="connsiteX25" fmla="*/ 295491 w 363053"/>
                <a:gd name="connsiteY25" fmla="*/ 47053 h 404130"/>
                <a:gd name="connsiteX26" fmla="*/ 341548 w 363053"/>
                <a:gd name="connsiteY26" fmla="*/ 1685 h 404130"/>
                <a:gd name="connsiteX27" fmla="*/ 361213 w 363053"/>
                <a:gd name="connsiteY27" fmla="*/ 7033 h 404130"/>
                <a:gd name="connsiteX28" fmla="*/ 356038 w 363053"/>
                <a:gd name="connsiteY28" fmla="*/ 27043 h 404130"/>
                <a:gd name="connsiteX29" fmla="*/ 323780 w 363053"/>
                <a:gd name="connsiteY29" fmla="*/ 55161 h 404130"/>
                <a:gd name="connsiteX30" fmla="*/ 326713 w 363053"/>
                <a:gd name="connsiteY30" fmla="*/ 68443 h 404130"/>
                <a:gd name="connsiteX31" fmla="*/ 321020 w 363053"/>
                <a:gd name="connsiteY31" fmla="*/ 112259 h 404130"/>
                <a:gd name="connsiteX32" fmla="*/ 288245 w 363053"/>
                <a:gd name="connsiteY32" fmla="*/ 120194 h 404130"/>
                <a:gd name="connsiteX33" fmla="*/ 284105 w 363053"/>
                <a:gd name="connsiteY33" fmla="*/ 119849 h 404130"/>
                <a:gd name="connsiteX34" fmla="*/ 283760 w 363053"/>
                <a:gd name="connsiteY34" fmla="*/ 121574 h 404130"/>
                <a:gd name="connsiteX35" fmla="*/ 290660 w 363053"/>
                <a:gd name="connsiteY35" fmla="*/ 131061 h 404130"/>
                <a:gd name="connsiteX36" fmla="*/ 305840 w 363053"/>
                <a:gd name="connsiteY36" fmla="*/ 169529 h 404130"/>
                <a:gd name="connsiteX37" fmla="*/ 303770 w 363053"/>
                <a:gd name="connsiteY37" fmla="*/ 179017 h 404130"/>
                <a:gd name="connsiteX38" fmla="*/ 294110 w 363053"/>
                <a:gd name="connsiteY38" fmla="*/ 180569 h 404130"/>
                <a:gd name="connsiteX39" fmla="*/ 259610 w 363053"/>
                <a:gd name="connsiteY39" fmla="*/ 176084 h 404130"/>
                <a:gd name="connsiteX40" fmla="*/ 244085 w 363053"/>
                <a:gd name="connsiteY40" fmla="*/ 172462 h 404130"/>
                <a:gd name="connsiteX41" fmla="*/ 203202 w 363053"/>
                <a:gd name="connsiteY41" fmla="*/ 180397 h 404130"/>
                <a:gd name="connsiteX42" fmla="*/ 186470 w 363053"/>
                <a:gd name="connsiteY42" fmla="*/ 197992 h 404130"/>
                <a:gd name="connsiteX43" fmla="*/ 173704 w 363053"/>
                <a:gd name="connsiteY43" fmla="*/ 216277 h 404130"/>
                <a:gd name="connsiteX44" fmla="*/ 161457 w 363053"/>
                <a:gd name="connsiteY44" fmla="*/ 226455 h 404130"/>
                <a:gd name="connsiteX45" fmla="*/ 159732 w 363053"/>
                <a:gd name="connsiteY45" fmla="*/ 227662 h 404130"/>
                <a:gd name="connsiteX46" fmla="*/ 150934 w 363053"/>
                <a:gd name="connsiteY46" fmla="*/ 234389 h 404130"/>
                <a:gd name="connsiteX47" fmla="*/ 146622 w 363053"/>
                <a:gd name="connsiteY47" fmla="*/ 243187 h 404130"/>
                <a:gd name="connsiteX48" fmla="*/ 142999 w 363053"/>
                <a:gd name="connsiteY48" fmla="*/ 252675 h 404130"/>
                <a:gd name="connsiteX49" fmla="*/ 130579 w 363053"/>
                <a:gd name="connsiteY49" fmla="*/ 287692 h 404130"/>
                <a:gd name="connsiteX50" fmla="*/ 129889 w 363053"/>
                <a:gd name="connsiteY50" fmla="*/ 289935 h 404130"/>
                <a:gd name="connsiteX51" fmla="*/ 112466 w 363053"/>
                <a:gd name="connsiteY51" fmla="*/ 336855 h 404130"/>
                <a:gd name="connsiteX52" fmla="*/ 108844 w 363053"/>
                <a:gd name="connsiteY52" fmla="*/ 343755 h 404130"/>
                <a:gd name="connsiteX53" fmla="*/ 77966 w 363053"/>
                <a:gd name="connsiteY53" fmla="*/ 369630 h 404130"/>
                <a:gd name="connsiteX54" fmla="*/ 73826 w 363053"/>
                <a:gd name="connsiteY54" fmla="*/ 371010 h 404130"/>
                <a:gd name="connsiteX55" fmla="*/ 70031 w 363053"/>
                <a:gd name="connsiteY55" fmla="*/ 372218 h 404130"/>
                <a:gd name="connsiteX56" fmla="*/ 63649 w 363053"/>
                <a:gd name="connsiteY56" fmla="*/ 374116 h 404130"/>
                <a:gd name="connsiteX57" fmla="*/ 27423 w 363053"/>
                <a:gd name="connsiteY57" fmla="*/ 396023 h 404130"/>
                <a:gd name="connsiteX58" fmla="*/ 14658 w 363053"/>
                <a:gd name="connsiteY58" fmla="*/ 404131 h 404130"/>
                <a:gd name="connsiteX59" fmla="*/ 12071 w 363053"/>
                <a:gd name="connsiteY59" fmla="*/ 388433 h 404130"/>
                <a:gd name="connsiteX60" fmla="*/ 12071 w 363053"/>
                <a:gd name="connsiteY60" fmla="*/ 388433 h 404130"/>
                <a:gd name="connsiteX61" fmla="*/ 12071 w 363053"/>
                <a:gd name="connsiteY61" fmla="*/ 388433 h 40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3053" h="404130">
                  <a:moveTo>
                    <a:pt x="14658" y="404131"/>
                  </a:moveTo>
                  <a:cubicBezTo>
                    <a:pt x="12416" y="404131"/>
                    <a:pt x="10346" y="403613"/>
                    <a:pt x="8275" y="402578"/>
                  </a:cubicBezTo>
                  <a:cubicBezTo>
                    <a:pt x="858" y="398956"/>
                    <a:pt x="-2074" y="390331"/>
                    <a:pt x="1548" y="383086"/>
                  </a:cubicBezTo>
                  <a:cubicBezTo>
                    <a:pt x="13278" y="359453"/>
                    <a:pt x="36911" y="352208"/>
                    <a:pt x="55886" y="346343"/>
                  </a:cubicBezTo>
                  <a:cubicBezTo>
                    <a:pt x="56403" y="346170"/>
                    <a:pt x="57611" y="345825"/>
                    <a:pt x="58646" y="345480"/>
                  </a:cubicBezTo>
                  <a:lnTo>
                    <a:pt x="60716" y="344790"/>
                  </a:lnTo>
                  <a:cubicBezTo>
                    <a:pt x="64338" y="343583"/>
                    <a:pt x="67271" y="342720"/>
                    <a:pt x="69859" y="342030"/>
                  </a:cubicBezTo>
                  <a:cubicBezTo>
                    <a:pt x="78656" y="339270"/>
                    <a:pt x="78656" y="339270"/>
                    <a:pt x="82796" y="330990"/>
                  </a:cubicBezTo>
                  <a:lnTo>
                    <a:pt x="83659" y="329438"/>
                  </a:lnTo>
                  <a:cubicBezTo>
                    <a:pt x="84521" y="327540"/>
                    <a:pt x="85556" y="325643"/>
                    <a:pt x="86764" y="323400"/>
                  </a:cubicBezTo>
                  <a:cubicBezTo>
                    <a:pt x="94526" y="308565"/>
                    <a:pt x="98321" y="295282"/>
                    <a:pt x="101944" y="282517"/>
                  </a:cubicBezTo>
                  <a:cubicBezTo>
                    <a:pt x="105739" y="268717"/>
                    <a:pt x="109534" y="254917"/>
                    <a:pt x="117124" y="239910"/>
                  </a:cubicBezTo>
                  <a:cubicBezTo>
                    <a:pt x="117641" y="238702"/>
                    <a:pt x="118159" y="237667"/>
                    <a:pt x="118331" y="236632"/>
                  </a:cubicBezTo>
                  <a:cubicBezTo>
                    <a:pt x="119884" y="231285"/>
                    <a:pt x="121782" y="225419"/>
                    <a:pt x="127647" y="217484"/>
                  </a:cubicBezTo>
                  <a:cubicBezTo>
                    <a:pt x="132304" y="211447"/>
                    <a:pt x="137997" y="207652"/>
                    <a:pt x="143344" y="204029"/>
                  </a:cubicBezTo>
                  <a:lnTo>
                    <a:pt x="145414" y="202477"/>
                  </a:lnTo>
                  <a:cubicBezTo>
                    <a:pt x="147829" y="200752"/>
                    <a:pt x="150244" y="199199"/>
                    <a:pt x="151279" y="197819"/>
                  </a:cubicBezTo>
                  <a:cubicBezTo>
                    <a:pt x="154729" y="193852"/>
                    <a:pt x="157662" y="189194"/>
                    <a:pt x="160422" y="184709"/>
                  </a:cubicBezTo>
                  <a:cubicBezTo>
                    <a:pt x="168184" y="172117"/>
                    <a:pt x="176292" y="159007"/>
                    <a:pt x="194060" y="153142"/>
                  </a:cubicBezTo>
                  <a:cubicBezTo>
                    <a:pt x="204237" y="149864"/>
                    <a:pt x="233045" y="144171"/>
                    <a:pt x="243567" y="143999"/>
                  </a:cubicBezTo>
                  <a:cubicBezTo>
                    <a:pt x="252193" y="143654"/>
                    <a:pt x="259783" y="145897"/>
                    <a:pt x="266165" y="148139"/>
                  </a:cubicBezTo>
                  <a:cubicBezTo>
                    <a:pt x="259437" y="141066"/>
                    <a:pt x="252193" y="131061"/>
                    <a:pt x="254953" y="116399"/>
                  </a:cubicBezTo>
                  <a:cubicBezTo>
                    <a:pt x="259955" y="88281"/>
                    <a:pt x="282380" y="90351"/>
                    <a:pt x="290833" y="91213"/>
                  </a:cubicBezTo>
                  <a:cubicBezTo>
                    <a:pt x="298423" y="92076"/>
                    <a:pt x="300148" y="91731"/>
                    <a:pt x="301355" y="90696"/>
                  </a:cubicBezTo>
                  <a:cubicBezTo>
                    <a:pt x="303080" y="89143"/>
                    <a:pt x="303253" y="88971"/>
                    <a:pt x="299630" y="79483"/>
                  </a:cubicBezTo>
                  <a:cubicBezTo>
                    <a:pt x="296180" y="70858"/>
                    <a:pt x="291695" y="60163"/>
                    <a:pt x="295491" y="47053"/>
                  </a:cubicBezTo>
                  <a:cubicBezTo>
                    <a:pt x="299975" y="31183"/>
                    <a:pt x="315328" y="15830"/>
                    <a:pt x="341548" y="1685"/>
                  </a:cubicBezTo>
                  <a:cubicBezTo>
                    <a:pt x="348793" y="-1937"/>
                    <a:pt x="357073" y="478"/>
                    <a:pt x="361213" y="7033"/>
                  </a:cubicBezTo>
                  <a:cubicBezTo>
                    <a:pt x="365008" y="14623"/>
                    <a:pt x="362766" y="22903"/>
                    <a:pt x="356038" y="27043"/>
                  </a:cubicBezTo>
                  <a:cubicBezTo>
                    <a:pt x="344653" y="32908"/>
                    <a:pt x="326541" y="45328"/>
                    <a:pt x="323780" y="55161"/>
                  </a:cubicBezTo>
                  <a:cubicBezTo>
                    <a:pt x="322918" y="58438"/>
                    <a:pt x="324815" y="63268"/>
                    <a:pt x="326713" y="68443"/>
                  </a:cubicBezTo>
                  <a:cubicBezTo>
                    <a:pt x="331026" y="79311"/>
                    <a:pt x="338270" y="96734"/>
                    <a:pt x="321020" y="112259"/>
                  </a:cubicBezTo>
                  <a:cubicBezTo>
                    <a:pt x="309463" y="122609"/>
                    <a:pt x="296180" y="121056"/>
                    <a:pt x="288245" y="120194"/>
                  </a:cubicBezTo>
                  <a:cubicBezTo>
                    <a:pt x="287038" y="120021"/>
                    <a:pt x="285312" y="119849"/>
                    <a:pt x="284105" y="119849"/>
                  </a:cubicBezTo>
                  <a:cubicBezTo>
                    <a:pt x="283933" y="120194"/>
                    <a:pt x="283933" y="120884"/>
                    <a:pt x="283760" y="121574"/>
                  </a:cubicBezTo>
                  <a:cubicBezTo>
                    <a:pt x="283415" y="123299"/>
                    <a:pt x="284105" y="124679"/>
                    <a:pt x="290660" y="131061"/>
                  </a:cubicBezTo>
                  <a:cubicBezTo>
                    <a:pt x="298768" y="139341"/>
                    <a:pt x="309981" y="150899"/>
                    <a:pt x="305840" y="169529"/>
                  </a:cubicBezTo>
                  <a:lnTo>
                    <a:pt x="303770" y="179017"/>
                  </a:lnTo>
                  <a:lnTo>
                    <a:pt x="294110" y="180569"/>
                  </a:lnTo>
                  <a:cubicBezTo>
                    <a:pt x="279793" y="183329"/>
                    <a:pt x="268235" y="179189"/>
                    <a:pt x="259610" y="176084"/>
                  </a:cubicBezTo>
                  <a:cubicBezTo>
                    <a:pt x="253400" y="174014"/>
                    <a:pt x="248915" y="172462"/>
                    <a:pt x="244085" y="172462"/>
                  </a:cubicBezTo>
                  <a:cubicBezTo>
                    <a:pt x="237185" y="172634"/>
                    <a:pt x="211310" y="177809"/>
                    <a:pt x="203202" y="180397"/>
                  </a:cubicBezTo>
                  <a:cubicBezTo>
                    <a:pt x="196302" y="182639"/>
                    <a:pt x="192507" y="188159"/>
                    <a:pt x="186470" y="197992"/>
                  </a:cubicBezTo>
                  <a:cubicBezTo>
                    <a:pt x="182329" y="204547"/>
                    <a:pt x="178707" y="210584"/>
                    <a:pt x="173704" y="216277"/>
                  </a:cubicBezTo>
                  <a:cubicBezTo>
                    <a:pt x="170082" y="220589"/>
                    <a:pt x="165597" y="223694"/>
                    <a:pt x="161457" y="226455"/>
                  </a:cubicBezTo>
                  <a:lnTo>
                    <a:pt x="159732" y="227662"/>
                  </a:lnTo>
                  <a:cubicBezTo>
                    <a:pt x="156972" y="229559"/>
                    <a:pt x="152487" y="232320"/>
                    <a:pt x="150934" y="234389"/>
                  </a:cubicBezTo>
                  <a:cubicBezTo>
                    <a:pt x="148174" y="238012"/>
                    <a:pt x="147484" y="240254"/>
                    <a:pt x="146622" y="243187"/>
                  </a:cubicBezTo>
                  <a:cubicBezTo>
                    <a:pt x="145587" y="246810"/>
                    <a:pt x="144724" y="249570"/>
                    <a:pt x="142999" y="252675"/>
                  </a:cubicBezTo>
                  <a:cubicBezTo>
                    <a:pt x="136962" y="264750"/>
                    <a:pt x="133856" y="275962"/>
                    <a:pt x="130579" y="287692"/>
                  </a:cubicBezTo>
                  <a:lnTo>
                    <a:pt x="129889" y="289935"/>
                  </a:lnTo>
                  <a:cubicBezTo>
                    <a:pt x="125921" y="304253"/>
                    <a:pt x="121609" y="319088"/>
                    <a:pt x="112466" y="336855"/>
                  </a:cubicBezTo>
                  <a:lnTo>
                    <a:pt x="108844" y="343755"/>
                  </a:lnTo>
                  <a:cubicBezTo>
                    <a:pt x="99701" y="361523"/>
                    <a:pt x="96769" y="363938"/>
                    <a:pt x="77966" y="369630"/>
                  </a:cubicBezTo>
                  <a:cubicBezTo>
                    <a:pt x="76931" y="369975"/>
                    <a:pt x="75379" y="370493"/>
                    <a:pt x="73826" y="371010"/>
                  </a:cubicBezTo>
                  <a:lnTo>
                    <a:pt x="70031" y="372218"/>
                  </a:lnTo>
                  <a:cubicBezTo>
                    <a:pt x="67098" y="373253"/>
                    <a:pt x="65546" y="373771"/>
                    <a:pt x="63649" y="374116"/>
                  </a:cubicBezTo>
                  <a:cubicBezTo>
                    <a:pt x="47778" y="379118"/>
                    <a:pt x="33633" y="383603"/>
                    <a:pt x="27423" y="396023"/>
                  </a:cubicBezTo>
                  <a:cubicBezTo>
                    <a:pt x="25353" y="400853"/>
                    <a:pt x="20351" y="404131"/>
                    <a:pt x="14658" y="404131"/>
                  </a:cubicBezTo>
                  <a:close/>
                  <a:moveTo>
                    <a:pt x="12071" y="388433"/>
                  </a:moveTo>
                  <a:cubicBezTo>
                    <a:pt x="12071" y="388433"/>
                    <a:pt x="12071" y="388433"/>
                    <a:pt x="12071" y="388433"/>
                  </a:cubicBezTo>
                  <a:cubicBezTo>
                    <a:pt x="12071" y="388433"/>
                    <a:pt x="12071" y="388433"/>
                    <a:pt x="12071" y="388433"/>
                  </a:cubicBezTo>
                  <a:close/>
                </a:path>
              </a:pathLst>
            </a:custGeom>
            <a:solidFill>
              <a:srgbClr val="F59D24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sp>
        <p:nvSpPr>
          <p:cNvPr id="604" name="Gráfico 1344">
            <a:extLst>
              <a:ext uri="{FF2B5EF4-FFF2-40B4-BE49-F238E27FC236}">
                <a16:creationId xmlns:a16="http://schemas.microsoft.com/office/drawing/2014/main" id="{6B525393-324D-4597-A2A3-6C0B7F0A33B7}"/>
              </a:ext>
            </a:extLst>
          </p:cNvPr>
          <p:cNvSpPr/>
          <p:nvPr/>
        </p:nvSpPr>
        <p:spPr>
          <a:xfrm>
            <a:off x="9060014" y="4830791"/>
            <a:ext cx="151066" cy="37525"/>
          </a:xfrm>
          <a:custGeom>
            <a:avLst/>
            <a:gdLst>
              <a:gd name="connsiteX0" fmla="*/ 128341 w 151066"/>
              <a:gd name="connsiteY0" fmla="*/ 37525 h 37525"/>
              <a:gd name="connsiteX1" fmla="*/ 86768 w 151066"/>
              <a:gd name="connsiteY1" fmla="*/ 28555 h 37525"/>
              <a:gd name="connsiteX2" fmla="*/ 77970 w 151066"/>
              <a:gd name="connsiteY2" fmla="*/ 22517 h 37525"/>
              <a:gd name="connsiteX3" fmla="*/ 68138 w 151066"/>
              <a:gd name="connsiteY3" fmla="*/ 16480 h 37525"/>
              <a:gd name="connsiteX4" fmla="*/ 16042 w 151066"/>
              <a:gd name="connsiteY4" fmla="*/ 12168 h 37525"/>
              <a:gd name="connsiteX5" fmla="*/ 6038 w 151066"/>
              <a:gd name="connsiteY5" fmla="*/ 12168 h 37525"/>
              <a:gd name="connsiteX6" fmla="*/ 0 w 151066"/>
              <a:gd name="connsiteY6" fmla="*/ 6130 h 37525"/>
              <a:gd name="connsiteX7" fmla="*/ 6038 w 151066"/>
              <a:gd name="connsiteY7" fmla="*/ 92 h 37525"/>
              <a:gd name="connsiteX8" fmla="*/ 6727 w 151066"/>
              <a:gd name="connsiteY8" fmla="*/ 92 h 37525"/>
              <a:gd name="connsiteX9" fmla="*/ 15870 w 151066"/>
              <a:gd name="connsiteY9" fmla="*/ 92 h 37525"/>
              <a:gd name="connsiteX10" fmla="*/ 72105 w 151066"/>
              <a:gd name="connsiteY10" fmla="*/ 5267 h 37525"/>
              <a:gd name="connsiteX11" fmla="*/ 84870 w 151066"/>
              <a:gd name="connsiteY11" fmla="*/ 13030 h 37525"/>
              <a:gd name="connsiteX12" fmla="*/ 91771 w 151066"/>
              <a:gd name="connsiteY12" fmla="*/ 17687 h 37525"/>
              <a:gd name="connsiteX13" fmla="*/ 143349 w 151066"/>
              <a:gd name="connsiteY13" fmla="*/ 23208 h 37525"/>
              <a:gd name="connsiteX14" fmla="*/ 150766 w 151066"/>
              <a:gd name="connsiteY14" fmla="*/ 27003 h 37525"/>
              <a:gd name="connsiteX15" fmla="*/ 146971 w 151066"/>
              <a:gd name="connsiteY15" fmla="*/ 34420 h 37525"/>
              <a:gd name="connsiteX16" fmla="*/ 128341 w 151066"/>
              <a:gd name="connsiteY16" fmla="*/ 37525 h 3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066" h="37525">
                <a:moveTo>
                  <a:pt x="128341" y="37525"/>
                </a:moveTo>
                <a:cubicBezTo>
                  <a:pt x="113333" y="37525"/>
                  <a:pt x="97118" y="33902"/>
                  <a:pt x="86768" y="28555"/>
                </a:cubicBezTo>
                <a:cubicBezTo>
                  <a:pt x="83318" y="26830"/>
                  <a:pt x="80558" y="24760"/>
                  <a:pt x="77970" y="22517"/>
                </a:cubicBezTo>
                <a:cubicBezTo>
                  <a:pt x="74693" y="20103"/>
                  <a:pt x="71933" y="17860"/>
                  <a:pt x="68138" y="16480"/>
                </a:cubicBezTo>
                <a:cubicBezTo>
                  <a:pt x="55373" y="11650"/>
                  <a:pt x="32775" y="11995"/>
                  <a:pt x="16042" y="12168"/>
                </a:cubicBezTo>
                <a:cubicBezTo>
                  <a:pt x="12420" y="12168"/>
                  <a:pt x="8970" y="12168"/>
                  <a:pt x="6038" y="12168"/>
                </a:cubicBezTo>
                <a:cubicBezTo>
                  <a:pt x="2760" y="12168"/>
                  <a:pt x="0" y="9580"/>
                  <a:pt x="0" y="6130"/>
                </a:cubicBezTo>
                <a:cubicBezTo>
                  <a:pt x="0" y="2852"/>
                  <a:pt x="2587" y="92"/>
                  <a:pt x="6038" y="92"/>
                </a:cubicBezTo>
                <a:lnTo>
                  <a:pt x="6727" y="92"/>
                </a:lnTo>
                <a:cubicBezTo>
                  <a:pt x="9487" y="92"/>
                  <a:pt x="12765" y="92"/>
                  <a:pt x="15870" y="92"/>
                </a:cubicBezTo>
                <a:cubicBezTo>
                  <a:pt x="34155" y="-80"/>
                  <a:pt x="57271" y="-598"/>
                  <a:pt x="72105" y="5267"/>
                </a:cubicBezTo>
                <a:cubicBezTo>
                  <a:pt x="77453" y="7165"/>
                  <a:pt x="81421" y="10097"/>
                  <a:pt x="84870" y="13030"/>
                </a:cubicBezTo>
                <a:cubicBezTo>
                  <a:pt x="87286" y="14755"/>
                  <a:pt x="89356" y="16652"/>
                  <a:pt x="91771" y="17687"/>
                </a:cubicBezTo>
                <a:cubicBezTo>
                  <a:pt x="104536" y="24242"/>
                  <a:pt x="129376" y="27865"/>
                  <a:pt x="143349" y="23208"/>
                </a:cubicBezTo>
                <a:cubicBezTo>
                  <a:pt x="146626" y="22173"/>
                  <a:pt x="149731" y="23898"/>
                  <a:pt x="150766" y="27003"/>
                </a:cubicBezTo>
                <a:cubicBezTo>
                  <a:pt x="151801" y="30280"/>
                  <a:pt x="150076" y="33385"/>
                  <a:pt x="146971" y="34420"/>
                </a:cubicBezTo>
                <a:cubicBezTo>
                  <a:pt x="141796" y="36663"/>
                  <a:pt x="135241" y="37525"/>
                  <a:pt x="128341" y="37525"/>
                </a:cubicBezTo>
              </a:path>
            </a:pathLst>
          </a:custGeom>
          <a:solidFill>
            <a:srgbClr val="9F6A89"/>
          </a:solidFill>
          <a:ln w="17238" cap="flat">
            <a:solidFill>
              <a:srgbClr val="9F6A89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n>
                <a:solidFill>
                  <a:srgbClr val="9F6A89"/>
                </a:solidFill>
              </a:ln>
              <a:latin typeface="Manrope" pitchFamily="2" charset="0"/>
            </a:endParaRPr>
          </a:p>
        </p:txBody>
      </p:sp>
      <p:sp>
        <p:nvSpPr>
          <p:cNvPr id="605" name="Gráfico 1344">
            <a:extLst>
              <a:ext uri="{FF2B5EF4-FFF2-40B4-BE49-F238E27FC236}">
                <a16:creationId xmlns:a16="http://schemas.microsoft.com/office/drawing/2014/main" id="{EBED77F2-D732-428A-A602-078826C8B3A8}"/>
              </a:ext>
            </a:extLst>
          </p:cNvPr>
          <p:cNvSpPr/>
          <p:nvPr/>
        </p:nvSpPr>
        <p:spPr>
          <a:xfrm>
            <a:off x="9221638" y="4756561"/>
            <a:ext cx="35277" cy="64144"/>
          </a:xfrm>
          <a:custGeom>
            <a:avLst/>
            <a:gdLst>
              <a:gd name="connsiteX0" fmla="*/ 29163 w 35277"/>
              <a:gd name="connsiteY0" fmla="*/ 64145 h 64144"/>
              <a:gd name="connsiteX1" fmla="*/ 28301 w 35277"/>
              <a:gd name="connsiteY1" fmla="*/ 64145 h 64144"/>
              <a:gd name="connsiteX2" fmla="*/ 23298 w 35277"/>
              <a:gd name="connsiteY2" fmla="*/ 57590 h 64144"/>
              <a:gd name="connsiteX3" fmla="*/ 13121 w 35277"/>
              <a:gd name="connsiteY3" fmla="*/ 39650 h 64144"/>
              <a:gd name="connsiteX4" fmla="*/ 4495 w 35277"/>
              <a:gd name="connsiteY4" fmla="*/ 3079 h 64144"/>
              <a:gd name="connsiteX5" fmla="*/ 12603 w 35277"/>
              <a:gd name="connsiteY5" fmla="*/ 837 h 64144"/>
              <a:gd name="connsiteX6" fmla="*/ 15018 w 35277"/>
              <a:gd name="connsiteY6" fmla="*/ 8944 h 64144"/>
              <a:gd name="connsiteX7" fmla="*/ 20883 w 35277"/>
              <a:gd name="connsiteY7" fmla="*/ 31197 h 64144"/>
              <a:gd name="connsiteX8" fmla="*/ 35028 w 35277"/>
              <a:gd name="connsiteY8" fmla="*/ 59660 h 64144"/>
              <a:gd name="connsiteX9" fmla="*/ 29163 w 35277"/>
              <a:gd name="connsiteY9" fmla="*/ 64145 h 64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77" h="64144">
                <a:moveTo>
                  <a:pt x="29163" y="64145"/>
                </a:moveTo>
                <a:cubicBezTo>
                  <a:pt x="28990" y="64145"/>
                  <a:pt x="28818" y="64145"/>
                  <a:pt x="28301" y="64145"/>
                </a:cubicBezTo>
                <a:cubicBezTo>
                  <a:pt x="25195" y="63800"/>
                  <a:pt x="22781" y="60695"/>
                  <a:pt x="23298" y="57590"/>
                </a:cubicBezTo>
                <a:cubicBezTo>
                  <a:pt x="24333" y="49827"/>
                  <a:pt x="20193" y="45687"/>
                  <a:pt x="13121" y="39650"/>
                </a:cubicBezTo>
                <a:cubicBezTo>
                  <a:pt x="4840" y="32750"/>
                  <a:pt x="-6372" y="22917"/>
                  <a:pt x="4495" y="3079"/>
                </a:cubicBezTo>
                <a:cubicBezTo>
                  <a:pt x="6048" y="147"/>
                  <a:pt x="9498" y="-888"/>
                  <a:pt x="12603" y="837"/>
                </a:cubicBezTo>
                <a:cubicBezTo>
                  <a:pt x="15535" y="2389"/>
                  <a:pt x="16398" y="5839"/>
                  <a:pt x="15018" y="8944"/>
                </a:cubicBezTo>
                <a:cubicBezTo>
                  <a:pt x="8635" y="20502"/>
                  <a:pt x="12948" y="24125"/>
                  <a:pt x="20883" y="31197"/>
                </a:cubicBezTo>
                <a:cubicBezTo>
                  <a:pt x="27611" y="37062"/>
                  <a:pt x="36926" y="44997"/>
                  <a:pt x="35028" y="59660"/>
                </a:cubicBezTo>
                <a:cubicBezTo>
                  <a:pt x="34683" y="62075"/>
                  <a:pt x="32268" y="64145"/>
                  <a:pt x="29163" y="64145"/>
                </a:cubicBezTo>
              </a:path>
            </a:pathLst>
          </a:custGeom>
          <a:solidFill>
            <a:srgbClr val="9F6A89"/>
          </a:solidFill>
          <a:ln w="17238" cap="flat">
            <a:solidFill>
              <a:srgbClr val="9F6A89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n>
                <a:solidFill>
                  <a:srgbClr val="9F6A89"/>
                </a:solidFill>
              </a:ln>
              <a:latin typeface="Manrope" pitchFamily="2" charset="0"/>
            </a:endParaRPr>
          </a:p>
        </p:txBody>
      </p:sp>
      <p:sp>
        <p:nvSpPr>
          <p:cNvPr id="606" name="Gráfico 1344">
            <a:extLst>
              <a:ext uri="{FF2B5EF4-FFF2-40B4-BE49-F238E27FC236}">
                <a16:creationId xmlns:a16="http://schemas.microsoft.com/office/drawing/2014/main" id="{AD83E453-80B7-4A1F-B13E-7E897EC345F1}"/>
              </a:ext>
            </a:extLst>
          </p:cNvPr>
          <p:cNvSpPr/>
          <p:nvPr/>
        </p:nvSpPr>
        <p:spPr>
          <a:xfrm>
            <a:off x="9080887" y="4624417"/>
            <a:ext cx="803172" cy="359821"/>
          </a:xfrm>
          <a:custGeom>
            <a:avLst/>
            <a:gdLst>
              <a:gd name="connsiteX0" fmla="*/ 6038 w 803172"/>
              <a:gd name="connsiteY0" fmla="*/ 359821 h 359821"/>
              <a:gd name="connsiteX1" fmla="*/ 6038 w 803172"/>
              <a:gd name="connsiteY1" fmla="*/ 359821 h 359821"/>
              <a:gd name="connsiteX2" fmla="*/ 0 w 803172"/>
              <a:gd name="connsiteY2" fmla="*/ 353783 h 359821"/>
              <a:gd name="connsiteX3" fmla="*/ 6038 w 803172"/>
              <a:gd name="connsiteY3" fmla="*/ 347746 h 359821"/>
              <a:gd name="connsiteX4" fmla="*/ 6038 w 803172"/>
              <a:gd name="connsiteY4" fmla="*/ 347746 h 359821"/>
              <a:gd name="connsiteX5" fmla="*/ 43125 w 803172"/>
              <a:gd name="connsiteY5" fmla="*/ 320836 h 359821"/>
              <a:gd name="connsiteX6" fmla="*/ 73486 w 803172"/>
              <a:gd name="connsiteY6" fmla="*/ 293753 h 359821"/>
              <a:gd name="connsiteX7" fmla="*/ 105053 w 803172"/>
              <a:gd name="connsiteY7" fmla="*/ 256838 h 359821"/>
              <a:gd name="connsiteX8" fmla="*/ 125581 w 803172"/>
              <a:gd name="connsiteY8" fmla="*/ 229065 h 359821"/>
              <a:gd name="connsiteX9" fmla="*/ 147316 w 803172"/>
              <a:gd name="connsiteY9" fmla="*/ 206812 h 359821"/>
              <a:gd name="connsiteX10" fmla="*/ 160944 w 803172"/>
              <a:gd name="connsiteY10" fmla="*/ 193357 h 359821"/>
              <a:gd name="connsiteX11" fmla="*/ 221319 w 803172"/>
              <a:gd name="connsiteY11" fmla="*/ 159029 h 359821"/>
              <a:gd name="connsiteX12" fmla="*/ 232877 w 803172"/>
              <a:gd name="connsiteY12" fmla="*/ 154372 h 359821"/>
              <a:gd name="connsiteX13" fmla="*/ 247539 w 803172"/>
              <a:gd name="connsiteY13" fmla="*/ 148852 h 359821"/>
              <a:gd name="connsiteX14" fmla="*/ 285490 w 803172"/>
              <a:gd name="connsiteY14" fmla="*/ 130739 h 359821"/>
              <a:gd name="connsiteX15" fmla="*/ 291872 w 803172"/>
              <a:gd name="connsiteY15" fmla="*/ 120561 h 359821"/>
              <a:gd name="connsiteX16" fmla="*/ 297220 w 803172"/>
              <a:gd name="connsiteY16" fmla="*/ 110557 h 359821"/>
              <a:gd name="connsiteX17" fmla="*/ 307742 w 803172"/>
              <a:gd name="connsiteY17" fmla="*/ 100379 h 359821"/>
              <a:gd name="connsiteX18" fmla="*/ 314125 w 803172"/>
              <a:gd name="connsiteY18" fmla="*/ 94686 h 359821"/>
              <a:gd name="connsiteX19" fmla="*/ 321543 w 803172"/>
              <a:gd name="connsiteY19" fmla="*/ 82439 h 359821"/>
              <a:gd name="connsiteX20" fmla="*/ 325855 w 803172"/>
              <a:gd name="connsiteY20" fmla="*/ 73814 h 359821"/>
              <a:gd name="connsiteX21" fmla="*/ 371050 w 803172"/>
              <a:gd name="connsiteY21" fmla="*/ 35001 h 359821"/>
              <a:gd name="connsiteX22" fmla="*/ 388128 w 803172"/>
              <a:gd name="connsiteY22" fmla="*/ 24306 h 359821"/>
              <a:gd name="connsiteX23" fmla="*/ 396926 w 803172"/>
              <a:gd name="connsiteY23" fmla="*/ 16026 h 359821"/>
              <a:gd name="connsiteX24" fmla="*/ 427803 w 803172"/>
              <a:gd name="connsiteY24" fmla="*/ 673 h 359821"/>
              <a:gd name="connsiteX25" fmla="*/ 439878 w 803172"/>
              <a:gd name="connsiteY25" fmla="*/ 12403 h 359821"/>
              <a:gd name="connsiteX26" fmla="*/ 444536 w 803172"/>
              <a:gd name="connsiteY26" fmla="*/ 18786 h 359821"/>
              <a:gd name="connsiteX27" fmla="*/ 446606 w 803172"/>
              <a:gd name="connsiteY27" fmla="*/ 18786 h 359821"/>
              <a:gd name="connsiteX28" fmla="*/ 454368 w 803172"/>
              <a:gd name="connsiteY28" fmla="*/ 20338 h 359821"/>
              <a:gd name="connsiteX29" fmla="*/ 480761 w 803172"/>
              <a:gd name="connsiteY29" fmla="*/ 41901 h 359821"/>
              <a:gd name="connsiteX30" fmla="*/ 498874 w 803172"/>
              <a:gd name="connsiteY30" fmla="*/ 64154 h 359821"/>
              <a:gd name="connsiteX31" fmla="*/ 523886 w 803172"/>
              <a:gd name="connsiteY31" fmla="*/ 95549 h 359821"/>
              <a:gd name="connsiteX32" fmla="*/ 540792 w 803172"/>
              <a:gd name="connsiteY32" fmla="*/ 109176 h 359821"/>
              <a:gd name="connsiteX33" fmla="*/ 554247 w 803172"/>
              <a:gd name="connsiteY33" fmla="*/ 118491 h 359821"/>
              <a:gd name="connsiteX34" fmla="*/ 563217 w 803172"/>
              <a:gd name="connsiteY34" fmla="*/ 132637 h 359821"/>
              <a:gd name="connsiteX35" fmla="*/ 567012 w 803172"/>
              <a:gd name="connsiteY35" fmla="*/ 139537 h 359821"/>
              <a:gd name="connsiteX36" fmla="*/ 590644 w 803172"/>
              <a:gd name="connsiteY36" fmla="*/ 143159 h 359821"/>
              <a:gd name="connsiteX37" fmla="*/ 606170 w 803172"/>
              <a:gd name="connsiteY37" fmla="*/ 144712 h 359821"/>
              <a:gd name="connsiteX38" fmla="*/ 624800 w 803172"/>
              <a:gd name="connsiteY38" fmla="*/ 150749 h 359821"/>
              <a:gd name="connsiteX39" fmla="*/ 639462 w 803172"/>
              <a:gd name="connsiteY39" fmla="*/ 155579 h 359821"/>
              <a:gd name="connsiteX40" fmla="*/ 663095 w 803172"/>
              <a:gd name="connsiteY40" fmla="*/ 155924 h 359821"/>
              <a:gd name="connsiteX41" fmla="*/ 705185 w 803172"/>
              <a:gd name="connsiteY41" fmla="*/ 160754 h 359821"/>
              <a:gd name="connsiteX42" fmla="*/ 712431 w 803172"/>
              <a:gd name="connsiteY42" fmla="*/ 176279 h 359821"/>
              <a:gd name="connsiteX43" fmla="*/ 713983 w 803172"/>
              <a:gd name="connsiteY43" fmla="*/ 182662 h 359821"/>
              <a:gd name="connsiteX44" fmla="*/ 730370 w 803172"/>
              <a:gd name="connsiteY44" fmla="*/ 194909 h 359821"/>
              <a:gd name="connsiteX45" fmla="*/ 743308 w 803172"/>
              <a:gd name="connsiteY45" fmla="*/ 202327 h 359821"/>
              <a:gd name="connsiteX46" fmla="*/ 756763 w 803172"/>
              <a:gd name="connsiteY46" fmla="*/ 215437 h 359821"/>
              <a:gd name="connsiteX47" fmla="*/ 774876 w 803172"/>
              <a:gd name="connsiteY47" fmla="*/ 229927 h 359821"/>
              <a:gd name="connsiteX48" fmla="*/ 800751 w 803172"/>
              <a:gd name="connsiteY48" fmla="*/ 244245 h 359821"/>
              <a:gd name="connsiteX49" fmla="*/ 801958 w 803172"/>
              <a:gd name="connsiteY49" fmla="*/ 252525 h 359821"/>
              <a:gd name="connsiteX50" fmla="*/ 793678 w 803172"/>
              <a:gd name="connsiteY50" fmla="*/ 254078 h 359821"/>
              <a:gd name="connsiteX51" fmla="*/ 770046 w 803172"/>
              <a:gd name="connsiteY51" fmla="*/ 240967 h 359821"/>
              <a:gd name="connsiteX52" fmla="*/ 747620 w 803172"/>
              <a:gd name="connsiteY52" fmla="*/ 223200 h 359821"/>
              <a:gd name="connsiteX53" fmla="*/ 735890 w 803172"/>
              <a:gd name="connsiteY53" fmla="*/ 211642 h 359821"/>
              <a:gd name="connsiteX54" fmla="*/ 725023 w 803172"/>
              <a:gd name="connsiteY54" fmla="*/ 205432 h 359821"/>
              <a:gd name="connsiteX55" fmla="*/ 703460 w 803172"/>
              <a:gd name="connsiteY55" fmla="*/ 188527 h 359821"/>
              <a:gd name="connsiteX56" fmla="*/ 700183 w 803172"/>
              <a:gd name="connsiteY56" fmla="*/ 177832 h 359821"/>
              <a:gd name="connsiteX57" fmla="*/ 697595 w 803172"/>
              <a:gd name="connsiteY57" fmla="*/ 170414 h 359821"/>
              <a:gd name="connsiteX58" fmla="*/ 663268 w 803172"/>
              <a:gd name="connsiteY58" fmla="*/ 167827 h 359821"/>
              <a:gd name="connsiteX59" fmla="*/ 636185 w 803172"/>
              <a:gd name="connsiteY59" fmla="*/ 166964 h 359821"/>
              <a:gd name="connsiteX60" fmla="*/ 619970 w 803172"/>
              <a:gd name="connsiteY60" fmla="*/ 161617 h 359821"/>
              <a:gd name="connsiteX61" fmla="*/ 603064 w 803172"/>
              <a:gd name="connsiteY61" fmla="*/ 156269 h 359821"/>
              <a:gd name="connsiteX62" fmla="*/ 589437 w 803172"/>
              <a:gd name="connsiteY62" fmla="*/ 155062 h 359821"/>
              <a:gd name="connsiteX63" fmla="*/ 558732 w 803172"/>
              <a:gd name="connsiteY63" fmla="*/ 148679 h 359821"/>
              <a:gd name="connsiteX64" fmla="*/ 551314 w 803172"/>
              <a:gd name="connsiteY64" fmla="*/ 136949 h 359821"/>
              <a:gd name="connsiteX65" fmla="*/ 545622 w 803172"/>
              <a:gd name="connsiteY65" fmla="*/ 127807 h 359821"/>
              <a:gd name="connsiteX66" fmla="*/ 533719 w 803172"/>
              <a:gd name="connsiteY66" fmla="*/ 119526 h 359821"/>
              <a:gd name="connsiteX67" fmla="*/ 513709 w 803172"/>
              <a:gd name="connsiteY67" fmla="*/ 102622 h 359821"/>
              <a:gd name="connsiteX68" fmla="*/ 489041 w 803172"/>
              <a:gd name="connsiteY68" fmla="*/ 71916 h 359821"/>
              <a:gd name="connsiteX69" fmla="*/ 470756 w 803172"/>
              <a:gd name="connsiteY69" fmla="*/ 49319 h 359821"/>
              <a:gd name="connsiteX70" fmla="*/ 448503 w 803172"/>
              <a:gd name="connsiteY70" fmla="*/ 31206 h 359821"/>
              <a:gd name="connsiteX71" fmla="*/ 445743 w 803172"/>
              <a:gd name="connsiteY71" fmla="*/ 31033 h 359821"/>
              <a:gd name="connsiteX72" fmla="*/ 436601 w 803172"/>
              <a:gd name="connsiteY72" fmla="*/ 28618 h 359821"/>
              <a:gd name="connsiteX73" fmla="*/ 428838 w 803172"/>
              <a:gd name="connsiteY73" fmla="*/ 18613 h 359821"/>
              <a:gd name="connsiteX74" fmla="*/ 424008 w 803172"/>
              <a:gd name="connsiteY74" fmla="*/ 12403 h 359821"/>
              <a:gd name="connsiteX75" fmla="*/ 404860 w 803172"/>
              <a:gd name="connsiteY75" fmla="*/ 24306 h 359821"/>
              <a:gd name="connsiteX76" fmla="*/ 394165 w 803172"/>
              <a:gd name="connsiteY76" fmla="*/ 34311 h 359821"/>
              <a:gd name="connsiteX77" fmla="*/ 376398 w 803172"/>
              <a:gd name="connsiteY77" fmla="*/ 45351 h 359821"/>
              <a:gd name="connsiteX78" fmla="*/ 335687 w 803172"/>
              <a:gd name="connsiteY78" fmla="*/ 80024 h 359821"/>
              <a:gd name="connsiteX79" fmla="*/ 331892 w 803172"/>
              <a:gd name="connsiteY79" fmla="*/ 87786 h 359821"/>
              <a:gd name="connsiteX80" fmla="*/ 322232 w 803172"/>
              <a:gd name="connsiteY80" fmla="*/ 103139 h 359821"/>
              <a:gd name="connsiteX81" fmla="*/ 314815 w 803172"/>
              <a:gd name="connsiteY81" fmla="*/ 110039 h 359821"/>
              <a:gd name="connsiteX82" fmla="*/ 306535 w 803172"/>
              <a:gd name="connsiteY82" fmla="*/ 117974 h 359821"/>
              <a:gd name="connsiteX83" fmla="*/ 302567 w 803172"/>
              <a:gd name="connsiteY83" fmla="*/ 125909 h 359821"/>
              <a:gd name="connsiteX84" fmla="*/ 292735 w 803172"/>
              <a:gd name="connsiteY84" fmla="*/ 140399 h 359821"/>
              <a:gd name="connsiteX85" fmla="*/ 251162 w 803172"/>
              <a:gd name="connsiteY85" fmla="*/ 160754 h 359821"/>
              <a:gd name="connsiteX86" fmla="*/ 237017 w 803172"/>
              <a:gd name="connsiteY86" fmla="*/ 166102 h 359821"/>
              <a:gd name="connsiteX87" fmla="*/ 225459 w 803172"/>
              <a:gd name="connsiteY87" fmla="*/ 170759 h 359821"/>
              <a:gd name="connsiteX88" fmla="*/ 169396 w 803172"/>
              <a:gd name="connsiteY88" fmla="*/ 202327 h 359821"/>
              <a:gd name="connsiteX89" fmla="*/ 155596 w 803172"/>
              <a:gd name="connsiteY89" fmla="*/ 215955 h 359821"/>
              <a:gd name="connsiteX90" fmla="*/ 134206 w 803172"/>
              <a:gd name="connsiteY90" fmla="*/ 237690 h 359821"/>
              <a:gd name="connsiteX91" fmla="*/ 115059 w 803172"/>
              <a:gd name="connsiteY91" fmla="*/ 263910 h 359821"/>
              <a:gd name="connsiteX92" fmla="*/ 80041 w 803172"/>
              <a:gd name="connsiteY92" fmla="*/ 304276 h 359821"/>
              <a:gd name="connsiteX93" fmla="*/ 52785 w 803172"/>
              <a:gd name="connsiteY93" fmla="*/ 328598 h 359821"/>
              <a:gd name="connsiteX94" fmla="*/ 6038 w 803172"/>
              <a:gd name="connsiteY94" fmla="*/ 359821 h 35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03172" h="359821">
                <a:moveTo>
                  <a:pt x="6038" y="359821"/>
                </a:moveTo>
                <a:lnTo>
                  <a:pt x="6038" y="359821"/>
                </a:lnTo>
                <a:cubicBezTo>
                  <a:pt x="2587" y="359821"/>
                  <a:pt x="0" y="357061"/>
                  <a:pt x="0" y="353783"/>
                </a:cubicBezTo>
                <a:cubicBezTo>
                  <a:pt x="0" y="350506"/>
                  <a:pt x="2587" y="347746"/>
                  <a:pt x="6038" y="347746"/>
                </a:cubicBezTo>
                <a:lnTo>
                  <a:pt x="6038" y="347746"/>
                </a:lnTo>
                <a:cubicBezTo>
                  <a:pt x="21218" y="347746"/>
                  <a:pt x="33293" y="334291"/>
                  <a:pt x="43125" y="320836"/>
                </a:cubicBezTo>
                <a:cubicBezTo>
                  <a:pt x="52096" y="308933"/>
                  <a:pt x="60375" y="302205"/>
                  <a:pt x="73486" y="293753"/>
                </a:cubicBezTo>
                <a:cubicBezTo>
                  <a:pt x="86423" y="285128"/>
                  <a:pt x="95393" y="271500"/>
                  <a:pt x="105053" y="256838"/>
                </a:cubicBezTo>
                <a:cubicBezTo>
                  <a:pt x="111264" y="247177"/>
                  <a:pt x="117646" y="237345"/>
                  <a:pt x="125581" y="229065"/>
                </a:cubicBezTo>
                <a:cubicBezTo>
                  <a:pt x="132826" y="221130"/>
                  <a:pt x="140071" y="213885"/>
                  <a:pt x="147316" y="206812"/>
                </a:cubicBezTo>
                <a:cubicBezTo>
                  <a:pt x="151801" y="202499"/>
                  <a:pt x="156286" y="198015"/>
                  <a:pt x="160944" y="193357"/>
                </a:cubicBezTo>
                <a:cubicBezTo>
                  <a:pt x="177331" y="176452"/>
                  <a:pt x="199757" y="167482"/>
                  <a:pt x="221319" y="159029"/>
                </a:cubicBezTo>
                <a:cubicBezTo>
                  <a:pt x="225114" y="157477"/>
                  <a:pt x="229082" y="156097"/>
                  <a:pt x="232877" y="154372"/>
                </a:cubicBezTo>
                <a:cubicBezTo>
                  <a:pt x="237362" y="152474"/>
                  <a:pt x="242192" y="150749"/>
                  <a:pt x="247539" y="148852"/>
                </a:cubicBezTo>
                <a:cubicBezTo>
                  <a:pt x="260994" y="144194"/>
                  <a:pt x="276175" y="138674"/>
                  <a:pt x="285490" y="130739"/>
                </a:cubicBezTo>
                <a:cubicBezTo>
                  <a:pt x="288940" y="127979"/>
                  <a:pt x="290147" y="124529"/>
                  <a:pt x="291872" y="120561"/>
                </a:cubicBezTo>
                <a:cubicBezTo>
                  <a:pt x="293079" y="117629"/>
                  <a:pt x="294632" y="114179"/>
                  <a:pt x="297220" y="110557"/>
                </a:cubicBezTo>
                <a:cubicBezTo>
                  <a:pt x="300152" y="106244"/>
                  <a:pt x="304120" y="103139"/>
                  <a:pt x="307742" y="100379"/>
                </a:cubicBezTo>
                <a:cubicBezTo>
                  <a:pt x="310157" y="98481"/>
                  <a:pt x="312227" y="96757"/>
                  <a:pt x="314125" y="94686"/>
                </a:cubicBezTo>
                <a:cubicBezTo>
                  <a:pt x="317920" y="90546"/>
                  <a:pt x="319473" y="86924"/>
                  <a:pt x="321543" y="82439"/>
                </a:cubicBezTo>
                <a:cubicBezTo>
                  <a:pt x="322578" y="79851"/>
                  <a:pt x="324130" y="76919"/>
                  <a:pt x="325855" y="73814"/>
                </a:cubicBezTo>
                <a:cubicBezTo>
                  <a:pt x="336550" y="55184"/>
                  <a:pt x="353973" y="45006"/>
                  <a:pt x="371050" y="35001"/>
                </a:cubicBezTo>
                <a:cubicBezTo>
                  <a:pt x="377088" y="31379"/>
                  <a:pt x="382608" y="28101"/>
                  <a:pt x="388128" y="24306"/>
                </a:cubicBezTo>
                <a:cubicBezTo>
                  <a:pt x="390715" y="22581"/>
                  <a:pt x="393648" y="19476"/>
                  <a:pt x="396926" y="16026"/>
                </a:cubicBezTo>
                <a:cubicBezTo>
                  <a:pt x="404860" y="7746"/>
                  <a:pt x="414693" y="-2777"/>
                  <a:pt x="427803" y="673"/>
                </a:cubicBezTo>
                <a:cubicBezTo>
                  <a:pt x="434013" y="2226"/>
                  <a:pt x="437463" y="7918"/>
                  <a:pt x="439878" y="12403"/>
                </a:cubicBezTo>
                <a:cubicBezTo>
                  <a:pt x="441431" y="14991"/>
                  <a:pt x="442811" y="17578"/>
                  <a:pt x="444536" y="18786"/>
                </a:cubicBezTo>
                <a:cubicBezTo>
                  <a:pt x="444708" y="18786"/>
                  <a:pt x="445743" y="18786"/>
                  <a:pt x="446606" y="18786"/>
                </a:cubicBezTo>
                <a:cubicBezTo>
                  <a:pt x="448503" y="18786"/>
                  <a:pt x="451263" y="18786"/>
                  <a:pt x="454368" y="20338"/>
                </a:cubicBezTo>
                <a:cubicBezTo>
                  <a:pt x="467651" y="26548"/>
                  <a:pt x="471618" y="30344"/>
                  <a:pt x="480761" y="41901"/>
                </a:cubicBezTo>
                <a:cubicBezTo>
                  <a:pt x="486799" y="49664"/>
                  <a:pt x="492836" y="56908"/>
                  <a:pt x="498874" y="64154"/>
                </a:cubicBezTo>
                <a:cubicBezTo>
                  <a:pt x="507154" y="74158"/>
                  <a:pt x="515779" y="84509"/>
                  <a:pt x="523886" y="95549"/>
                </a:cubicBezTo>
                <a:cubicBezTo>
                  <a:pt x="528544" y="101931"/>
                  <a:pt x="534064" y="105382"/>
                  <a:pt x="540792" y="109176"/>
                </a:cubicBezTo>
                <a:cubicBezTo>
                  <a:pt x="545277" y="111936"/>
                  <a:pt x="549761" y="114696"/>
                  <a:pt x="554247" y="118491"/>
                </a:cubicBezTo>
                <a:cubicBezTo>
                  <a:pt x="559767" y="123321"/>
                  <a:pt x="561664" y="128497"/>
                  <a:pt x="563217" y="132637"/>
                </a:cubicBezTo>
                <a:cubicBezTo>
                  <a:pt x="564424" y="136087"/>
                  <a:pt x="565114" y="137811"/>
                  <a:pt x="567012" y="139537"/>
                </a:cubicBezTo>
                <a:cubicBezTo>
                  <a:pt x="569944" y="141952"/>
                  <a:pt x="583399" y="142814"/>
                  <a:pt x="590644" y="143159"/>
                </a:cubicBezTo>
                <a:cubicBezTo>
                  <a:pt x="596854" y="143504"/>
                  <a:pt x="602202" y="143849"/>
                  <a:pt x="606170" y="144712"/>
                </a:cubicBezTo>
                <a:cubicBezTo>
                  <a:pt x="612552" y="145919"/>
                  <a:pt x="618762" y="148334"/>
                  <a:pt x="624800" y="150749"/>
                </a:cubicBezTo>
                <a:cubicBezTo>
                  <a:pt x="629975" y="152647"/>
                  <a:pt x="634805" y="154372"/>
                  <a:pt x="639462" y="155579"/>
                </a:cubicBezTo>
                <a:cubicBezTo>
                  <a:pt x="644292" y="156787"/>
                  <a:pt x="653952" y="156442"/>
                  <a:pt x="663095" y="155924"/>
                </a:cubicBezTo>
                <a:cubicBezTo>
                  <a:pt x="679483" y="155234"/>
                  <a:pt x="696560" y="154372"/>
                  <a:pt x="705185" y="160754"/>
                </a:cubicBezTo>
                <a:cubicBezTo>
                  <a:pt x="710878" y="165067"/>
                  <a:pt x="711740" y="171449"/>
                  <a:pt x="712431" y="176279"/>
                </a:cubicBezTo>
                <a:cubicBezTo>
                  <a:pt x="712775" y="178867"/>
                  <a:pt x="713120" y="181109"/>
                  <a:pt x="713983" y="182662"/>
                </a:cubicBezTo>
                <a:cubicBezTo>
                  <a:pt x="717433" y="188355"/>
                  <a:pt x="723815" y="191460"/>
                  <a:pt x="730370" y="194909"/>
                </a:cubicBezTo>
                <a:cubicBezTo>
                  <a:pt x="734683" y="196980"/>
                  <a:pt x="739341" y="199222"/>
                  <a:pt x="743308" y="202327"/>
                </a:cubicBezTo>
                <a:cubicBezTo>
                  <a:pt x="749001" y="206812"/>
                  <a:pt x="753141" y="211297"/>
                  <a:pt x="756763" y="215437"/>
                </a:cubicBezTo>
                <a:cubicBezTo>
                  <a:pt x="761938" y="221130"/>
                  <a:pt x="766423" y="226305"/>
                  <a:pt x="774876" y="229927"/>
                </a:cubicBezTo>
                <a:cubicBezTo>
                  <a:pt x="784881" y="234240"/>
                  <a:pt x="793161" y="238898"/>
                  <a:pt x="800751" y="244245"/>
                </a:cubicBezTo>
                <a:cubicBezTo>
                  <a:pt x="803338" y="246142"/>
                  <a:pt x="804029" y="249765"/>
                  <a:pt x="801958" y="252525"/>
                </a:cubicBezTo>
                <a:cubicBezTo>
                  <a:pt x="800061" y="255285"/>
                  <a:pt x="796439" y="255975"/>
                  <a:pt x="793678" y="254078"/>
                </a:cubicBezTo>
                <a:cubicBezTo>
                  <a:pt x="787123" y="249248"/>
                  <a:pt x="779361" y="245107"/>
                  <a:pt x="770046" y="240967"/>
                </a:cubicBezTo>
                <a:cubicBezTo>
                  <a:pt x="759006" y="236137"/>
                  <a:pt x="753141" y="229582"/>
                  <a:pt x="747620" y="223200"/>
                </a:cubicBezTo>
                <a:cubicBezTo>
                  <a:pt x="744171" y="219405"/>
                  <a:pt x="740720" y="215437"/>
                  <a:pt x="735890" y="211642"/>
                </a:cubicBezTo>
                <a:cubicBezTo>
                  <a:pt x="732958" y="209227"/>
                  <a:pt x="728990" y="207329"/>
                  <a:pt x="725023" y="205432"/>
                </a:cubicBezTo>
                <a:cubicBezTo>
                  <a:pt x="717261" y="201810"/>
                  <a:pt x="708808" y="197497"/>
                  <a:pt x="703460" y="188527"/>
                </a:cubicBezTo>
                <a:cubicBezTo>
                  <a:pt x="701390" y="184905"/>
                  <a:pt x="700873" y="181109"/>
                  <a:pt x="700183" y="177832"/>
                </a:cubicBezTo>
                <a:cubicBezTo>
                  <a:pt x="699838" y="173692"/>
                  <a:pt x="699320" y="171622"/>
                  <a:pt x="697595" y="170414"/>
                </a:cubicBezTo>
                <a:cubicBezTo>
                  <a:pt x="692248" y="166619"/>
                  <a:pt x="675342" y="167137"/>
                  <a:pt x="663268" y="167827"/>
                </a:cubicBezTo>
                <a:cubicBezTo>
                  <a:pt x="652745" y="168172"/>
                  <a:pt x="642740" y="168689"/>
                  <a:pt x="636185" y="166964"/>
                </a:cubicBezTo>
                <a:cubicBezTo>
                  <a:pt x="630837" y="165757"/>
                  <a:pt x="625317" y="163687"/>
                  <a:pt x="619970" y="161617"/>
                </a:cubicBezTo>
                <a:cubicBezTo>
                  <a:pt x="614449" y="159547"/>
                  <a:pt x="608584" y="157477"/>
                  <a:pt x="603064" y="156269"/>
                </a:cubicBezTo>
                <a:cubicBezTo>
                  <a:pt x="600132" y="155579"/>
                  <a:pt x="594957" y="155407"/>
                  <a:pt x="589437" y="155062"/>
                </a:cubicBezTo>
                <a:cubicBezTo>
                  <a:pt x="574430" y="154199"/>
                  <a:pt x="564251" y="153337"/>
                  <a:pt x="558732" y="148679"/>
                </a:cubicBezTo>
                <a:cubicBezTo>
                  <a:pt x="554247" y="145057"/>
                  <a:pt x="552694" y="140744"/>
                  <a:pt x="551314" y="136949"/>
                </a:cubicBezTo>
                <a:cubicBezTo>
                  <a:pt x="550107" y="133327"/>
                  <a:pt x="548899" y="130567"/>
                  <a:pt x="545622" y="127807"/>
                </a:cubicBezTo>
                <a:cubicBezTo>
                  <a:pt x="541827" y="124529"/>
                  <a:pt x="537859" y="122114"/>
                  <a:pt x="533719" y="119526"/>
                </a:cubicBezTo>
                <a:cubicBezTo>
                  <a:pt x="526819" y="115214"/>
                  <a:pt x="519574" y="110729"/>
                  <a:pt x="513709" y="102622"/>
                </a:cubicBezTo>
                <a:cubicBezTo>
                  <a:pt x="505774" y="91754"/>
                  <a:pt x="497321" y="81749"/>
                  <a:pt x="489041" y="71916"/>
                </a:cubicBezTo>
                <a:cubicBezTo>
                  <a:pt x="483004" y="64671"/>
                  <a:pt x="476966" y="57254"/>
                  <a:pt x="470756" y="49319"/>
                </a:cubicBezTo>
                <a:cubicBezTo>
                  <a:pt x="462821" y="39313"/>
                  <a:pt x="460061" y="36553"/>
                  <a:pt x="448503" y="31206"/>
                </a:cubicBezTo>
                <a:cubicBezTo>
                  <a:pt x="448158" y="31033"/>
                  <a:pt x="446778" y="31033"/>
                  <a:pt x="445743" y="31033"/>
                </a:cubicBezTo>
                <a:cubicBezTo>
                  <a:pt x="443156" y="31033"/>
                  <a:pt x="439706" y="30861"/>
                  <a:pt x="436601" y="28618"/>
                </a:cubicBezTo>
                <a:cubicBezTo>
                  <a:pt x="432978" y="26031"/>
                  <a:pt x="430908" y="22063"/>
                  <a:pt x="428838" y="18613"/>
                </a:cubicBezTo>
                <a:cubicBezTo>
                  <a:pt x="427286" y="16026"/>
                  <a:pt x="425388" y="12576"/>
                  <a:pt x="424008" y="12403"/>
                </a:cubicBezTo>
                <a:cubicBezTo>
                  <a:pt x="417971" y="10851"/>
                  <a:pt x="412278" y="16543"/>
                  <a:pt x="404860" y="24306"/>
                </a:cubicBezTo>
                <a:cubicBezTo>
                  <a:pt x="401238" y="28101"/>
                  <a:pt x="397961" y="31723"/>
                  <a:pt x="394165" y="34311"/>
                </a:cubicBezTo>
                <a:cubicBezTo>
                  <a:pt x="388473" y="38106"/>
                  <a:pt x="382436" y="41729"/>
                  <a:pt x="376398" y="45351"/>
                </a:cubicBezTo>
                <a:cubicBezTo>
                  <a:pt x="360010" y="55011"/>
                  <a:pt x="344658" y="64154"/>
                  <a:pt x="335687" y="80024"/>
                </a:cubicBezTo>
                <a:cubicBezTo>
                  <a:pt x="334135" y="82784"/>
                  <a:pt x="332928" y="85199"/>
                  <a:pt x="331892" y="87786"/>
                </a:cubicBezTo>
                <a:cubicBezTo>
                  <a:pt x="329822" y="92616"/>
                  <a:pt x="327408" y="97619"/>
                  <a:pt x="322232" y="103139"/>
                </a:cubicBezTo>
                <a:cubicBezTo>
                  <a:pt x="319817" y="105727"/>
                  <a:pt x="317057" y="107796"/>
                  <a:pt x="314815" y="110039"/>
                </a:cubicBezTo>
                <a:cubicBezTo>
                  <a:pt x="311537" y="112626"/>
                  <a:pt x="308605" y="114869"/>
                  <a:pt x="306535" y="117974"/>
                </a:cubicBezTo>
                <a:cubicBezTo>
                  <a:pt x="304810" y="120561"/>
                  <a:pt x="303602" y="123149"/>
                  <a:pt x="302567" y="125909"/>
                </a:cubicBezTo>
                <a:cubicBezTo>
                  <a:pt x="300670" y="130567"/>
                  <a:pt x="298255" y="135742"/>
                  <a:pt x="292735" y="140399"/>
                </a:cubicBezTo>
                <a:cubicBezTo>
                  <a:pt x="281867" y="149542"/>
                  <a:pt x="265480" y="155579"/>
                  <a:pt x="251162" y="160754"/>
                </a:cubicBezTo>
                <a:cubicBezTo>
                  <a:pt x="245987" y="162652"/>
                  <a:pt x="241157" y="164377"/>
                  <a:pt x="237017" y="166102"/>
                </a:cubicBezTo>
                <a:cubicBezTo>
                  <a:pt x="233222" y="167654"/>
                  <a:pt x="229254" y="169380"/>
                  <a:pt x="225459" y="170759"/>
                </a:cubicBezTo>
                <a:cubicBezTo>
                  <a:pt x="204932" y="178867"/>
                  <a:pt x="183886" y="187492"/>
                  <a:pt x="169396" y="202327"/>
                </a:cubicBezTo>
                <a:cubicBezTo>
                  <a:pt x="164739" y="206985"/>
                  <a:pt x="160254" y="211470"/>
                  <a:pt x="155596" y="215955"/>
                </a:cubicBezTo>
                <a:cubicBezTo>
                  <a:pt x="148351" y="223200"/>
                  <a:pt x="141279" y="229755"/>
                  <a:pt x="134206" y="237690"/>
                </a:cubicBezTo>
                <a:cubicBezTo>
                  <a:pt x="127133" y="245625"/>
                  <a:pt x="120924" y="254767"/>
                  <a:pt x="115059" y="263910"/>
                </a:cubicBezTo>
                <a:cubicBezTo>
                  <a:pt x="105226" y="278918"/>
                  <a:pt x="95221" y="294270"/>
                  <a:pt x="80041" y="304276"/>
                </a:cubicBezTo>
                <a:cubicBezTo>
                  <a:pt x="67966" y="312211"/>
                  <a:pt x="60548" y="317903"/>
                  <a:pt x="52785" y="328598"/>
                </a:cubicBezTo>
                <a:cubicBezTo>
                  <a:pt x="40883" y="343778"/>
                  <a:pt x="26221" y="359821"/>
                  <a:pt x="6038" y="359821"/>
                </a:cubicBezTo>
              </a:path>
            </a:pathLst>
          </a:custGeom>
          <a:solidFill>
            <a:srgbClr val="9F6A89"/>
          </a:solidFill>
          <a:ln w="17238" cap="flat">
            <a:solidFill>
              <a:srgbClr val="9F6A89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n>
                <a:solidFill>
                  <a:srgbClr val="9F6A89"/>
                </a:solidFill>
              </a:ln>
              <a:latin typeface="Manrope" pitchFamily="2" charset="0"/>
            </a:endParaRPr>
          </a:p>
        </p:txBody>
      </p:sp>
      <p:sp>
        <p:nvSpPr>
          <p:cNvPr id="607" name="Gráfico 1344">
            <a:extLst>
              <a:ext uri="{FF2B5EF4-FFF2-40B4-BE49-F238E27FC236}">
                <a16:creationId xmlns:a16="http://schemas.microsoft.com/office/drawing/2014/main" id="{81536295-BCD5-41AE-ABAD-D184E79676FD}"/>
              </a:ext>
            </a:extLst>
          </p:cNvPr>
          <p:cNvSpPr/>
          <p:nvPr/>
        </p:nvSpPr>
        <p:spPr>
          <a:xfrm>
            <a:off x="8977560" y="5480698"/>
            <a:ext cx="107586" cy="97462"/>
          </a:xfrm>
          <a:custGeom>
            <a:avLst/>
            <a:gdLst>
              <a:gd name="connsiteX0" fmla="*/ 5821 w 107586"/>
              <a:gd name="connsiteY0" fmla="*/ 97462 h 97462"/>
              <a:gd name="connsiteX1" fmla="*/ 4096 w 107586"/>
              <a:gd name="connsiteY1" fmla="*/ 97290 h 97462"/>
              <a:gd name="connsiteX2" fmla="*/ 301 w 107586"/>
              <a:gd name="connsiteY2" fmla="*/ 89872 h 97462"/>
              <a:gd name="connsiteX3" fmla="*/ 26349 w 107586"/>
              <a:gd name="connsiteY3" fmla="*/ 56752 h 97462"/>
              <a:gd name="connsiteX4" fmla="*/ 38596 w 107586"/>
              <a:gd name="connsiteY4" fmla="*/ 45540 h 97462"/>
              <a:gd name="connsiteX5" fmla="*/ 98799 w 107586"/>
              <a:gd name="connsiteY5" fmla="*/ 689 h 97462"/>
              <a:gd name="connsiteX6" fmla="*/ 106907 w 107586"/>
              <a:gd name="connsiteY6" fmla="*/ 2932 h 97462"/>
              <a:gd name="connsiteX7" fmla="*/ 104319 w 107586"/>
              <a:gd name="connsiteY7" fmla="*/ 10867 h 97462"/>
              <a:gd name="connsiteX8" fmla="*/ 47221 w 107586"/>
              <a:gd name="connsiteY8" fmla="*/ 53475 h 97462"/>
              <a:gd name="connsiteX9" fmla="*/ 33766 w 107586"/>
              <a:gd name="connsiteY9" fmla="*/ 65550 h 97462"/>
              <a:gd name="connsiteX10" fmla="*/ 11513 w 107586"/>
              <a:gd name="connsiteY10" fmla="*/ 93150 h 97462"/>
              <a:gd name="connsiteX11" fmla="*/ 5821 w 107586"/>
              <a:gd name="connsiteY11" fmla="*/ 97462 h 9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7586" h="97462">
                <a:moveTo>
                  <a:pt x="5821" y="97462"/>
                </a:moveTo>
                <a:cubicBezTo>
                  <a:pt x="5131" y="97462"/>
                  <a:pt x="4613" y="97462"/>
                  <a:pt x="4096" y="97290"/>
                </a:cubicBezTo>
                <a:cubicBezTo>
                  <a:pt x="991" y="96255"/>
                  <a:pt x="-734" y="93150"/>
                  <a:pt x="301" y="89872"/>
                </a:cubicBezTo>
                <a:cubicBezTo>
                  <a:pt x="5131" y="74693"/>
                  <a:pt x="15999" y="65722"/>
                  <a:pt x="26349" y="56752"/>
                </a:cubicBezTo>
                <a:cubicBezTo>
                  <a:pt x="30661" y="53130"/>
                  <a:pt x="34801" y="49680"/>
                  <a:pt x="38596" y="45540"/>
                </a:cubicBezTo>
                <a:cubicBezTo>
                  <a:pt x="56191" y="27082"/>
                  <a:pt x="75339" y="12764"/>
                  <a:pt x="98799" y="689"/>
                </a:cubicBezTo>
                <a:cubicBezTo>
                  <a:pt x="101732" y="-863"/>
                  <a:pt x="105182" y="344"/>
                  <a:pt x="106907" y="2932"/>
                </a:cubicBezTo>
                <a:cubicBezTo>
                  <a:pt x="108459" y="5864"/>
                  <a:pt x="107252" y="9315"/>
                  <a:pt x="104319" y="10867"/>
                </a:cubicBezTo>
                <a:cubicBezTo>
                  <a:pt x="82066" y="22425"/>
                  <a:pt x="63954" y="35880"/>
                  <a:pt x="47221" y="53475"/>
                </a:cubicBezTo>
                <a:cubicBezTo>
                  <a:pt x="42909" y="57960"/>
                  <a:pt x="38251" y="61755"/>
                  <a:pt x="33766" y="65550"/>
                </a:cubicBezTo>
                <a:cubicBezTo>
                  <a:pt x="24279" y="73485"/>
                  <a:pt x="15136" y="81075"/>
                  <a:pt x="11513" y="93150"/>
                </a:cubicBezTo>
                <a:cubicBezTo>
                  <a:pt x="10651" y="95910"/>
                  <a:pt x="8408" y="97462"/>
                  <a:pt x="5821" y="97462"/>
                </a:cubicBezTo>
              </a:path>
            </a:pathLst>
          </a:custGeom>
          <a:solidFill>
            <a:srgbClr val="A0A865"/>
          </a:solidFill>
          <a:ln w="172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latin typeface="Manrope" pitchFamily="2" charset="0"/>
            </a:endParaRPr>
          </a:p>
        </p:txBody>
      </p:sp>
      <p:grpSp>
        <p:nvGrpSpPr>
          <p:cNvPr id="719" name="Agrupar 718">
            <a:extLst>
              <a:ext uri="{FF2B5EF4-FFF2-40B4-BE49-F238E27FC236}">
                <a16:creationId xmlns:a16="http://schemas.microsoft.com/office/drawing/2014/main" id="{3933BB9E-66C8-402C-AEFA-F2316BA23DA2}"/>
              </a:ext>
            </a:extLst>
          </p:cNvPr>
          <p:cNvGrpSpPr/>
          <p:nvPr/>
        </p:nvGrpSpPr>
        <p:grpSpPr>
          <a:xfrm>
            <a:off x="9323208" y="514904"/>
            <a:ext cx="1763480" cy="105570"/>
            <a:chOff x="9155568" y="514904"/>
            <a:chExt cx="1763480" cy="105570"/>
          </a:xfrm>
        </p:grpSpPr>
        <p:sp>
          <p:nvSpPr>
            <p:cNvPr id="720" name="Gráfico 1344">
              <a:extLst>
                <a:ext uri="{FF2B5EF4-FFF2-40B4-BE49-F238E27FC236}">
                  <a16:creationId xmlns:a16="http://schemas.microsoft.com/office/drawing/2014/main" id="{6ED5EE46-3B24-4092-868D-EF842956C470}"/>
                </a:ext>
              </a:extLst>
            </p:cNvPr>
            <p:cNvSpPr/>
            <p:nvPr/>
          </p:nvSpPr>
          <p:spPr>
            <a:xfrm>
              <a:off x="9155568" y="523184"/>
              <a:ext cx="74520" cy="97290"/>
            </a:xfrm>
            <a:custGeom>
              <a:avLst/>
              <a:gdLst>
                <a:gd name="connsiteX0" fmla="*/ 27600 w 74520"/>
                <a:gd name="connsiteY0" fmla="*/ 15180 h 97290"/>
                <a:gd name="connsiteX1" fmla="*/ 0 w 74520"/>
                <a:gd name="connsiteY1" fmla="*/ 15180 h 97290"/>
                <a:gd name="connsiteX2" fmla="*/ 0 w 74520"/>
                <a:gd name="connsiteY2" fmla="*/ 0 h 97290"/>
                <a:gd name="connsiteX3" fmla="*/ 74521 w 74520"/>
                <a:gd name="connsiteY3" fmla="*/ 0 h 97290"/>
                <a:gd name="connsiteX4" fmla="*/ 74521 w 74520"/>
                <a:gd name="connsiteY4" fmla="*/ 15180 h 97290"/>
                <a:gd name="connsiteX5" fmla="*/ 46920 w 74520"/>
                <a:gd name="connsiteY5" fmla="*/ 15180 h 97290"/>
                <a:gd name="connsiteX6" fmla="*/ 46920 w 74520"/>
                <a:gd name="connsiteY6" fmla="*/ 97291 h 97290"/>
                <a:gd name="connsiteX7" fmla="*/ 27600 w 74520"/>
                <a:gd name="connsiteY7" fmla="*/ 97291 h 97290"/>
                <a:gd name="connsiteX8" fmla="*/ 27600 w 74520"/>
                <a:gd name="connsiteY8" fmla="*/ 1518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7290">
                  <a:moveTo>
                    <a:pt x="27600" y="15180"/>
                  </a:moveTo>
                  <a:lnTo>
                    <a:pt x="0" y="15180"/>
                  </a:lnTo>
                  <a:lnTo>
                    <a:pt x="0" y="0"/>
                  </a:lnTo>
                  <a:lnTo>
                    <a:pt x="74521" y="0"/>
                  </a:lnTo>
                  <a:lnTo>
                    <a:pt x="74521" y="15180"/>
                  </a:lnTo>
                  <a:lnTo>
                    <a:pt x="46920" y="15180"/>
                  </a:lnTo>
                  <a:lnTo>
                    <a:pt x="46920" y="97291"/>
                  </a:lnTo>
                  <a:lnTo>
                    <a:pt x="27600" y="97291"/>
                  </a:lnTo>
                  <a:lnTo>
                    <a:pt x="27600" y="1518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1" name="Gráfico 1344">
              <a:extLst>
                <a:ext uri="{FF2B5EF4-FFF2-40B4-BE49-F238E27FC236}">
                  <a16:creationId xmlns:a16="http://schemas.microsoft.com/office/drawing/2014/main" id="{BB473B12-C8B5-4098-B001-B69EFAD4C14F}"/>
                </a:ext>
              </a:extLst>
            </p:cNvPr>
            <p:cNvSpPr/>
            <p:nvPr/>
          </p:nvSpPr>
          <p:spPr>
            <a:xfrm>
              <a:off x="9221637" y="545954"/>
              <a:ext cx="66240" cy="74520"/>
            </a:xfrm>
            <a:custGeom>
              <a:avLst/>
              <a:gdLst>
                <a:gd name="connsiteX0" fmla="*/ 61066 w 66240"/>
                <a:gd name="connsiteY0" fmla="*/ 68828 h 74520"/>
                <a:gd name="connsiteX1" fmla="*/ 36743 w 66240"/>
                <a:gd name="connsiteY1" fmla="*/ 74521 h 74520"/>
                <a:gd name="connsiteX2" fmla="*/ 0 w 66240"/>
                <a:gd name="connsiteY2" fmla="*/ 37605 h 74520"/>
                <a:gd name="connsiteX3" fmla="*/ 32775 w 66240"/>
                <a:gd name="connsiteY3" fmla="*/ 0 h 74520"/>
                <a:gd name="connsiteX4" fmla="*/ 66240 w 66240"/>
                <a:gd name="connsiteY4" fmla="*/ 42953 h 74520"/>
                <a:gd name="connsiteX5" fmla="*/ 17595 w 66240"/>
                <a:gd name="connsiteY5" fmla="*/ 42953 h 74520"/>
                <a:gd name="connsiteX6" fmla="*/ 37605 w 66240"/>
                <a:gd name="connsiteY6" fmla="*/ 60893 h 74520"/>
                <a:gd name="connsiteX7" fmla="*/ 61066 w 66240"/>
                <a:gd name="connsiteY7" fmla="*/ 53648 h 74520"/>
                <a:gd name="connsiteX8" fmla="*/ 61066 w 66240"/>
                <a:gd name="connsiteY8" fmla="*/ 68828 h 74520"/>
                <a:gd name="connsiteX9" fmla="*/ 61066 w 66240"/>
                <a:gd name="connsiteY9" fmla="*/ 68828 h 74520"/>
                <a:gd name="connsiteX10" fmla="*/ 61066 w 66240"/>
                <a:gd name="connsiteY10" fmla="*/ 68828 h 74520"/>
                <a:gd name="connsiteX11" fmla="*/ 48645 w 66240"/>
                <a:gd name="connsiteY11" fmla="*/ 30188 h 74520"/>
                <a:gd name="connsiteX12" fmla="*/ 33638 w 66240"/>
                <a:gd name="connsiteY12" fmla="*/ 13628 h 74520"/>
                <a:gd name="connsiteX13" fmla="*/ 17423 w 66240"/>
                <a:gd name="connsiteY13" fmla="*/ 30188 h 74520"/>
                <a:gd name="connsiteX14" fmla="*/ 48645 w 66240"/>
                <a:gd name="connsiteY14" fmla="*/ 30188 h 74520"/>
                <a:gd name="connsiteX15" fmla="*/ 48645 w 66240"/>
                <a:gd name="connsiteY15" fmla="*/ 30188 h 74520"/>
                <a:gd name="connsiteX16" fmla="*/ 48645 w 66240"/>
                <a:gd name="connsiteY16" fmla="*/ 30188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40" h="74520">
                  <a:moveTo>
                    <a:pt x="61066" y="68828"/>
                  </a:moveTo>
                  <a:cubicBezTo>
                    <a:pt x="54338" y="72623"/>
                    <a:pt x="46748" y="74521"/>
                    <a:pt x="36743" y="74521"/>
                  </a:cubicBezTo>
                  <a:cubicBezTo>
                    <a:pt x="13455" y="74521"/>
                    <a:pt x="0" y="60893"/>
                    <a:pt x="0" y="37605"/>
                  </a:cubicBezTo>
                  <a:cubicBezTo>
                    <a:pt x="0" y="16905"/>
                    <a:pt x="10695" y="0"/>
                    <a:pt x="32775" y="0"/>
                  </a:cubicBezTo>
                  <a:cubicBezTo>
                    <a:pt x="58995" y="0"/>
                    <a:pt x="66240" y="18113"/>
                    <a:pt x="66240" y="42953"/>
                  </a:cubicBezTo>
                  <a:lnTo>
                    <a:pt x="17595" y="42953"/>
                  </a:lnTo>
                  <a:cubicBezTo>
                    <a:pt x="18458" y="54510"/>
                    <a:pt x="26220" y="60893"/>
                    <a:pt x="37605" y="60893"/>
                  </a:cubicBezTo>
                  <a:cubicBezTo>
                    <a:pt x="46403" y="60893"/>
                    <a:pt x="53993" y="57443"/>
                    <a:pt x="61066" y="53648"/>
                  </a:cubicBezTo>
                  <a:lnTo>
                    <a:pt x="61066" y="68828"/>
                  </a:lnTo>
                  <a:lnTo>
                    <a:pt x="61066" y="68828"/>
                  </a:lnTo>
                  <a:lnTo>
                    <a:pt x="61066" y="68828"/>
                  </a:lnTo>
                  <a:close/>
                  <a:moveTo>
                    <a:pt x="48645" y="30188"/>
                  </a:moveTo>
                  <a:cubicBezTo>
                    <a:pt x="47955" y="21218"/>
                    <a:pt x="43988" y="13628"/>
                    <a:pt x="33638" y="13628"/>
                  </a:cubicBezTo>
                  <a:cubicBezTo>
                    <a:pt x="23288" y="13628"/>
                    <a:pt x="18285" y="20873"/>
                    <a:pt x="17423" y="30188"/>
                  </a:cubicBezTo>
                  <a:lnTo>
                    <a:pt x="48645" y="30188"/>
                  </a:lnTo>
                  <a:lnTo>
                    <a:pt x="48645" y="30188"/>
                  </a:lnTo>
                  <a:lnTo>
                    <a:pt x="48645" y="301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2" name="Gráfico 1344">
              <a:extLst>
                <a:ext uri="{FF2B5EF4-FFF2-40B4-BE49-F238E27FC236}">
                  <a16:creationId xmlns:a16="http://schemas.microsoft.com/office/drawing/2014/main" id="{5FABCECD-3F97-43EB-83A4-2C6CDB5F75E3}"/>
                </a:ext>
              </a:extLst>
            </p:cNvPr>
            <p:cNvSpPr/>
            <p:nvPr/>
          </p:nvSpPr>
          <p:spPr>
            <a:xfrm>
              <a:off x="9302194" y="545954"/>
              <a:ext cx="41572" cy="74520"/>
            </a:xfrm>
            <a:custGeom>
              <a:avLst/>
              <a:gdLst>
                <a:gd name="connsiteX0" fmla="*/ 345 w 41572"/>
                <a:gd name="connsiteY0" fmla="*/ 1725 h 74520"/>
                <a:gd name="connsiteX1" fmla="*/ 16561 w 41572"/>
                <a:gd name="connsiteY1" fmla="*/ 1725 h 74520"/>
                <a:gd name="connsiteX2" fmla="*/ 16561 w 41572"/>
                <a:gd name="connsiteY2" fmla="*/ 18285 h 74520"/>
                <a:gd name="connsiteX3" fmla="*/ 16733 w 41572"/>
                <a:gd name="connsiteY3" fmla="*/ 18285 h 74520"/>
                <a:gd name="connsiteX4" fmla="*/ 35881 w 41572"/>
                <a:gd name="connsiteY4" fmla="*/ 0 h 74520"/>
                <a:gd name="connsiteX5" fmla="*/ 41573 w 41572"/>
                <a:gd name="connsiteY5" fmla="*/ 690 h 74520"/>
                <a:gd name="connsiteX6" fmla="*/ 41573 w 41572"/>
                <a:gd name="connsiteY6" fmla="*/ 19838 h 74520"/>
                <a:gd name="connsiteX7" fmla="*/ 33293 w 41572"/>
                <a:gd name="connsiteY7" fmla="*/ 18285 h 74520"/>
                <a:gd name="connsiteX8" fmla="*/ 18458 w 41572"/>
                <a:gd name="connsiteY8" fmla="*/ 47783 h 74520"/>
                <a:gd name="connsiteX9" fmla="*/ 18458 w 41572"/>
                <a:gd name="connsiteY9" fmla="*/ 74521 h 74520"/>
                <a:gd name="connsiteX10" fmla="*/ 0 w 41572"/>
                <a:gd name="connsiteY10" fmla="*/ 74521 h 74520"/>
                <a:gd name="connsiteX11" fmla="*/ 0 w 41572"/>
                <a:gd name="connsiteY11" fmla="*/ 1725 h 74520"/>
                <a:gd name="connsiteX12" fmla="*/ 345 w 41572"/>
                <a:gd name="connsiteY12" fmla="*/ 1725 h 74520"/>
                <a:gd name="connsiteX13" fmla="*/ 345 w 41572"/>
                <a:gd name="connsiteY13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72" h="74520">
                  <a:moveTo>
                    <a:pt x="345" y="1725"/>
                  </a:moveTo>
                  <a:lnTo>
                    <a:pt x="16561" y="1725"/>
                  </a:lnTo>
                  <a:lnTo>
                    <a:pt x="16561" y="18285"/>
                  </a:lnTo>
                  <a:lnTo>
                    <a:pt x="16733" y="18285"/>
                  </a:lnTo>
                  <a:cubicBezTo>
                    <a:pt x="17595" y="11558"/>
                    <a:pt x="25186" y="0"/>
                    <a:pt x="35881" y="0"/>
                  </a:cubicBezTo>
                  <a:cubicBezTo>
                    <a:pt x="37606" y="0"/>
                    <a:pt x="39503" y="0"/>
                    <a:pt x="41573" y="690"/>
                  </a:cubicBezTo>
                  <a:lnTo>
                    <a:pt x="41573" y="19838"/>
                  </a:lnTo>
                  <a:cubicBezTo>
                    <a:pt x="39848" y="18803"/>
                    <a:pt x="36743" y="18285"/>
                    <a:pt x="33293" y="18285"/>
                  </a:cubicBezTo>
                  <a:cubicBezTo>
                    <a:pt x="18458" y="18285"/>
                    <a:pt x="18458" y="37433"/>
                    <a:pt x="18458" y="47783"/>
                  </a:cubicBezTo>
                  <a:lnTo>
                    <a:pt x="18458" y="74521"/>
                  </a:lnTo>
                  <a:lnTo>
                    <a:pt x="0" y="74521"/>
                  </a:lnTo>
                  <a:lnTo>
                    <a:pt x="0" y="1725"/>
                  </a:lnTo>
                  <a:lnTo>
                    <a:pt x="345" y="1725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3" name="Gráfico 1344">
              <a:extLst>
                <a:ext uri="{FF2B5EF4-FFF2-40B4-BE49-F238E27FC236}">
                  <a16:creationId xmlns:a16="http://schemas.microsoft.com/office/drawing/2014/main" id="{FBD179A4-F476-4B5F-BA6A-01585EFEE155}"/>
                </a:ext>
              </a:extLst>
            </p:cNvPr>
            <p:cNvSpPr/>
            <p:nvPr/>
          </p:nvSpPr>
          <p:spPr>
            <a:xfrm>
              <a:off x="9356360" y="545954"/>
              <a:ext cx="105398" cy="74520"/>
            </a:xfrm>
            <a:custGeom>
              <a:avLst/>
              <a:gdLst>
                <a:gd name="connsiteX0" fmla="*/ 0 w 105398"/>
                <a:gd name="connsiteY0" fmla="*/ 1553 h 74520"/>
                <a:gd name="connsiteX1" fmla="*/ 17423 w 105398"/>
                <a:gd name="connsiteY1" fmla="*/ 1553 h 74520"/>
                <a:gd name="connsiteX2" fmla="*/ 17423 w 105398"/>
                <a:gd name="connsiteY2" fmla="*/ 11730 h 74520"/>
                <a:gd name="connsiteX3" fmla="*/ 17595 w 105398"/>
                <a:gd name="connsiteY3" fmla="*/ 11730 h 74520"/>
                <a:gd name="connsiteX4" fmla="*/ 38813 w 105398"/>
                <a:gd name="connsiteY4" fmla="*/ 0 h 74520"/>
                <a:gd name="connsiteX5" fmla="*/ 60031 w 105398"/>
                <a:gd name="connsiteY5" fmla="*/ 12938 h 74520"/>
                <a:gd name="connsiteX6" fmla="*/ 82628 w 105398"/>
                <a:gd name="connsiteY6" fmla="*/ 0 h 74520"/>
                <a:gd name="connsiteX7" fmla="*/ 105398 w 105398"/>
                <a:gd name="connsiteY7" fmla="*/ 28463 h 74520"/>
                <a:gd name="connsiteX8" fmla="*/ 105398 w 105398"/>
                <a:gd name="connsiteY8" fmla="*/ 74521 h 74520"/>
                <a:gd name="connsiteX9" fmla="*/ 86768 w 105398"/>
                <a:gd name="connsiteY9" fmla="*/ 74521 h 74520"/>
                <a:gd name="connsiteX10" fmla="*/ 86768 w 105398"/>
                <a:gd name="connsiteY10" fmla="*/ 31223 h 74520"/>
                <a:gd name="connsiteX11" fmla="*/ 76073 w 105398"/>
                <a:gd name="connsiteY11" fmla="*/ 14835 h 74520"/>
                <a:gd name="connsiteX12" fmla="*/ 62101 w 105398"/>
                <a:gd name="connsiteY12" fmla="*/ 39158 h 74520"/>
                <a:gd name="connsiteX13" fmla="*/ 62101 w 105398"/>
                <a:gd name="connsiteY13" fmla="*/ 74521 h 74520"/>
                <a:gd name="connsiteX14" fmla="*/ 43470 w 105398"/>
                <a:gd name="connsiteY14" fmla="*/ 74521 h 74520"/>
                <a:gd name="connsiteX15" fmla="*/ 43470 w 105398"/>
                <a:gd name="connsiteY15" fmla="*/ 31223 h 74520"/>
                <a:gd name="connsiteX16" fmla="*/ 32775 w 105398"/>
                <a:gd name="connsiteY16" fmla="*/ 14835 h 74520"/>
                <a:gd name="connsiteX17" fmla="*/ 18803 w 105398"/>
                <a:gd name="connsiteY17" fmla="*/ 39158 h 74520"/>
                <a:gd name="connsiteX18" fmla="*/ 18803 w 105398"/>
                <a:gd name="connsiteY18" fmla="*/ 74521 h 74520"/>
                <a:gd name="connsiteX19" fmla="*/ 0 w 105398"/>
                <a:gd name="connsiteY19" fmla="*/ 74521 h 74520"/>
                <a:gd name="connsiteX20" fmla="*/ 0 w 105398"/>
                <a:gd name="connsiteY20" fmla="*/ 1553 h 74520"/>
                <a:gd name="connsiteX21" fmla="*/ 0 w 105398"/>
                <a:gd name="connsiteY21" fmla="*/ 1553 h 74520"/>
                <a:gd name="connsiteX22" fmla="*/ 0 w 105398"/>
                <a:gd name="connsiteY22" fmla="*/ 155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5398" h="74520">
                  <a:moveTo>
                    <a:pt x="0" y="1553"/>
                  </a:moveTo>
                  <a:lnTo>
                    <a:pt x="17423" y="1553"/>
                  </a:lnTo>
                  <a:lnTo>
                    <a:pt x="17423" y="11730"/>
                  </a:lnTo>
                  <a:lnTo>
                    <a:pt x="17595" y="11730"/>
                  </a:lnTo>
                  <a:cubicBezTo>
                    <a:pt x="23460" y="2760"/>
                    <a:pt x="32085" y="0"/>
                    <a:pt x="38813" y="0"/>
                  </a:cubicBezTo>
                  <a:cubicBezTo>
                    <a:pt x="48990" y="0"/>
                    <a:pt x="56063" y="3623"/>
                    <a:pt x="60031" y="12938"/>
                  </a:cubicBezTo>
                  <a:cubicBezTo>
                    <a:pt x="64343" y="4140"/>
                    <a:pt x="73831" y="0"/>
                    <a:pt x="82628" y="0"/>
                  </a:cubicBezTo>
                  <a:cubicBezTo>
                    <a:pt x="100223" y="0"/>
                    <a:pt x="105398" y="12420"/>
                    <a:pt x="105398" y="28463"/>
                  </a:cubicBezTo>
                  <a:lnTo>
                    <a:pt x="105398" y="74521"/>
                  </a:lnTo>
                  <a:lnTo>
                    <a:pt x="86768" y="74521"/>
                  </a:lnTo>
                  <a:lnTo>
                    <a:pt x="86768" y="31223"/>
                  </a:lnTo>
                  <a:cubicBezTo>
                    <a:pt x="86768" y="24495"/>
                    <a:pt x="86768" y="14835"/>
                    <a:pt x="76073" y="14835"/>
                  </a:cubicBezTo>
                  <a:cubicBezTo>
                    <a:pt x="63653" y="14835"/>
                    <a:pt x="62101" y="29843"/>
                    <a:pt x="62101" y="39158"/>
                  </a:cubicBezTo>
                  <a:lnTo>
                    <a:pt x="62101" y="74521"/>
                  </a:lnTo>
                  <a:lnTo>
                    <a:pt x="43470" y="74521"/>
                  </a:lnTo>
                  <a:lnTo>
                    <a:pt x="43470" y="31223"/>
                  </a:lnTo>
                  <a:cubicBezTo>
                    <a:pt x="43470" y="24495"/>
                    <a:pt x="43470" y="14835"/>
                    <a:pt x="32775" y="14835"/>
                  </a:cubicBezTo>
                  <a:cubicBezTo>
                    <a:pt x="20355" y="14835"/>
                    <a:pt x="18803" y="29843"/>
                    <a:pt x="18803" y="39158"/>
                  </a:cubicBezTo>
                  <a:lnTo>
                    <a:pt x="18803" y="74521"/>
                  </a:lnTo>
                  <a:lnTo>
                    <a:pt x="0" y="74521"/>
                  </a:lnTo>
                  <a:lnTo>
                    <a:pt x="0" y="1553"/>
                  </a:lnTo>
                  <a:lnTo>
                    <a:pt x="0" y="1553"/>
                  </a:lnTo>
                  <a:lnTo>
                    <a:pt x="0" y="155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4" name="Gráfico 1344">
              <a:extLst>
                <a:ext uri="{FF2B5EF4-FFF2-40B4-BE49-F238E27FC236}">
                  <a16:creationId xmlns:a16="http://schemas.microsoft.com/office/drawing/2014/main" id="{30737501-BA7B-4E01-B887-FD30C3B31B0B}"/>
                </a:ext>
              </a:extLst>
            </p:cNvPr>
            <p:cNvSpPr/>
            <p:nvPr/>
          </p:nvSpPr>
          <p:spPr>
            <a:xfrm>
              <a:off x="9480561" y="516974"/>
              <a:ext cx="18629" cy="103500"/>
            </a:xfrm>
            <a:custGeom>
              <a:avLst/>
              <a:gdLst>
                <a:gd name="connsiteX0" fmla="*/ 0 w 18629"/>
                <a:gd name="connsiteY0" fmla="*/ 0 h 103500"/>
                <a:gd name="connsiteX1" fmla="*/ 18630 w 18629"/>
                <a:gd name="connsiteY1" fmla="*/ 0 h 103500"/>
                <a:gd name="connsiteX2" fmla="*/ 18630 w 18629"/>
                <a:gd name="connsiteY2" fmla="*/ 17940 h 103500"/>
                <a:gd name="connsiteX3" fmla="*/ 0 w 18629"/>
                <a:gd name="connsiteY3" fmla="*/ 17940 h 103500"/>
                <a:gd name="connsiteX4" fmla="*/ 0 w 18629"/>
                <a:gd name="connsiteY4" fmla="*/ 0 h 103500"/>
                <a:gd name="connsiteX5" fmla="*/ 0 w 18629"/>
                <a:gd name="connsiteY5" fmla="*/ 0 h 103500"/>
                <a:gd name="connsiteX6" fmla="*/ 0 w 18629"/>
                <a:gd name="connsiteY6" fmla="*/ 0 h 103500"/>
                <a:gd name="connsiteX7" fmla="*/ 0 w 18629"/>
                <a:gd name="connsiteY7" fmla="*/ 31223 h 103500"/>
                <a:gd name="connsiteX8" fmla="*/ 18630 w 18629"/>
                <a:gd name="connsiteY8" fmla="*/ 31223 h 103500"/>
                <a:gd name="connsiteX9" fmla="*/ 18630 w 18629"/>
                <a:gd name="connsiteY9" fmla="*/ 103501 h 103500"/>
                <a:gd name="connsiteX10" fmla="*/ 0 w 18629"/>
                <a:gd name="connsiteY10" fmla="*/ 103501 h 103500"/>
                <a:gd name="connsiteX11" fmla="*/ 0 w 18629"/>
                <a:gd name="connsiteY11" fmla="*/ 31223 h 103500"/>
                <a:gd name="connsiteX12" fmla="*/ 0 w 18629"/>
                <a:gd name="connsiteY12" fmla="*/ 31223 h 103500"/>
                <a:gd name="connsiteX13" fmla="*/ 0 w 18629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29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5" name="Gráfico 1344">
              <a:extLst>
                <a:ext uri="{FF2B5EF4-FFF2-40B4-BE49-F238E27FC236}">
                  <a16:creationId xmlns:a16="http://schemas.microsoft.com/office/drawing/2014/main" id="{9993AC1E-AF58-46C0-88F9-F8DA11E9CE6F}"/>
                </a:ext>
              </a:extLst>
            </p:cNvPr>
            <p:cNvSpPr/>
            <p:nvPr/>
          </p:nvSpPr>
          <p:spPr>
            <a:xfrm>
              <a:off x="9517821" y="545954"/>
              <a:ext cx="66068" cy="74520"/>
            </a:xfrm>
            <a:custGeom>
              <a:avLst/>
              <a:gdLst>
                <a:gd name="connsiteX0" fmla="*/ 173 w 66068"/>
                <a:gd name="connsiteY0" fmla="*/ 1725 h 74520"/>
                <a:gd name="connsiteX1" fmla="*/ 17768 w 66068"/>
                <a:gd name="connsiteY1" fmla="*/ 1725 h 74520"/>
                <a:gd name="connsiteX2" fmla="*/ 17768 w 66068"/>
                <a:gd name="connsiteY2" fmla="*/ 11558 h 74520"/>
                <a:gd name="connsiteX3" fmla="*/ 17940 w 66068"/>
                <a:gd name="connsiteY3" fmla="*/ 11558 h 74520"/>
                <a:gd name="connsiteX4" fmla="*/ 41573 w 66068"/>
                <a:gd name="connsiteY4" fmla="*/ 0 h 74520"/>
                <a:gd name="connsiteX5" fmla="*/ 66068 w 66068"/>
                <a:gd name="connsiteY5" fmla="*/ 28463 h 74520"/>
                <a:gd name="connsiteX6" fmla="*/ 66068 w 66068"/>
                <a:gd name="connsiteY6" fmla="*/ 74521 h 74520"/>
                <a:gd name="connsiteX7" fmla="*/ 47438 w 66068"/>
                <a:gd name="connsiteY7" fmla="*/ 74521 h 74520"/>
                <a:gd name="connsiteX8" fmla="*/ 47438 w 66068"/>
                <a:gd name="connsiteY8" fmla="*/ 35708 h 74520"/>
                <a:gd name="connsiteX9" fmla="*/ 35190 w 66068"/>
                <a:gd name="connsiteY9" fmla="*/ 14835 h 74520"/>
                <a:gd name="connsiteX10" fmla="*/ 18630 w 66068"/>
                <a:gd name="connsiteY10" fmla="*/ 38985 h 74520"/>
                <a:gd name="connsiteX11" fmla="*/ 18630 w 66068"/>
                <a:gd name="connsiteY11" fmla="*/ 74521 h 74520"/>
                <a:gd name="connsiteX12" fmla="*/ 0 w 66068"/>
                <a:gd name="connsiteY12" fmla="*/ 74521 h 74520"/>
                <a:gd name="connsiteX13" fmla="*/ 0 w 66068"/>
                <a:gd name="connsiteY13" fmla="*/ 1725 h 74520"/>
                <a:gd name="connsiteX14" fmla="*/ 173 w 66068"/>
                <a:gd name="connsiteY14" fmla="*/ 1725 h 74520"/>
                <a:gd name="connsiteX15" fmla="*/ 173 w 66068"/>
                <a:gd name="connsiteY15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068" h="74520">
                  <a:moveTo>
                    <a:pt x="173" y="1725"/>
                  </a:moveTo>
                  <a:lnTo>
                    <a:pt x="17768" y="1725"/>
                  </a:lnTo>
                  <a:lnTo>
                    <a:pt x="17768" y="11558"/>
                  </a:lnTo>
                  <a:lnTo>
                    <a:pt x="17940" y="11558"/>
                  </a:lnTo>
                  <a:cubicBezTo>
                    <a:pt x="23805" y="3278"/>
                    <a:pt x="31741" y="0"/>
                    <a:pt x="41573" y="0"/>
                  </a:cubicBezTo>
                  <a:cubicBezTo>
                    <a:pt x="58478" y="0"/>
                    <a:pt x="66068" y="12248"/>
                    <a:pt x="66068" y="28463"/>
                  </a:cubicBezTo>
                  <a:lnTo>
                    <a:pt x="66068" y="74521"/>
                  </a:lnTo>
                  <a:lnTo>
                    <a:pt x="47438" y="74521"/>
                  </a:lnTo>
                  <a:lnTo>
                    <a:pt x="47438" y="35708"/>
                  </a:lnTo>
                  <a:cubicBezTo>
                    <a:pt x="47438" y="26738"/>
                    <a:pt x="47266" y="14835"/>
                    <a:pt x="35190" y="14835"/>
                  </a:cubicBezTo>
                  <a:cubicBezTo>
                    <a:pt x="21563" y="14835"/>
                    <a:pt x="18630" y="29670"/>
                    <a:pt x="18630" y="38985"/>
                  </a:cubicBezTo>
                  <a:lnTo>
                    <a:pt x="18630" y="74521"/>
                  </a:lnTo>
                  <a:lnTo>
                    <a:pt x="0" y="74521"/>
                  </a:lnTo>
                  <a:lnTo>
                    <a:pt x="0" y="1725"/>
                  </a:lnTo>
                  <a:lnTo>
                    <a:pt x="173" y="1725"/>
                  </a:lnTo>
                  <a:lnTo>
                    <a:pt x="173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6" name="Gráfico 1344">
              <a:extLst>
                <a:ext uri="{FF2B5EF4-FFF2-40B4-BE49-F238E27FC236}">
                  <a16:creationId xmlns:a16="http://schemas.microsoft.com/office/drawing/2014/main" id="{30ABE314-0AA5-4C1B-9833-C375A1995917}"/>
                </a:ext>
              </a:extLst>
            </p:cNvPr>
            <p:cNvSpPr/>
            <p:nvPr/>
          </p:nvSpPr>
          <p:spPr>
            <a:xfrm>
              <a:off x="9598552" y="545954"/>
              <a:ext cx="64170" cy="74348"/>
            </a:xfrm>
            <a:custGeom>
              <a:avLst/>
              <a:gdLst>
                <a:gd name="connsiteX0" fmla="*/ 7935 w 64170"/>
                <a:gd name="connsiteY0" fmla="*/ 5348 h 74348"/>
                <a:gd name="connsiteX1" fmla="*/ 32602 w 64170"/>
                <a:gd name="connsiteY1" fmla="*/ 0 h 74348"/>
                <a:gd name="connsiteX2" fmla="*/ 63136 w 64170"/>
                <a:gd name="connsiteY2" fmla="*/ 30015 h 74348"/>
                <a:gd name="connsiteX3" fmla="*/ 63136 w 64170"/>
                <a:gd name="connsiteY3" fmla="*/ 39158 h 74348"/>
                <a:gd name="connsiteX4" fmla="*/ 63308 w 64170"/>
                <a:gd name="connsiteY4" fmla="*/ 56925 h 74348"/>
                <a:gd name="connsiteX5" fmla="*/ 64170 w 64170"/>
                <a:gd name="connsiteY5" fmla="*/ 72796 h 74348"/>
                <a:gd name="connsiteX6" fmla="*/ 47783 w 64170"/>
                <a:gd name="connsiteY6" fmla="*/ 72796 h 74348"/>
                <a:gd name="connsiteX7" fmla="*/ 46920 w 64170"/>
                <a:gd name="connsiteY7" fmla="*/ 62101 h 74348"/>
                <a:gd name="connsiteX8" fmla="*/ 46748 w 64170"/>
                <a:gd name="connsiteY8" fmla="*/ 62101 h 74348"/>
                <a:gd name="connsiteX9" fmla="*/ 24840 w 64170"/>
                <a:gd name="connsiteY9" fmla="*/ 74348 h 74348"/>
                <a:gd name="connsiteX10" fmla="*/ 0 w 64170"/>
                <a:gd name="connsiteY10" fmla="*/ 53303 h 74348"/>
                <a:gd name="connsiteX11" fmla="*/ 12075 w 64170"/>
                <a:gd name="connsiteY11" fmla="*/ 33120 h 74348"/>
                <a:gd name="connsiteX12" fmla="*/ 35880 w 64170"/>
                <a:gd name="connsiteY12" fmla="*/ 29153 h 74348"/>
                <a:gd name="connsiteX13" fmla="*/ 46058 w 64170"/>
                <a:gd name="connsiteY13" fmla="*/ 29153 h 74348"/>
                <a:gd name="connsiteX14" fmla="*/ 30188 w 64170"/>
                <a:gd name="connsiteY14" fmla="*/ 13800 h 74348"/>
                <a:gd name="connsiteX15" fmla="*/ 8280 w 64170"/>
                <a:gd name="connsiteY15" fmla="*/ 21390 h 74348"/>
                <a:gd name="connsiteX16" fmla="*/ 7935 w 64170"/>
                <a:gd name="connsiteY16" fmla="*/ 5348 h 74348"/>
                <a:gd name="connsiteX17" fmla="*/ 7935 w 64170"/>
                <a:gd name="connsiteY17" fmla="*/ 5348 h 74348"/>
                <a:gd name="connsiteX18" fmla="*/ 7935 w 64170"/>
                <a:gd name="connsiteY18" fmla="*/ 5348 h 74348"/>
                <a:gd name="connsiteX19" fmla="*/ 29498 w 64170"/>
                <a:gd name="connsiteY19" fmla="*/ 60721 h 74348"/>
                <a:gd name="connsiteX20" fmla="*/ 42435 w 64170"/>
                <a:gd name="connsiteY20" fmla="*/ 54338 h 74348"/>
                <a:gd name="connsiteX21" fmla="*/ 46230 w 64170"/>
                <a:gd name="connsiteY21" fmla="*/ 39675 h 74348"/>
                <a:gd name="connsiteX22" fmla="*/ 38123 w 64170"/>
                <a:gd name="connsiteY22" fmla="*/ 39675 h 74348"/>
                <a:gd name="connsiteX23" fmla="*/ 17595 w 64170"/>
                <a:gd name="connsiteY23" fmla="*/ 51923 h 74348"/>
                <a:gd name="connsiteX24" fmla="*/ 29498 w 64170"/>
                <a:gd name="connsiteY24" fmla="*/ 60721 h 74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4348">
                  <a:moveTo>
                    <a:pt x="7935" y="5348"/>
                  </a:moveTo>
                  <a:cubicBezTo>
                    <a:pt x="15180" y="2243"/>
                    <a:pt x="24668" y="0"/>
                    <a:pt x="32602" y="0"/>
                  </a:cubicBezTo>
                  <a:cubicBezTo>
                    <a:pt x="54338" y="0"/>
                    <a:pt x="63136" y="8970"/>
                    <a:pt x="63136" y="30015"/>
                  </a:cubicBezTo>
                  <a:lnTo>
                    <a:pt x="63136" y="39158"/>
                  </a:lnTo>
                  <a:cubicBezTo>
                    <a:pt x="63136" y="46403"/>
                    <a:pt x="63308" y="51750"/>
                    <a:pt x="63308" y="56925"/>
                  </a:cubicBezTo>
                  <a:cubicBezTo>
                    <a:pt x="63480" y="62273"/>
                    <a:pt x="63653" y="67276"/>
                    <a:pt x="64170" y="72796"/>
                  </a:cubicBezTo>
                  <a:lnTo>
                    <a:pt x="47783" y="72796"/>
                  </a:lnTo>
                  <a:cubicBezTo>
                    <a:pt x="47093" y="69173"/>
                    <a:pt x="47093" y="64343"/>
                    <a:pt x="46920" y="62101"/>
                  </a:cubicBezTo>
                  <a:lnTo>
                    <a:pt x="46748" y="62101"/>
                  </a:lnTo>
                  <a:cubicBezTo>
                    <a:pt x="42435" y="70036"/>
                    <a:pt x="33120" y="74348"/>
                    <a:pt x="24840" y="74348"/>
                  </a:cubicBezTo>
                  <a:cubicBezTo>
                    <a:pt x="12247" y="74348"/>
                    <a:pt x="0" y="66758"/>
                    <a:pt x="0" y="53303"/>
                  </a:cubicBezTo>
                  <a:cubicBezTo>
                    <a:pt x="0" y="42608"/>
                    <a:pt x="5175" y="36570"/>
                    <a:pt x="12075" y="33120"/>
                  </a:cubicBezTo>
                  <a:cubicBezTo>
                    <a:pt x="19147" y="29670"/>
                    <a:pt x="28290" y="29153"/>
                    <a:pt x="35880" y="29153"/>
                  </a:cubicBezTo>
                  <a:lnTo>
                    <a:pt x="46058" y="29153"/>
                  </a:lnTo>
                  <a:cubicBezTo>
                    <a:pt x="46058" y="17768"/>
                    <a:pt x="40883" y="13800"/>
                    <a:pt x="30188" y="13800"/>
                  </a:cubicBezTo>
                  <a:cubicBezTo>
                    <a:pt x="22252" y="13800"/>
                    <a:pt x="14490" y="16733"/>
                    <a:pt x="8280" y="21390"/>
                  </a:cubicBezTo>
                  <a:lnTo>
                    <a:pt x="7935" y="5348"/>
                  </a:lnTo>
                  <a:lnTo>
                    <a:pt x="7935" y="5348"/>
                  </a:lnTo>
                  <a:lnTo>
                    <a:pt x="7935" y="5348"/>
                  </a:lnTo>
                  <a:close/>
                  <a:moveTo>
                    <a:pt x="29498" y="60721"/>
                  </a:moveTo>
                  <a:cubicBezTo>
                    <a:pt x="35190" y="60721"/>
                    <a:pt x="39502" y="58133"/>
                    <a:pt x="42435" y="54338"/>
                  </a:cubicBezTo>
                  <a:cubicBezTo>
                    <a:pt x="45368" y="50370"/>
                    <a:pt x="46230" y="45195"/>
                    <a:pt x="46230" y="39675"/>
                  </a:cubicBezTo>
                  <a:lnTo>
                    <a:pt x="38123" y="39675"/>
                  </a:lnTo>
                  <a:cubicBezTo>
                    <a:pt x="29842" y="39675"/>
                    <a:pt x="17595" y="41228"/>
                    <a:pt x="17595" y="51923"/>
                  </a:cubicBezTo>
                  <a:cubicBezTo>
                    <a:pt x="17768" y="58133"/>
                    <a:pt x="22942" y="60721"/>
                    <a:pt x="29498" y="60721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7" name="Gráfico 1344">
              <a:extLst>
                <a:ext uri="{FF2B5EF4-FFF2-40B4-BE49-F238E27FC236}">
                  <a16:creationId xmlns:a16="http://schemas.microsoft.com/office/drawing/2014/main" id="{A72140B6-1B26-4AEC-A79E-5AB5C89D61B9}"/>
                </a:ext>
              </a:extLst>
            </p:cNvPr>
            <p:cNvSpPr/>
            <p:nvPr/>
          </p:nvSpPr>
          <p:spPr>
            <a:xfrm>
              <a:off x="9679282" y="514904"/>
              <a:ext cx="18629" cy="105570"/>
            </a:xfrm>
            <a:custGeom>
              <a:avLst/>
              <a:gdLst>
                <a:gd name="connsiteX0" fmla="*/ 0 w 18629"/>
                <a:gd name="connsiteY0" fmla="*/ 0 h 105570"/>
                <a:gd name="connsiteX1" fmla="*/ 18630 w 18629"/>
                <a:gd name="connsiteY1" fmla="*/ 0 h 105570"/>
                <a:gd name="connsiteX2" fmla="*/ 18630 w 18629"/>
                <a:gd name="connsiteY2" fmla="*/ 105571 h 105570"/>
                <a:gd name="connsiteX3" fmla="*/ 0 w 18629"/>
                <a:gd name="connsiteY3" fmla="*/ 105571 h 105570"/>
                <a:gd name="connsiteX4" fmla="*/ 0 w 18629"/>
                <a:gd name="connsiteY4" fmla="*/ 0 h 10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29" h="105570">
                  <a:moveTo>
                    <a:pt x="0" y="0"/>
                  </a:moveTo>
                  <a:lnTo>
                    <a:pt x="18630" y="0"/>
                  </a:lnTo>
                  <a:lnTo>
                    <a:pt x="18630" y="105571"/>
                  </a:lnTo>
                  <a:lnTo>
                    <a:pt x="0" y="1055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8" name="Gráfico 1344">
              <a:extLst>
                <a:ext uri="{FF2B5EF4-FFF2-40B4-BE49-F238E27FC236}">
                  <a16:creationId xmlns:a16="http://schemas.microsoft.com/office/drawing/2014/main" id="{19125CB7-7265-449E-84D4-EF587FADAC49}"/>
                </a:ext>
              </a:extLst>
            </p:cNvPr>
            <p:cNvSpPr/>
            <p:nvPr/>
          </p:nvSpPr>
          <p:spPr>
            <a:xfrm>
              <a:off x="9755873" y="523184"/>
              <a:ext cx="66240" cy="97290"/>
            </a:xfrm>
            <a:custGeom>
              <a:avLst/>
              <a:gdLst>
                <a:gd name="connsiteX0" fmla="*/ 0 w 66240"/>
                <a:gd name="connsiteY0" fmla="*/ 0 h 97290"/>
                <a:gd name="connsiteX1" fmla="*/ 25012 w 66240"/>
                <a:gd name="connsiteY1" fmla="*/ 0 h 97290"/>
                <a:gd name="connsiteX2" fmla="*/ 66240 w 66240"/>
                <a:gd name="connsiteY2" fmla="*/ 29498 h 97290"/>
                <a:gd name="connsiteX3" fmla="*/ 28290 w 66240"/>
                <a:gd name="connsiteY3" fmla="*/ 60375 h 97290"/>
                <a:gd name="connsiteX4" fmla="*/ 20010 w 66240"/>
                <a:gd name="connsiteY4" fmla="*/ 60375 h 97290"/>
                <a:gd name="connsiteX5" fmla="*/ 20010 w 66240"/>
                <a:gd name="connsiteY5" fmla="*/ 97291 h 97290"/>
                <a:gd name="connsiteX6" fmla="*/ 173 w 66240"/>
                <a:gd name="connsiteY6" fmla="*/ 97291 h 97290"/>
                <a:gd name="connsiteX7" fmla="*/ 173 w 66240"/>
                <a:gd name="connsiteY7" fmla="*/ 0 h 97290"/>
                <a:gd name="connsiteX8" fmla="*/ 0 w 66240"/>
                <a:gd name="connsiteY8" fmla="*/ 0 h 97290"/>
                <a:gd name="connsiteX9" fmla="*/ 0 w 66240"/>
                <a:gd name="connsiteY9" fmla="*/ 0 h 97290"/>
                <a:gd name="connsiteX10" fmla="*/ 19838 w 66240"/>
                <a:gd name="connsiteY10" fmla="*/ 44850 h 97290"/>
                <a:gd name="connsiteX11" fmla="*/ 26737 w 66240"/>
                <a:gd name="connsiteY11" fmla="*/ 44850 h 97290"/>
                <a:gd name="connsiteX12" fmla="*/ 45540 w 66240"/>
                <a:gd name="connsiteY12" fmla="*/ 30533 h 97290"/>
                <a:gd name="connsiteX13" fmla="*/ 26737 w 66240"/>
                <a:gd name="connsiteY13" fmla="*/ 15353 h 97290"/>
                <a:gd name="connsiteX14" fmla="*/ 19838 w 66240"/>
                <a:gd name="connsiteY14" fmla="*/ 15353 h 97290"/>
                <a:gd name="connsiteX15" fmla="*/ 19838 w 66240"/>
                <a:gd name="connsiteY15" fmla="*/ 44850 h 97290"/>
                <a:gd name="connsiteX16" fmla="*/ 19838 w 66240"/>
                <a:gd name="connsiteY16" fmla="*/ 44850 h 97290"/>
                <a:gd name="connsiteX17" fmla="*/ 19838 w 66240"/>
                <a:gd name="connsiteY17" fmla="*/ 4485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97290">
                  <a:moveTo>
                    <a:pt x="0" y="0"/>
                  </a:moveTo>
                  <a:lnTo>
                    <a:pt x="25012" y="0"/>
                  </a:lnTo>
                  <a:cubicBezTo>
                    <a:pt x="46575" y="0"/>
                    <a:pt x="66240" y="6210"/>
                    <a:pt x="66240" y="29498"/>
                  </a:cubicBezTo>
                  <a:cubicBezTo>
                    <a:pt x="66240" y="52268"/>
                    <a:pt x="49508" y="60375"/>
                    <a:pt x="28290" y="60375"/>
                  </a:cubicBezTo>
                  <a:lnTo>
                    <a:pt x="20010" y="60375"/>
                  </a:lnTo>
                  <a:lnTo>
                    <a:pt x="20010" y="97291"/>
                  </a:lnTo>
                  <a:lnTo>
                    <a:pt x="173" y="97291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19838" y="44850"/>
                  </a:moveTo>
                  <a:lnTo>
                    <a:pt x="26737" y="44850"/>
                  </a:lnTo>
                  <a:cubicBezTo>
                    <a:pt x="36743" y="44850"/>
                    <a:pt x="45540" y="41573"/>
                    <a:pt x="45540" y="30533"/>
                  </a:cubicBezTo>
                  <a:cubicBezTo>
                    <a:pt x="45540" y="19148"/>
                    <a:pt x="36743" y="15353"/>
                    <a:pt x="26737" y="15353"/>
                  </a:cubicBezTo>
                  <a:lnTo>
                    <a:pt x="19838" y="15353"/>
                  </a:lnTo>
                  <a:lnTo>
                    <a:pt x="19838" y="44850"/>
                  </a:lnTo>
                  <a:lnTo>
                    <a:pt x="19838" y="44850"/>
                  </a:lnTo>
                  <a:lnTo>
                    <a:pt x="19838" y="4485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29" name="Gráfico 1344">
              <a:extLst>
                <a:ext uri="{FF2B5EF4-FFF2-40B4-BE49-F238E27FC236}">
                  <a16:creationId xmlns:a16="http://schemas.microsoft.com/office/drawing/2014/main" id="{04FFED34-4BB6-45DE-84FE-3237C70FA3F2}"/>
                </a:ext>
              </a:extLst>
            </p:cNvPr>
            <p:cNvSpPr/>
            <p:nvPr/>
          </p:nvSpPr>
          <p:spPr>
            <a:xfrm>
              <a:off x="9828323" y="545954"/>
              <a:ext cx="74520" cy="74520"/>
            </a:xfrm>
            <a:custGeom>
              <a:avLst/>
              <a:gdLst>
                <a:gd name="connsiteX0" fmla="*/ 37260 w 74520"/>
                <a:gd name="connsiteY0" fmla="*/ 0 h 74520"/>
                <a:gd name="connsiteX1" fmla="*/ 74521 w 74520"/>
                <a:gd name="connsiteY1" fmla="*/ 37605 h 74520"/>
                <a:gd name="connsiteX2" fmla="*/ 37260 w 74520"/>
                <a:gd name="connsiteY2" fmla="*/ 74521 h 74520"/>
                <a:gd name="connsiteX3" fmla="*/ 0 w 74520"/>
                <a:gd name="connsiteY3" fmla="*/ 37605 h 74520"/>
                <a:gd name="connsiteX4" fmla="*/ 37260 w 74520"/>
                <a:gd name="connsiteY4" fmla="*/ 0 h 74520"/>
                <a:gd name="connsiteX5" fmla="*/ 37260 w 74520"/>
                <a:gd name="connsiteY5" fmla="*/ 60030 h 74520"/>
                <a:gd name="connsiteX6" fmla="*/ 55201 w 74520"/>
                <a:gd name="connsiteY6" fmla="*/ 35535 h 74520"/>
                <a:gd name="connsiteX7" fmla="*/ 37260 w 74520"/>
                <a:gd name="connsiteY7" fmla="*/ 14490 h 74520"/>
                <a:gd name="connsiteX8" fmla="*/ 19321 w 74520"/>
                <a:gd name="connsiteY8" fmla="*/ 35535 h 74520"/>
                <a:gd name="connsiteX9" fmla="*/ 37260 w 74520"/>
                <a:gd name="connsiteY9" fmla="*/ 6003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0" y="0"/>
                  </a:moveTo>
                  <a:cubicBezTo>
                    <a:pt x="58306" y="0"/>
                    <a:pt x="74521" y="14318"/>
                    <a:pt x="74521" y="37605"/>
                  </a:cubicBezTo>
                  <a:cubicBezTo>
                    <a:pt x="74521" y="57960"/>
                    <a:pt x="60893" y="74521"/>
                    <a:pt x="37260" y="74521"/>
                  </a:cubicBezTo>
                  <a:cubicBezTo>
                    <a:pt x="13800" y="74521"/>
                    <a:pt x="0" y="58133"/>
                    <a:pt x="0" y="37605"/>
                  </a:cubicBezTo>
                  <a:cubicBezTo>
                    <a:pt x="0" y="14318"/>
                    <a:pt x="16215" y="0"/>
                    <a:pt x="37260" y="0"/>
                  </a:cubicBezTo>
                  <a:moveTo>
                    <a:pt x="37260" y="60030"/>
                  </a:moveTo>
                  <a:cubicBezTo>
                    <a:pt x="51578" y="60030"/>
                    <a:pt x="55201" y="47265"/>
                    <a:pt x="55201" y="35535"/>
                  </a:cubicBezTo>
                  <a:cubicBezTo>
                    <a:pt x="55201" y="24668"/>
                    <a:pt x="49508" y="14490"/>
                    <a:pt x="37260" y="14490"/>
                  </a:cubicBezTo>
                  <a:cubicBezTo>
                    <a:pt x="25358" y="14490"/>
                    <a:pt x="19321" y="24840"/>
                    <a:pt x="19321" y="35535"/>
                  </a:cubicBezTo>
                  <a:cubicBezTo>
                    <a:pt x="19321" y="47265"/>
                    <a:pt x="22943" y="60030"/>
                    <a:pt x="37260" y="60030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0" name="Gráfico 1344">
              <a:extLst>
                <a:ext uri="{FF2B5EF4-FFF2-40B4-BE49-F238E27FC236}">
                  <a16:creationId xmlns:a16="http://schemas.microsoft.com/office/drawing/2014/main" id="{9C9C2B86-1F1A-4427-A77E-C0171EB0FA54}"/>
                </a:ext>
              </a:extLst>
            </p:cNvPr>
            <p:cNvSpPr/>
            <p:nvPr/>
          </p:nvSpPr>
          <p:spPr>
            <a:xfrm>
              <a:off x="9917162" y="545954"/>
              <a:ext cx="43470" cy="74520"/>
            </a:xfrm>
            <a:custGeom>
              <a:avLst/>
              <a:gdLst>
                <a:gd name="connsiteX0" fmla="*/ 345 w 43470"/>
                <a:gd name="connsiteY0" fmla="*/ 1725 h 74520"/>
                <a:gd name="connsiteX1" fmla="*/ 17250 w 43470"/>
                <a:gd name="connsiteY1" fmla="*/ 1725 h 74520"/>
                <a:gd name="connsiteX2" fmla="*/ 17250 w 43470"/>
                <a:gd name="connsiteY2" fmla="*/ 18285 h 74520"/>
                <a:gd name="connsiteX3" fmla="*/ 17422 w 43470"/>
                <a:gd name="connsiteY3" fmla="*/ 18285 h 74520"/>
                <a:gd name="connsiteX4" fmla="*/ 37432 w 43470"/>
                <a:gd name="connsiteY4" fmla="*/ 0 h 74520"/>
                <a:gd name="connsiteX5" fmla="*/ 43470 w 43470"/>
                <a:gd name="connsiteY5" fmla="*/ 690 h 74520"/>
                <a:gd name="connsiteX6" fmla="*/ 43470 w 43470"/>
                <a:gd name="connsiteY6" fmla="*/ 19838 h 74520"/>
                <a:gd name="connsiteX7" fmla="*/ 34845 w 43470"/>
                <a:gd name="connsiteY7" fmla="*/ 18285 h 74520"/>
                <a:gd name="connsiteX8" fmla="*/ 19147 w 43470"/>
                <a:gd name="connsiteY8" fmla="*/ 47783 h 74520"/>
                <a:gd name="connsiteX9" fmla="*/ 19147 w 43470"/>
                <a:gd name="connsiteY9" fmla="*/ 74521 h 74520"/>
                <a:gd name="connsiteX10" fmla="*/ 0 w 43470"/>
                <a:gd name="connsiteY10" fmla="*/ 74521 h 74520"/>
                <a:gd name="connsiteX11" fmla="*/ 0 w 43470"/>
                <a:gd name="connsiteY11" fmla="*/ 1725 h 74520"/>
                <a:gd name="connsiteX12" fmla="*/ 345 w 43470"/>
                <a:gd name="connsiteY12" fmla="*/ 1725 h 74520"/>
                <a:gd name="connsiteX13" fmla="*/ 345 w 43470"/>
                <a:gd name="connsiteY13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70" h="74520">
                  <a:moveTo>
                    <a:pt x="345" y="1725"/>
                  </a:moveTo>
                  <a:lnTo>
                    <a:pt x="17250" y="1725"/>
                  </a:lnTo>
                  <a:lnTo>
                    <a:pt x="17250" y="18285"/>
                  </a:lnTo>
                  <a:lnTo>
                    <a:pt x="17422" y="18285"/>
                  </a:lnTo>
                  <a:cubicBezTo>
                    <a:pt x="18285" y="11558"/>
                    <a:pt x="26220" y="0"/>
                    <a:pt x="37432" y="0"/>
                  </a:cubicBezTo>
                  <a:cubicBezTo>
                    <a:pt x="39502" y="0"/>
                    <a:pt x="41400" y="0"/>
                    <a:pt x="43470" y="690"/>
                  </a:cubicBezTo>
                  <a:lnTo>
                    <a:pt x="43470" y="19838"/>
                  </a:lnTo>
                  <a:cubicBezTo>
                    <a:pt x="41745" y="18803"/>
                    <a:pt x="38467" y="18285"/>
                    <a:pt x="34845" y="18285"/>
                  </a:cubicBezTo>
                  <a:cubicBezTo>
                    <a:pt x="19147" y="18285"/>
                    <a:pt x="19147" y="37433"/>
                    <a:pt x="19147" y="47783"/>
                  </a:cubicBezTo>
                  <a:lnTo>
                    <a:pt x="19147" y="74521"/>
                  </a:lnTo>
                  <a:lnTo>
                    <a:pt x="0" y="74521"/>
                  </a:lnTo>
                  <a:lnTo>
                    <a:pt x="0" y="1725"/>
                  </a:lnTo>
                  <a:lnTo>
                    <a:pt x="345" y="1725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1" name="Gráfico 1344">
              <a:extLst>
                <a:ext uri="{FF2B5EF4-FFF2-40B4-BE49-F238E27FC236}">
                  <a16:creationId xmlns:a16="http://schemas.microsoft.com/office/drawing/2014/main" id="{811D6661-E481-4CE1-8D0E-21C24B4181F8}"/>
                </a:ext>
              </a:extLst>
            </p:cNvPr>
            <p:cNvSpPr/>
            <p:nvPr/>
          </p:nvSpPr>
          <p:spPr>
            <a:xfrm>
              <a:off x="9964945" y="527151"/>
              <a:ext cx="49680" cy="93150"/>
            </a:xfrm>
            <a:custGeom>
              <a:avLst/>
              <a:gdLst>
                <a:gd name="connsiteX0" fmla="*/ 13455 w 49680"/>
                <a:gd name="connsiteY0" fmla="*/ 33983 h 93150"/>
                <a:gd name="connsiteX1" fmla="*/ 0 w 49680"/>
                <a:gd name="connsiteY1" fmla="*/ 33983 h 93150"/>
                <a:gd name="connsiteX2" fmla="*/ 0 w 49680"/>
                <a:gd name="connsiteY2" fmla="*/ 20355 h 93150"/>
                <a:gd name="connsiteX3" fmla="*/ 13455 w 49680"/>
                <a:gd name="connsiteY3" fmla="*/ 20355 h 93150"/>
                <a:gd name="connsiteX4" fmla="*/ 13455 w 49680"/>
                <a:gd name="connsiteY4" fmla="*/ 6038 h 93150"/>
                <a:gd name="connsiteX5" fmla="*/ 31913 w 49680"/>
                <a:gd name="connsiteY5" fmla="*/ 0 h 93150"/>
                <a:gd name="connsiteX6" fmla="*/ 31913 w 49680"/>
                <a:gd name="connsiteY6" fmla="*/ 20183 h 93150"/>
                <a:gd name="connsiteX7" fmla="*/ 48128 w 49680"/>
                <a:gd name="connsiteY7" fmla="*/ 20183 h 93150"/>
                <a:gd name="connsiteX8" fmla="*/ 48128 w 49680"/>
                <a:gd name="connsiteY8" fmla="*/ 33810 h 93150"/>
                <a:gd name="connsiteX9" fmla="*/ 31913 w 49680"/>
                <a:gd name="connsiteY9" fmla="*/ 33810 h 93150"/>
                <a:gd name="connsiteX10" fmla="*/ 31913 w 49680"/>
                <a:gd name="connsiteY10" fmla="*/ 66930 h 93150"/>
                <a:gd name="connsiteX11" fmla="*/ 40538 w 49680"/>
                <a:gd name="connsiteY11" fmla="*/ 78661 h 93150"/>
                <a:gd name="connsiteX12" fmla="*/ 48990 w 49680"/>
                <a:gd name="connsiteY12" fmla="*/ 76763 h 93150"/>
                <a:gd name="connsiteX13" fmla="*/ 49680 w 49680"/>
                <a:gd name="connsiteY13" fmla="*/ 91426 h 93150"/>
                <a:gd name="connsiteX14" fmla="*/ 36225 w 49680"/>
                <a:gd name="connsiteY14" fmla="*/ 93151 h 93150"/>
                <a:gd name="connsiteX15" fmla="*/ 13800 w 49680"/>
                <a:gd name="connsiteY15" fmla="*/ 70208 h 93150"/>
                <a:gd name="connsiteX16" fmla="*/ 13800 w 49680"/>
                <a:gd name="connsiteY16" fmla="*/ 33983 h 93150"/>
                <a:gd name="connsiteX17" fmla="*/ 13455 w 49680"/>
                <a:gd name="connsiteY17" fmla="*/ 33983 h 93150"/>
                <a:gd name="connsiteX18" fmla="*/ 13455 w 49680"/>
                <a:gd name="connsiteY18" fmla="*/ 33983 h 9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680" h="93150">
                  <a:moveTo>
                    <a:pt x="13455" y="33983"/>
                  </a:moveTo>
                  <a:lnTo>
                    <a:pt x="0" y="33983"/>
                  </a:lnTo>
                  <a:lnTo>
                    <a:pt x="0" y="20355"/>
                  </a:lnTo>
                  <a:lnTo>
                    <a:pt x="13455" y="20355"/>
                  </a:lnTo>
                  <a:lnTo>
                    <a:pt x="13455" y="6038"/>
                  </a:lnTo>
                  <a:lnTo>
                    <a:pt x="31913" y="0"/>
                  </a:lnTo>
                  <a:lnTo>
                    <a:pt x="31913" y="20183"/>
                  </a:lnTo>
                  <a:lnTo>
                    <a:pt x="48128" y="20183"/>
                  </a:lnTo>
                  <a:lnTo>
                    <a:pt x="48128" y="33810"/>
                  </a:lnTo>
                  <a:lnTo>
                    <a:pt x="31913" y="33810"/>
                  </a:lnTo>
                  <a:lnTo>
                    <a:pt x="31913" y="66930"/>
                  </a:lnTo>
                  <a:cubicBezTo>
                    <a:pt x="31913" y="73140"/>
                    <a:pt x="33638" y="78661"/>
                    <a:pt x="40538" y="78661"/>
                  </a:cubicBezTo>
                  <a:cubicBezTo>
                    <a:pt x="43988" y="78661"/>
                    <a:pt x="46920" y="77971"/>
                    <a:pt x="48990" y="76763"/>
                  </a:cubicBezTo>
                  <a:lnTo>
                    <a:pt x="49680" y="91426"/>
                  </a:lnTo>
                  <a:cubicBezTo>
                    <a:pt x="45885" y="92461"/>
                    <a:pt x="41573" y="93151"/>
                    <a:pt x="36225" y="93151"/>
                  </a:cubicBezTo>
                  <a:cubicBezTo>
                    <a:pt x="21907" y="93151"/>
                    <a:pt x="13800" y="84181"/>
                    <a:pt x="13800" y="70208"/>
                  </a:cubicBezTo>
                  <a:lnTo>
                    <a:pt x="13800" y="33983"/>
                  </a:lnTo>
                  <a:lnTo>
                    <a:pt x="13455" y="33983"/>
                  </a:lnTo>
                  <a:lnTo>
                    <a:pt x="13455" y="3398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2" name="Gráfico 1344">
              <a:extLst>
                <a:ext uri="{FF2B5EF4-FFF2-40B4-BE49-F238E27FC236}">
                  <a16:creationId xmlns:a16="http://schemas.microsoft.com/office/drawing/2014/main" id="{25BB1FF9-4C47-4B14-9FEE-5B2B78632A76}"/>
                </a:ext>
              </a:extLst>
            </p:cNvPr>
            <p:cNvSpPr/>
            <p:nvPr/>
          </p:nvSpPr>
          <p:spPr>
            <a:xfrm>
              <a:off x="10024802" y="548024"/>
              <a:ext cx="66413" cy="72450"/>
            </a:xfrm>
            <a:custGeom>
              <a:avLst/>
              <a:gdLst>
                <a:gd name="connsiteX0" fmla="*/ 66413 w 66413"/>
                <a:gd name="connsiteY0" fmla="*/ 70725 h 72450"/>
                <a:gd name="connsiteX1" fmla="*/ 48645 w 66413"/>
                <a:gd name="connsiteY1" fmla="*/ 70725 h 72450"/>
                <a:gd name="connsiteX2" fmla="*/ 48645 w 66413"/>
                <a:gd name="connsiteY2" fmla="*/ 61238 h 72450"/>
                <a:gd name="connsiteX3" fmla="*/ 48473 w 66413"/>
                <a:gd name="connsiteY3" fmla="*/ 61238 h 72450"/>
                <a:gd name="connsiteX4" fmla="*/ 24668 w 66413"/>
                <a:gd name="connsiteY4" fmla="*/ 72450 h 72450"/>
                <a:gd name="connsiteX5" fmla="*/ 0 w 66413"/>
                <a:gd name="connsiteY5" fmla="*/ 44678 h 72450"/>
                <a:gd name="connsiteX6" fmla="*/ 0 w 66413"/>
                <a:gd name="connsiteY6" fmla="*/ 0 h 72450"/>
                <a:gd name="connsiteX7" fmla="*/ 18803 w 66413"/>
                <a:gd name="connsiteY7" fmla="*/ 0 h 72450"/>
                <a:gd name="connsiteX8" fmla="*/ 18803 w 66413"/>
                <a:gd name="connsiteY8" fmla="*/ 37778 h 72450"/>
                <a:gd name="connsiteX9" fmla="*/ 30878 w 66413"/>
                <a:gd name="connsiteY9" fmla="*/ 58133 h 72450"/>
                <a:gd name="connsiteX10" fmla="*/ 47438 w 66413"/>
                <a:gd name="connsiteY10" fmla="*/ 34673 h 72450"/>
                <a:gd name="connsiteX11" fmla="*/ 47438 w 66413"/>
                <a:gd name="connsiteY11" fmla="*/ 173 h 72450"/>
                <a:gd name="connsiteX12" fmla="*/ 66240 w 66413"/>
                <a:gd name="connsiteY12" fmla="*/ 173 h 72450"/>
                <a:gd name="connsiteX13" fmla="*/ 66240 w 66413"/>
                <a:gd name="connsiteY13" fmla="*/ 70725 h 72450"/>
                <a:gd name="connsiteX14" fmla="*/ 66413 w 66413"/>
                <a:gd name="connsiteY14" fmla="*/ 70725 h 72450"/>
                <a:gd name="connsiteX15" fmla="*/ 66413 w 66413"/>
                <a:gd name="connsiteY15" fmla="*/ 7072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3" h="72450">
                  <a:moveTo>
                    <a:pt x="66413" y="70725"/>
                  </a:moveTo>
                  <a:lnTo>
                    <a:pt x="48645" y="70725"/>
                  </a:lnTo>
                  <a:lnTo>
                    <a:pt x="48645" y="61238"/>
                  </a:lnTo>
                  <a:lnTo>
                    <a:pt x="48473" y="61238"/>
                  </a:lnTo>
                  <a:cubicBezTo>
                    <a:pt x="42608" y="68310"/>
                    <a:pt x="34673" y="72450"/>
                    <a:pt x="24668" y="72450"/>
                  </a:cubicBezTo>
                  <a:cubicBezTo>
                    <a:pt x="7590" y="72450"/>
                    <a:pt x="0" y="60548"/>
                    <a:pt x="0" y="44678"/>
                  </a:cubicBezTo>
                  <a:lnTo>
                    <a:pt x="0" y="0"/>
                  </a:lnTo>
                  <a:lnTo>
                    <a:pt x="18803" y="0"/>
                  </a:lnTo>
                  <a:lnTo>
                    <a:pt x="18803" y="37778"/>
                  </a:lnTo>
                  <a:cubicBezTo>
                    <a:pt x="18803" y="46403"/>
                    <a:pt x="18975" y="58133"/>
                    <a:pt x="30878" y="58133"/>
                  </a:cubicBezTo>
                  <a:cubicBezTo>
                    <a:pt x="44505" y="58133"/>
                    <a:pt x="47438" y="43643"/>
                    <a:pt x="47438" y="34673"/>
                  </a:cubicBezTo>
                  <a:lnTo>
                    <a:pt x="47438" y="173"/>
                  </a:lnTo>
                  <a:lnTo>
                    <a:pt x="66240" y="173"/>
                  </a:lnTo>
                  <a:lnTo>
                    <a:pt x="66240" y="70725"/>
                  </a:lnTo>
                  <a:lnTo>
                    <a:pt x="66413" y="70725"/>
                  </a:lnTo>
                  <a:lnTo>
                    <a:pt x="66413" y="70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3" name="Gráfico 1344">
              <a:extLst>
                <a:ext uri="{FF2B5EF4-FFF2-40B4-BE49-F238E27FC236}">
                  <a16:creationId xmlns:a16="http://schemas.microsoft.com/office/drawing/2014/main" id="{2C9A6577-29E2-42F0-92C5-13290CF73E47}"/>
                </a:ext>
              </a:extLst>
            </p:cNvPr>
            <p:cNvSpPr/>
            <p:nvPr/>
          </p:nvSpPr>
          <p:spPr>
            <a:xfrm>
              <a:off x="10105533" y="519044"/>
              <a:ext cx="64170" cy="101258"/>
            </a:xfrm>
            <a:custGeom>
              <a:avLst/>
              <a:gdLst>
                <a:gd name="connsiteX0" fmla="*/ 7763 w 64170"/>
                <a:gd name="connsiteY0" fmla="*/ 33120 h 101258"/>
                <a:gd name="connsiteX1" fmla="*/ 32430 w 64170"/>
                <a:gd name="connsiteY1" fmla="*/ 27945 h 101258"/>
                <a:gd name="connsiteX2" fmla="*/ 63136 w 64170"/>
                <a:gd name="connsiteY2" fmla="*/ 57443 h 101258"/>
                <a:gd name="connsiteX3" fmla="*/ 63136 w 64170"/>
                <a:gd name="connsiteY3" fmla="*/ 66413 h 101258"/>
                <a:gd name="connsiteX4" fmla="*/ 63308 w 64170"/>
                <a:gd name="connsiteY4" fmla="*/ 84008 h 101258"/>
                <a:gd name="connsiteX5" fmla="*/ 64170 w 64170"/>
                <a:gd name="connsiteY5" fmla="*/ 99706 h 101258"/>
                <a:gd name="connsiteX6" fmla="*/ 47955 w 64170"/>
                <a:gd name="connsiteY6" fmla="*/ 99706 h 101258"/>
                <a:gd name="connsiteX7" fmla="*/ 47093 w 64170"/>
                <a:gd name="connsiteY7" fmla="*/ 89183 h 101258"/>
                <a:gd name="connsiteX8" fmla="*/ 46920 w 64170"/>
                <a:gd name="connsiteY8" fmla="*/ 89183 h 101258"/>
                <a:gd name="connsiteX9" fmla="*/ 25013 w 64170"/>
                <a:gd name="connsiteY9" fmla="*/ 101258 h 101258"/>
                <a:gd name="connsiteX10" fmla="*/ 0 w 64170"/>
                <a:gd name="connsiteY10" fmla="*/ 80558 h 101258"/>
                <a:gd name="connsiteX11" fmla="*/ 12075 w 64170"/>
                <a:gd name="connsiteY11" fmla="*/ 60721 h 101258"/>
                <a:gd name="connsiteX12" fmla="*/ 35881 w 64170"/>
                <a:gd name="connsiteY12" fmla="*/ 56753 h 101258"/>
                <a:gd name="connsiteX13" fmla="*/ 46058 w 64170"/>
                <a:gd name="connsiteY13" fmla="*/ 56753 h 101258"/>
                <a:gd name="connsiteX14" fmla="*/ 30016 w 64170"/>
                <a:gd name="connsiteY14" fmla="*/ 41745 h 101258"/>
                <a:gd name="connsiteX15" fmla="*/ 8108 w 64170"/>
                <a:gd name="connsiteY15" fmla="*/ 49335 h 101258"/>
                <a:gd name="connsiteX16" fmla="*/ 7763 w 64170"/>
                <a:gd name="connsiteY16" fmla="*/ 33120 h 101258"/>
                <a:gd name="connsiteX17" fmla="*/ 7763 w 64170"/>
                <a:gd name="connsiteY17" fmla="*/ 33120 h 101258"/>
                <a:gd name="connsiteX18" fmla="*/ 7763 w 64170"/>
                <a:gd name="connsiteY18" fmla="*/ 33120 h 101258"/>
                <a:gd name="connsiteX19" fmla="*/ 29670 w 64170"/>
                <a:gd name="connsiteY19" fmla="*/ 87803 h 101258"/>
                <a:gd name="connsiteX20" fmla="*/ 42608 w 64170"/>
                <a:gd name="connsiteY20" fmla="*/ 81593 h 101258"/>
                <a:gd name="connsiteX21" fmla="*/ 46403 w 64170"/>
                <a:gd name="connsiteY21" fmla="*/ 67103 h 101258"/>
                <a:gd name="connsiteX22" fmla="*/ 38295 w 64170"/>
                <a:gd name="connsiteY22" fmla="*/ 67103 h 101258"/>
                <a:gd name="connsiteX23" fmla="*/ 17595 w 64170"/>
                <a:gd name="connsiteY23" fmla="*/ 79178 h 101258"/>
                <a:gd name="connsiteX24" fmla="*/ 29670 w 64170"/>
                <a:gd name="connsiteY24" fmla="*/ 87803 h 101258"/>
                <a:gd name="connsiteX25" fmla="*/ 34846 w 64170"/>
                <a:gd name="connsiteY25" fmla="*/ 0 h 101258"/>
                <a:gd name="connsiteX26" fmla="*/ 53820 w 64170"/>
                <a:gd name="connsiteY26" fmla="*/ 0 h 101258"/>
                <a:gd name="connsiteX27" fmla="*/ 34846 w 64170"/>
                <a:gd name="connsiteY27" fmla="*/ 19838 h 101258"/>
                <a:gd name="connsiteX28" fmla="*/ 23288 w 64170"/>
                <a:gd name="connsiteY28" fmla="*/ 19838 h 101258"/>
                <a:gd name="connsiteX29" fmla="*/ 34846 w 64170"/>
                <a:gd name="connsiteY29" fmla="*/ 0 h 101258"/>
                <a:gd name="connsiteX30" fmla="*/ 34846 w 64170"/>
                <a:gd name="connsiteY30" fmla="*/ 0 h 101258"/>
                <a:gd name="connsiteX31" fmla="*/ 34846 w 64170"/>
                <a:gd name="connsiteY31" fmla="*/ 0 h 10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4170" h="101258">
                  <a:moveTo>
                    <a:pt x="7763" y="33120"/>
                  </a:moveTo>
                  <a:cubicBezTo>
                    <a:pt x="15008" y="30015"/>
                    <a:pt x="24668" y="27945"/>
                    <a:pt x="32430" y="27945"/>
                  </a:cubicBezTo>
                  <a:cubicBezTo>
                    <a:pt x="54166" y="27945"/>
                    <a:pt x="63136" y="36743"/>
                    <a:pt x="63136" y="57443"/>
                  </a:cubicBezTo>
                  <a:lnTo>
                    <a:pt x="63136" y="66413"/>
                  </a:lnTo>
                  <a:cubicBezTo>
                    <a:pt x="63136" y="73486"/>
                    <a:pt x="63308" y="78833"/>
                    <a:pt x="63308" y="84008"/>
                  </a:cubicBezTo>
                  <a:cubicBezTo>
                    <a:pt x="63480" y="89183"/>
                    <a:pt x="63653" y="94358"/>
                    <a:pt x="64170" y="99706"/>
                  </a:cubicBezTo>
                  <a:lnTo>
                    <a:pt x="47955" y="99706"/>
                  </a:lnTo>
                  <a:cubicBezTo>
                    <a:pt x="47266" y="95911"/>
                    <a:pt x="47266" y="91253"/>
                    <a:pt x="47093" y="89183"/>
                  </a:cubicBezTo>
                  <a:lnTo>
                    <a:pt x="46920" y="89183"/>
                  </a:lnTo>
                  <a:cubicBezTo>
                    <a:pt x="42608" y="96946"/>
                    <a:pt x="33293" y="101258"/>
                    <a:pt x="25013" y="101258"/>
                  </a:cubicBezTo>
                  <a:cubicBezTo>
                    <a:pt x="12420" y="101258"/>
                    <a:pt x="0" y="93668"/>
                    <a:pt x="0" y="80558"/>
                  </a:cubicBezTo>
                  <a:cubicBezTo>
                    <a:pt x="0" y="70035"/>
                    <a:pt x="5175" y="63998"/>
                    <a:pt x="12075" y="60721"/>
                  </a:cubicBezTo>
                  <a:cubicBezTo>
                    <a:pt x="19148" y="57443"/>
                    <a:pt x="28290" y="56753"/>
                    <a:pt x="35881" y="56753"/>
                  </a:cubicBezTo>
                  <a:lnTo>
                    <a:pt x="46058" y="56753"/>
                  </a:lnTo>
                  <a:cubicBezTo>
                    <a:pt x="46058" y="45368"/>
                    <a:pt x="40883" y="41745"/>
                    <a:pt x="30016" y="41745"/>
                  </a:cubicBezTo>
                  <a:cubicBezTo>
                    <a:pt x="22080" y="41745"/>
                    <a:pt x="14318" y="44678"/>
                    <a:pt x="8108" y="49335"/>
                  </a:cubicBezTo>
                  <a:lnTo>
                    <a:pt x="7763" y="33120"/>
                  </a:lnTo>
                  <a:lnTo>
                    <a:pt x="7763" y="33120"/>
                  </a:lnTo>
                  <a:lnTo>
                    <a:pt x="7763" y="33120"/>
                  </a:lnTo>
                  <a:close/>
                  <a:moveTo>
                    <a:pt x="29670" y="87803"/>
                  </a:moveTo>
                  <a:cubicBezTo>
                    <a:pt x="35363" y="87803"/>
                    <a:pt x="39676" y="85216"/>
                    <a:pt x="42608" y="81593"/>
                  </a:cubicBezTo>
                  <a:cubicBezTo>
                    <a:pt x="45885" y="77626"/>
                    <a:pt x="46403" y="72623"/>
                    <a:pt x="46403" y="67103"/>
                  </a:cubicBezTo>
                  <a:lnTo>
                    <a:pt x="38295" y="67103"/>
                  </a:lnTo>
                  <a:cubicBezTo>
                    <a:pt x="30016" y="67103"/>
                    <a:pt x="17595" y="68310"/>
                    <a:pt x="17595" y="79178"/>
                  </a:cubicBezTo>
                  <a:cubicBezTo>
                    <a:pt x="17940" y="85216"/>
                    <a:pt x="22943" y="87803"/>
                    <a:pt x="29670" y="87803"/>
                  </a:cubicBezTo>
                  <a:moveTo>
                    <a:pt x="34846" y="0"/>
                  </a:moveTo>
                  <a:lnTo>
                    <a:pt x="53820" y="0"/>
                  </a:lnTo>
                  <a:lnTo>
                    <a:pt x="34846" y="19838"/>
                  </a:lnTo>
                  <a:lnTo>
                    <a:pt x="23288" y="19838"/>
                  </a:lnTo>
                  <a:lnTo>
                    <a:pt x="34846" y="0"/>
                  </a:lnTo>
                  <a:lnTo>
                    <a:pt x="34846" y="0"/>
                  </a:lnTo>
                  <a:lnTo>
                    <a:pt x="34846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4" name="Gráfico 1344">
              <a:extLst>
                <a:ext uri="{FF2B5EF4-FFF2-40B4-BE49-F238E27FC236}">
                  <a16:creationId xmlns:a16="http://schemas.microsoft.com/office/drawing/2014/main" id="{828B36F1-D8B7-4745-8337-35B155E39254}"/>
                </a:ext>
              </a:extLst>
            </p:cNvPr>
            <p:cNvSpPr/>
            <p:nvPr/>
          </p:nvSpPr>
          <p:spPr>
            <a:xfrm>
              <a:off x="10186263" y="545954"/>
              <a:ext cx="43470" cy="74520"/>
            </a:xfrm>
            <a:custGeom>
              <a:avLst/>
              <a:gdLst>
                <a:gd name="connsiteX0" fmla="*/ 345 w 43470"/>
                <a:gd name="connsiteY0" fmla="*/ 1725 h 74520"/>
                <a:gd name="connsiteX1" fmla="*/ 17250 w 43470"/>
                <a:gd name="connsiteY1" fmla="*/ 1725 h 74520"/>
                <a:gd name="connsiteX2" fmla="*/ 17250 w 43470"/>
                <a:gd name="connsiteY2" fmla="*/ 18285 h 74520"/>
                <a:gd name="connsiteX3" fmla="*/ 17423 w 43470"/>
                <a:gd name="connsiteY3" fmla="*/ 18285 h 74520"/>
                <a:gd name="connsiteX4" fmla="*/ 37433 w 43470"/>
                <a:gd name="connsiteY4" fmla="*/ 0 h 74520"/>
                <a:gd name="connsiteX5" fmla="*/ 43471 w 43470"/>
                <a:gd name="connsiteY5" fmla="*/ 690 h 74520"/>
                <a:gd name="connsiteX6" fmla="*/ 43471 w 43470"/>
                <a:gd name="connsiteY6" fmla="*/ 19838 h 74520"/>
                <a:gd name="connsiteX7" fmla="*/ 34846 w 43470"/>
                <a:gd name="connsiteY7" fmla="*/ 18285 h 74520"/>
                <a:gd name="connsiteX8" fmla="*/ 19148 w 43470"/>
                <a:gd name="connsiteY8" fmla="*/ 47783 h 74520"/>
                <a:gd name="connsiteX9" fmla="*/ 19148 w 43470"/>
                <a:gd name="connsiteY9" fmla="*/ 74521 h 74520"/>
                <a:gd name="connsiteX10" fmla="*/ 0 w 43470"/>
                <a:gd name="connsiteY10" fmla="*/ 74521 h 74520"/>
                <a:gd name="connsiteX11" fmla="*/ 0 w 43470"/>
                <a:gd name="connsiteY11" fmla="*/ 1725 h 74520"/>
                <a:gd name="connsiteX12" fmla="*/ 345 w 43470"/>
                <a:gd name="connsiteY12" fmla="*/ 1725 h 74520"/>
                <a:gd name="connsiteX13" fmla="*/ 345 w 43470"/>
                <a:gd name="connsiteY13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70" h="74520">
                  <a:moveTo>
                    <a:pt x="345" y="1725"/>
                  </a:moveTo>
                  <a:lnTo>
                    <a:pt x="17250" y="1725"/>
                  </a:lnTo>
                  <a:lnTo>
                    <a:pt x="17250" y="18285"/>
                  </a:lnTo>
                  <a:lnTo>
                    <a:pt x="17423" y="18285"/>
                  </a:lnTo>
                  <a:cubicBezTo>
                    <a:pt x="18286" y="11558"/>
                    <a:pt x="26221" y="0"/>
                    <a:pt x="37433" y="0"/>
                  </a:cubicBezTo>
                  <a:cubicBezTo>
                    <a:pt x="39158" y="0"/>
                    <a:pt x="41401" y="0"/>
                    <a:pt x="43471" y="690"/>
                  </a:cubicBezTo>
                  <a:lnTo>
                    <a:pt x="43471" y="19838"/>
                  </a:lnTo>
                  <a:cubicBezTo>
                    <a:pt x="41746" y="18803"/>
                    <a:pt x="38468" y="18285"/>
                    <a:pt x="34846" y="18285"/>
                  </a:cubicBezTo>
                  <a:cubicBezTo>
                    <a:pt x="19148" y="18285"/>
                    <a:pt x="19148" y="37433"/>
                    <a:pt x="19148" y="47783"/>
                  </a:cubicBezTo>
                  <a:lnTo>
                    <a:pt x="19148" y="74521"/>
                  </a:lnTo>
                  <a:lnTo>
                    <a:pt x="0" y="74521"/>
                  </a:lnTo>
                  <a:lnTo>
                    <a:pt x="0" y="1725"/>
                  </a:lnTo>
                  <a:lnTo>
                    <a:pt x="345" y="1725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5" name="Gráfico 1344">
              <a:extLst>
                <a:ext uri="{FF2B5EF4-FFF2-40B4-BE49-F238E27FC236}">
                  <a16:creationId xmlns:a16="http://schemas.microsoft.com/office/drawing/2014/main" id="{580ACEC2-FCFF-41CC-AED3-32E7033B1372}"/>
                </a:ext>
              </a:extLst>
            </p:cNvPr>
            <p:cNvSpPr/>
            <p:nvPr/>
          </p:nvSpPr>
          <p:spPr>
            <a:xfrm>
              <a:off x="10242326" y="516974"/>
              <a:ext cx="18630" cy="103500"/>
            </a:xfrm>
            <a:custGeom>
              <a:avLst/>
              <a:gdLst>
                <a:gd name="connsiteX0" fmla="*/ 0 w 18630"/>
                <a:gd name="connsiteY0" fmla="*/ 0 h 103500"/>
                <a:gd name="connsiteX1" fmla="*/ 18630 w 18630"/>
                <a:gd name="connsiteY1" fmla="*/ 0 h 103500"/>
                <a:gd name="connsiteX2" fmla="*/ 18630 w 18630"/>
                <a:gd name="connsiteY2" fmla="*/ 17940 h 103500"/>
                <a:gd name="connsiteX3" fmla="*/ 0 w 18630"/>
                <a:gd name="connsiteY3" fmla="*/ 17940 h 103500"/>
                <a:gd name="connsiteX4" fmla="*/ 0 w 18630"/>
                <a:gd name="connsiteY4" fmla="*/ 0 h 103500"/>
                <a:gd name="connsiteX5" fmla="*/ 0 w 18630"/>
                <a:gd name="connsiteY5" fmla="*/ 0 h 103500"/>
                <a:gd name="connsiteX6" fmla="*/ 0 w 18630"/>
                <a:gd name="connsiteY6" fmla="*/ 0 h 103500"/>
                <a:gd name="connsiteX7" fmla="*/ 0 w 18630"/>
                <a:gd name="connsiteY7" fmla="*/ 31223 h 103500"/>
                <a:gd name="connsiteX8" fmla="*/ 18630 w 18630"/>
                <a:gd name="connsiteY8" fmla="*/ 31223 h 103500"/>
                <a:gd name="connsiteX9" fmla="*/ 18630 w 18630"/>
                <a:gd name="connsiteY9" fmla="*/ 103501 h 103500"/>
                <a:gd name="connsiteX10" fmla="*/ 0 w 18630"/>
                <a:gd name="connsiteY10" fmla="*/ 103501 h 103500"/>
                <a:gd name="connsiteX11" fmla="*/ 0 w 18630"/>
                <a:gd name="connsiteY11" fmla="*/ 31223 h 103500"/>
                <a:gd name="connsiteX12" fmla="*/ 0 w 18630"/>
                <a:gd name="connsiteY12" fmla="*/ 31223 h 103500"/>
                <a:gd name="connsiteX13" fmla="*/ 0 w 18630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30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6" name="Gráfico 1344">
              <a:extLst>
                <a:ext uri="{FF2B5EF4-FFF2-40B4-BE49-F238E27FC236}">
                  <a16:creationId xmlns:a16="http://schemas.microsoft.com/office/drawing/2014/main" id="{919AF37B-9672-41C3-8376-D0A239E925ED}"/>
                </a:ext>
              </a:extLst>
            </p:cNvPr>
            <p:cNvSpPr/>
            <p:nvPr/>
          </p:nvSpPr>
          <p:spPr>
            <a:xfrm>
              <a:off x="10275447" y="545954"/>
              <a:ext cx="74520" cy="74520"/>
            </a:xfrm>
            <a:custGeom>
              <a:avLst/>
              <a:gdLst>
                <a:gd name="connsiteX0" fmla="*/ 37260 w 74520"/>
                <a:gd name="connsiteY0" fmla="*/ 0 h 74520"/>
                <a:gd name="connsiteX1" fmla="*/ 74521 w 74520"/>
                <a:gd name="connsiteY1" fmla="*/ 37605 h 74520"/>
                <a:gd name="connsiteX2" fmla="*/ 37260 w 74520"/>
                <a:gd name="connsiteY2" fmla="*/ 74521 h 74520"/>
                <a:gd name="connsiteX3" fmla="*/ 0 w 74520"/>
                <a:gd name="connsiteY3" fmla="*/ 37605 h 74520"/>
                <a:gd name="connsiteX4" fmla="*/ 37260 w 74520"/>
                <a:gd name="connsiteY4" fmla="*/ 0 h 74520"/>
                <a:gd name="connsiteX5" fmla="*/ 37260 w 74520"/>
                <a:gd name="connsiteY5" fmla="*/ 60030 h 74520"/>
                <a:gd name="connsiteX6" fmla="*/ 55201 w 74520"/>
                <a:gd name="connsiteY6" fmla="*/ 35535 h 74520"/>
                <a:gd name="connsiteX7" fmla="*/ 37260 w 74520"/>
                <a:gd name="connsiteY7" fmla="*/ 14490 h 74520"/>
                <a:gd name="connsiteX8" fmla="*/ 19320 w 74520"/>
                <a:gd name="connsiteY8" fmla="*/ 35535 h 74520"/>
                <a:gd name="connsiteX9" fmla="*/ 37260 w 74520"/>
                <a:gd name="connsiteY9" fmla="*/ 6003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0" y="0"/>
                  </a:moveTo>
                  <a:cubicBezTo>
                    <a:pt x="58306" y="0"/>
                    <a:pt x="74521" y="14318"/>
                    <a:pt x="74521" y="37605"/>
                  </a:cubicBezTo>
                  <a:cubicBezTo>
                    <a:pt x="74521" y="57960"/>
                    <a:pt x="60893" y="74521"/>
                    <a:pt x="37260" y="74521"/>
                  </a:cubicBezTo>
                  <a:cubicBezTo>
                    <a:pt x="13628" y="74521"/>
                    <a:pt x="0" y="58133"/>
                    <a:pt x="0" y="37605"/>
                  </a:cubicBezTo>
                  <a:cubicBezTo>
                    <a:pt x="0" y="14318"/>
                    <a:pt x="16215" y="0"/>
                    <a:pt x="37260" y="0"/>
                  </a:cubicBezTo>
                  <a:moveTo>
                    <a:pt x="37260" y="60030"/>
                  </a:moveTo>
                  <a:cubicBezTo>
                    <a:pt x="51578" y="60030"/>
                    <a:pt x="55201" y="47265"/>
                    <a:pt x="55201" y="35535"/>
                  </a:cubicBezTo>
                  <a:cubicBezTo>
                    <a:pt x="55201" y="24668"/>
                    <a:pt x="49508" y="14490"/>
                    <a:pt x="37260" y="14490"/>
                  </a:cubicBezTo>
                  <a:cubicBezTo>
                    <a:pt x="25358" y="14490"/>
                    <a:pt x="19320" y="24840"/>
                    <a:pt x="19320" y="35535"/>
                  </a:cubicBezTo>
                  <a:cubicBezTo>
                    <a:pt x="19320" y="47265"/>
                    <a:pt x="22942" y="60030"/>
                    <a:pt x="37260" y="60030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7" name="Gráfico 1344">
              <a:extLst>
                <a:ext uri="{FF2B5EF4-FFF2-40B4-BE49-F238E27FC236}">
                  <a16:creationId xmlns:a16="http://schemas.microsoft.com/office/drawing/2014/main" id="{952BB465-47C5-45D6-9BD1-8E73AA8E5AAB}"/>
                </a:ext>
              </a:extLst>
            </p:cNvPr>
            <p:cNvSpPr/>
            <p:nvPr/>
          </p:nvSpPr>
          <p:spPr>
            <a:xfrm>
              <a:off x="10401718" y="521114"/>
              <a:ext cx="62100" cy="99360"/>
            </a:xfrm>
            <a:custGeom>
              <a:avLst/>
              <a:gdLst>
                <a:gd name="connsiteX0" fmla="*/ 54510 w 62100"/>
                <a:gd name="connsiteY0" fmla="*/ 19493 h 99360"/>
                <a:gd name="connsiteX1" fmla="*/ 35018 w 62100"/>
                <a:gd name="connsiteY1" fmla="*/ 15525 h 99360"/>
                <a:gd name="connsiteX2" fmla="*/ 20010 w 62100"/>
                <a:gd name="connsiteY2" fmla="*/ 28808 h 99360"/>
                <a:gd name="connsiteX3" fmla="*/ 62101 w 62100"/>
                <a:gd name="connsiteY3" fmla="*/ 70381 h 99360"/>
                <a:gd name="connsiteX4" fmla="*/ 26220 w 62100"/>
                <a:gd name="connsiteY4" fmla="*/ 99361 h 99360"/>
                <a:gd name="connsiteX5" fmla="*/ 1725 w 62100"/>
                <a:gd name="connsiteY5" fmla="*/ 95566 h 99360"/>
                <a:gd name="connsiteX6" fmla="*/ 3450 w 62100"/>
                <a:gd name="connsiteY6" fmla="*/ 78143 h 99360"/>
                <a:gd name="connsiteX7" fmla="*/ 25185 w 62100"/>
                <a:gd name="connsiteY7" fmla="*/ 84008 h 99360"/>
                <a:gd name="connsiteX8" fmla="*/ 42090 w 62100"/>
                <a:gd name="connsiteY8" fmla="*/ 71588 h 99360"/>
                <a:gd name="connsiteX9" fmla="*/ 0 w 62100"/>
                <a:gd name="connsiteY9" fmla="*/ 29153 h 99360"/>
                <a:gd name="connsiteX10" fmla="*/ 33637 w 62100"/>
                <a:gd name="connsiteY10" fmla="*/ 0 h 99360"/>
                <a:gd name="connsiteX11" fmla="*/ 56408 w 62100"/>
                <a:gd name="connsiteY11" fmla="*/ 3450 h 99360"/>
                <a:gd name="connsiteX12" fmla="*/ 54510 w 62100"/>
                <a:gd name="connsiteY12" fmla="*/ 19493 h 99360"/>
                <a:gd name="connsiteX13" fmla="*/ 54510 w 62100"/>
                <a:gd name="connsiteY13" fmla="*/ 19493 h 99360"/>
                <a:gd name="connsiteX14" fmla="*/ 54510 w 62100"/>
                <a:gd name="connsiteY14" fmla="*/ 19493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100" h="99360">
                  <a:moveTo>
                    <a:pt x="54510" y="19493"/>
                  </a:moveTo>
                  <a:cubicBezTo>
                    <a:pt x="48300" y="16905"/>
                    <a:pt x="41573" y="15525"/>
                    <a:pt x="35018" y="15525"/>
                  </a:cubicBezTo>
                  <a:cubicBezTo>
                    <a:pt x="28463" y="15525"/>
                    <a:pt x="20010" y="18458"/>
                    <a:pt x="20010" y="28808"/>
                  </a:cubicBezTo>
                  <a:cubicBezTo>
                    <a:pt x="20010" y="45540"/>
                    <a:pt x="62101" y="38295"/>
                    <a:pt x="62101" y="70381"/>
                  </a:cubicBezTo>
                  <a:cubicBezTo>
                    <a:pt x="62101" y="91253"/>
                    <a:pt x="45540" y="99361"/>
                    <a:pt x="26220" y="99361"/>
                  </a:cubicBezTo>
                  <a:cubicBezTo>
                    <a:pt x="15870" y="99361"/>
                    <a:pt x="11212" y="97808"/>
                    <a:pt x="1725" y="95566"/>
                  </a:cubicBezTo>
                  <a:lnTo>
                    <a:pt x="3450" y="78143"/>
                  </a:lnTo>
                  <a:cubicBezTo>
                    <a:pt x="10005" y="81766"/>
                    <a:pt x="17595" y="84008"/>
                    <a:pt x="25185" y="84008"/>
                  </a:cubicBezTo>
                  <a:cubicBezTo>
                    <a:pt x="32430" y="84008"/>
                    <a:pt x="42090" y="80213"/>
                    <a:pt x="42090" y="71588"/>
                  </a:cubicBezTo>
                  <a:cubicBezTo>
                    <a:pt x="42090" y="53475"/>
                    <a:pt x="0" y="60893"/>
                    <a:pt x="0" y="29153"/>
                  </a:cubicBezTo>
                  <a:cubicBezTo>
                    <a:pt x="0" y="7763"/>
                    <a:pt x="16733" y="0"/>
                    <a:pt x="33637" y="0"/>
                  </a:cubicBezTo>
                  <a:cubicBezTo>
                    <a:pt x="41918" y="0"/>
                    <a:pt x="49508" y="1035"/>
                    <a:pt x="56408" y="3450"/>
                  </a:cubicBezTo>
                  <a:lnTo>
                    <a:pt x="54510" y="19493"/>
                  </a:lnTo>
                  <a:lnTo>
                    <a:pt x="54510" y="19493"/>
                  </a:lnTo>
                  <a:lnTo>
                    <a:pt x="54510" y="1949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8" name="Gráfico 1344">
              <a:extLst>
                <a:ext uri="{FF2B5EF4-FFF2-40B4-BE49-F238E27FC236}">
                  <a16:creationId xmlns:a16="http://schemas.microsoft.com/office/drawing/2014/main" id="{691A2ADF-9FF1-4ADC-B5D9-EE3985D3A369}"/>
                </a:ext>
              </a:extLst>
            </p:cNvPr>
            <p:cNvSpPr/>
            <p:nvPr/>
          </p:nvSpPr>
          <p:spPr>
            <a:xfrm>
              <a:off x="10474168" y="519044"/>
              <a:ext cx="64170" cy="101258"/>
            </a:xfrm>
            <a:custGeom>
              <a:avLst/>
              <a:gdLst>
                <a:gd name="connsiteX0" fmla="*/ 7935 w 64170"/>
                <a:gd name="connsiteY0" fmla="*/ 33120 h 101258"/>
                <a:gd name="connsiteX1" fmla="*/ 32603 w 64170"/>
                <a:gd name="connsiteY1" fmla="*/ 27945 h 101258"/>
                <a:gd name="connsiteX2" fmla="*/ 63136 w 64170"/>
                <a:gd name="connsiteY2" fmla="*/ 57443 h 101258"/>
                <a:gd name="connsiteX3" fmla="*/ 63136 w 64170"/>
                <a:gd name="connsiteY3" fmla="*/ 66413 h 101258"/>
                <a:gd name="connsiteX4" fmla="*/ 63308 w 64170"/>
                <a:gd name="connsiteY4" fmla="*/ 84008 h 101258"/>
                <a:gd name="connsiteX5" fmla="*/ 64170 w 64170"/>
                <a:gd name="connsiteY5" fmla="*/ 99706 h 101258"/>
                <a:gd name="connsiteX6" fmla="*/ 47783 w 64170"/>
                <a:gd name="connsiteY6" fmla="*/ 99706 h 101258"/>
                <a:gd name="connsiteX7" fmla="*/ 46920 w 64170"/>
                <a:gd name="connsiteY7" fmla="*/ 89183 h 101258"/>
                <a:gd name="connsiteX8" fmla="*/ 46748 w 64170"/>
                <a:gd name="connsiteY8" fmla="*/ 89183 h 101258"/>
                <a:gd name="connsiteX9" fmla="*/ 24840 w 64170"/>
                <a:gd name="connsiteY9" fmla="*/ 101258 h 101258"/>
                <a:gd name="connsiteX10" fmla="*/ 0 w 64170"/>
                <a:gd name="connsiteY10" fmla="*/ 80558 h 101258"/>
                <a:gd name="connsiteX11" fmla="*/ 12075 w 64170"/>
                <a:gd name="connsiteY11" fmla="*/ 60721 h 101258"/>
                <a:gd name="connsiteX12" fmla="*/ 35881 w 64170"/>
                <a:gd name="connsiteY12" fmla="*/ 56753 h 101258"/>
                <a:gd name="connsiteX13" fmla="*/ 46058 w 64170"/>
                <a:gd name="connsiteY13" fmla="*/ 56753 h 101258"/>
                <a:gd name="connsiteX14" fmla="*/ 30188 w 64170"/>
                <a:gd name="connsiteY14" fmla="*/ 41745 h 101258"/>
                <a:gd name="connsiteX15" fmla="*/ 8280 w 64170"/>
                <a:gd name="connsiteY15" fmla="*/ 49335 h 101258"/>
                <a:gd name="connsiteX16" fmla="*/ 7935 w 64170"/>
                <a:gd name="connsiteY16" fmla="*/ 33120 h 101258"/>
                <a:gd name="connsiteX17" fmla="*/ 7935 w 64170"/>
                <a:gd name="connsiteY17" fmla="*/ 33120 h 101258"/>
                <a:gd name="connsiteX18" fmla="*/ 7935 w 64170"/>
                <a:gd name="connsiteY18" fmla="*/ 33120 h 101258"/>
                <a:gd name="connsiteX19" fmla="*/ 9143 w 64170"/>
                <a:gd name="connsiteY19" fmla="*/ 17423 h 101258"/>
                <a:gd name="connsiteX20" fmla="*/ 23116 w 64170"/>
                <a:gd name="connsiteY20" fmla="*/ 1035 h 101258"/>
                <a:gd name="connsiteX21" fmla="*/ 34328 w 64170"/>
                <a:gd name="connsiteY21" fmla="*/ 3795 h 101258"/>
                <a:gd name="connsiteX22" fmla="*/ 44333 w 64170"/>
                <a:gd name="connsiteY22" fmla="*/ 6728 h 101258"/>
                <a:gd name="connsiteX23" fmla="*/ 50543 w 64170"/>
                <a:gd name="connsiteY23" fmla="*/ 0 h 101258"/>
                <a:gd name="connsiteX24" fmla="*/ 57961 w 64170"/>
                <a:gd name="connsiteY24" fmla="*/ 0 h 101258"/>
                <a:gd name="connsiteX25" fmla="*/ 44506 w 64170"/>
                <a:gd name="connsiteY25" fmla="*/ 16388 h 101258"/>
                <a:gd name="connsiteX26" fmla="*/ 32603 w 64170"/>
                <a:gd name="connsiteY26" fmla="*/ 13800 h 101258"/>
                <a:gd name="connsiteX27" fmla="*/ 23288 w 64170"/>
                <a:gd name="connsiteY27" fmla="*/ 11213 h 101258"/>
                <a:gd name="connsiteX28" fmla="*/ 16561 w 64170"/>
                <a:gd name="connsiteY28" fmla="*/ 17250 h 101258"/>
                <a:gd name="connsiteX29" fmla="*/ 9143 w 64170"/>
                <a:gd name="connsiteY29" fmla="*/ 17250 h 101258"/>
                <a:gd name="connsiteX30" fmla="*/ 9143 w 64170"/>
                <a:gd name="connsiteY30" fmla="*/ 17423 h 101258"/>
                <a:gd name="connsiteX31" fmla="*/ 9143 w 64170"/>
                <a:gd name="connsiteY31" fmla="*/ 17423 h 101258"/>
                <a:gd name="connsiteX32" fmla="*/ 29498 w 64170"/>
                <a:gd name="connsiteY32" fmla="*/ 87803 h 101258"/>
                <a:gd name="connsiteX33" fmla="*/ 42436 w 64170"/>
                <a:gd name="connsiteY33" fmla="*/ 81593 h 101258"/>
                <a:gd name="connsiteX34" fmla="*/ 46231 w 64170"/>
                <a:gd name="connsiteY34" fmla="*/ 67103 h 101258"/>
                <a:gd name="connsiteX35" fmla="*/ 38123 w 64170"/>
                <a:gd name="connsiteY35" fmla="*/ 67103 h 101258"/>
                <a:gd name="connsiteX36" fmla="*/ 17595 w 64170"/>
                <a:gd name="connsiteY36" fmla="*/ 79178 h 101258"/>
                <a:gd name="connsiteX37" fmla="*/ 29498 w 64170"/>
                <a:gd name="connsiteY37" fmla="*/ 87803 h 10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4170" h="101258">
                  <a:moveTo>
                    <a:pt x="7935" y="33120"/>
                  </a:moveTo>
                  <a:cubicBezTo>
                    <a:pt x="15180" y="30015"/>
                    <a:pt x="24668" y="27945"/>
                    <a:pt x="32603" y="27945"/>
                  </a:cubicBezTo>
                  <a:cubicBezTo>
                    <a:pt x="54338" y="27945"/>
                    <a:pt x="63136" y="36743"/>
                    <a:pt x="63136" y="57443"/>
                  </a:cubicBezTo>
                  <a:lnTo>
                    <a:pt x="63136" y="66413"/>
                  </a:lnTo>
                  <a:cubicBezTo>
                    <a:pt x="63136" y="73486"/>
                    <a:pt x="63308" y="78833"/>
                    <a:pt x="63308" y="84008"/>
                  </a:cubicBezTo>
                  <a:cubicBezTo>
                    <a:pt x="63481" y="89183"/>
                    <a:pt x="63653" y="94358"/>
                    <a:pt x="64170" y="99706"/>
                  </a:cubicBezTo>
                  <a:lnTo>
                    <a:pt x="47783" y="99706"/>
                  </a:lnTo>
                  <a:cubicBezTo>
                    <a:pt x="47093" y="96083"/>
                    <a:pt x="47093" y="91253"/>
                    <a:pt x="46920" y="89183"/>
                  </a:cubicBezTo>
                  <a:lnTo>
                    <a:pt x="46748" y="89183"/>
                  </a:lnTo>
                  <a:cubicBezTo>
                    <a:pt x="42436" y="96946"/>
                    <a:pt x="33293" y="101258"/>
                    <a:pt x="24840" y="101258"/>
                  </a:cubicBezTo>
                  <a:cubicBezTo>
                    <a:pt x="12248" y="101258"/>
                    <a:pt x="0" y="93668"/>
                    <a:pt x="0" y="80558"/>
                  </a:cubicBezTo>
                  <a:cubicBezTo>
                    <a:pt x="0" y="70035"/>
                    <a:pt x="5175" y="63998"/>
                    <a:pt x="12075" y="60721"/>
                  </a:cubicBezTo>
                  <a:cubicBezTo>
                    <a:pt x="18975" y="57443"/>
                    <a:pt x="28290" y="56753"/>
                    <a:pt x="35881" y="56753"/>
                  </a:cubicBezTo>
                  <a:lnTo>
                    <a:pt x="46058" y="56753"/>
                  </a:lnTo>
                  <a:cubicBezTo>
                    <a:pt x="46058" y="45368"/>
                    <a:pt x="40883" y="41745"/>
                    <a:pt x="30188" y="41745"/>
                  </a:cubicBezTo>
                  <a:cubicBezTo>
                    <a:pt x="22253" y="41745"/>
                    <a:pt x="14491" y="44678"/>
                    <a:pt x="8280" y="49335"/>
                  </a:cubicBezTo>
                  <a:lnTo>
                    <a:pt x="7935" y="33120"/>
                  </a:lnTo>
                  <a:lnTo>
                    <a:pt x="7935" y="33120"/>
                  </a:lnTo>
                  <a:lnTo>
                    <a:pt x="7935" y="33120"/>
                  </a:lnTo>
                  <a:close/>
                  <a:moveTo>
                    <a:pt x="9143" y="17423"/>
                  </a:moveTo>
                  <a:cubicBezTo>
                    <a:pt x="9143" y="9315"/>
                    <a:pt x="15008" y="1035"/>
                    <a:pt x="23116" y="1035"/>
                  </a:cubicBezTo>
                  <a:cubicBezTo>
                    <a:pt x="27083" y="1035"/>
                    <a:pt x="30705" y="2242"/>
                    <a:pt x="34328" y="3795"/>
                  </a:cubicBezTo>
                  <a:cubicBezTo>
                    <a:pt x="37950" y="5003"/>
                    <a:pt x="40711" y="6728"/>
                    <a:pt x="44333" y="6728"/>
                  </a:cubicBezTo>
                  <a:cubicBezTo>
                    <a:pt x="48645" y="6728"/>
                    <a:pt x="50543" y="3795"/>
                    <a:pt x="50543" y="0"/>
                  </a:cubicBezTo>
                  <a:lnTo>
                    <a:pt x="57961" y="0"/>
                  </a:lnTo>
                  <a:cubicBezTo>
                    <a:pt x="57961" y="8970"/>
                    <a:pt x="53303" y="16388"/>
                    <a:pt x="44506" y="16388"/>
                  </a:cubicBezTo>
                  <a:cubicBezTo>
                    <a:pt x="39330" y="16388"/>
                    <a:pt x="36225" y="15353"/>
                    <a:pt x="32603" y="13800"/>
                  </a:cubicBezTo>
                  <a:cubicBezTo>
                    <a:pt x="29153" y="12593"/>
                    <a:pt x="25875" y="11213"/>
                    <a:pt x="23288" y="11213"/>
                  </a:cubicBezTo>
                  <a:cubicBezTo>
                    <a:pt x="18458" y="11213"/>
                    <a:pt x="16561" y="14490"/>
                    <a:pt x="16561" y="17250"/>
                  </a:cubicBezTo>
                  <a:lnTo>
                    <a:pt x="9143" y="17250"/>
                  </a:lnTo>
                  <a:lnTo>
                    <a:pt x="9143" y="17423"/>
                  </a:lnTo>
                  <a:lnTo>
                    <a:pt x="9143" y="17423"/>
                  </a:lnTo>
                  <a:close/>
                  <a:moveTo>
                    <a:pt x="29498" y="87803"/>
                  </a:moveTo>
                  <a:cubicBezTo>
                    <a:pt x="35190" y="87803"/>
                    <a:pt x="39503" y="85216"/>
                    <a:pt x="42436" y="81593"/>
                  </a:cubicBezTo>
                  <a:cubicBezTo>
                    <a:pt x="45368" y="77626"/>
                    <a:pt x="46231" y="72623"/>
                    <a:pt x="46231" y="67103"/>
                  </a:cubicBezTo>
                  <a:lnTo>
                    <a:pt x="38123" y="67103"/>
                  </a:lnTo>
                  <a:cubicBezTo>
                    <a:pt x="29843" y="67103"/>
                    <a:pt x="17595" y="68483"/>
                    <a:pt x="17595" y="79178"/>
                  </a:cubicBezTo>
                  <a:cubicBezTo>
                    <a:pt x="17768" y="85216"/>
                    <a:pt x="22943" y="87803"/>
                    <a:pt x="29498" y="878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39" name="Gráfico 1344">
              <a:extLst>
                <a:ext uri="{FF2B5EF4-FFF2-40B4-BE49-F238E27FC236}">
                  <a16:creationId xmlns:a16="http://schemas.microsoft.com/office/drawing/2014/main" id="{A91F082D-A1CF-4A19-B9AE-152B9D86EBA0}"/>
                </a:ext>
              </a:extLst>
            </p:cNvPr>
            <p:cNvSpPr/>
            <p:nvPr/>
          </p:nvSpPr>
          <p:spPr>
            <a:xfrm>
              <a:off x="10552829" y="545954"/>
              <a:ext cx="74520" cy="74520"/>
            </a:xfrm>
            <a:custGeom>
              <a:avLst/>
              <a:gdLst>
                <a:gd name="connsiteX0" fmla="*/ 37260 w 74520"/>
                <a:gd name="connsiteY0" fmla="*/ 0 h 74520"/>
                <a:gd name="connsiteX1" fmla="*/ 74521 w 74520"/>
                <a:gd name="connsiteY1" fmla="*/ 37605 h 74520"/>
                <a:gd name="connsiteX2" fmla="*/ 37260 w 74520"/>
                <a:gd name="connsiteY2" fmla="*/ 74521 h 74520"/>
                <a:gd name="connsiteX3" fmla="*/ 0 w 74520"/>
                <a:gd name="connsiteY3" fmla="*/ 37605 h 74520"/>
                <a:gd name="connsiteX4" fmla="*/ 37260 w 74520"/>
                <a:gd name="connsiteY4" fmla="*/ 0 h 74520"/>
                <a:gd name="connsiteX5" fmla="*/ 37260 w 74520"/>
                <a:gd name="connsiteY5" fmla="*/ 60030 h 74520"/>
                <a:gd name="connsiteX6" fmla="*/ 55201 w 74520"/>
                <a:gd name="connsiteY6" fmla="*/ 35535 h 74520"/>
                <a:gd name="connsiteX7" fmla="*/ 37260 w 74520"/>
                <a:gd name="connsiteY7" fmla="*/ 14490 h 74520"/>
                <a:gd name="connsiteX8" fmla="*/ 19321 w 74520"/>
                <a:gd name="connsiteY8" fmla="*/ 35535 h 74520"/>
                <a:gd name="connsiteX9" fmla="*/ 37260 w 74520"/>
                <a:gd name="connsiteY9" fmla="*/ 6003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0" y="0"/>
                  </a:moveTo>
                  <a:cubicBezTo>
                    <a:pt x="58306" y="0"/>
                    <a:pt x="74521" y="14318"/>
                    <a:pt x="74521" y="37605"/>
                  </a:cubicBezTo>
                  <a:cubicBezTo>
                    <a:pt x="74521" y="57960"/>
                    <a:pt x="60893" y="74521"/>
                    <a:pt x="37260" y="74521"/>
                  </a:cubicBezTo>
                  <a:cubicBezTo>
                    <a:pt x="13628" y="74521"/>
                    <a:pt x="0" y="58133"/>
                    <a:pt x="0" y="37605"/>
                  </a:cubicBezTo>
                  <a:cubicBezTo>
                    <a:pt x="173" y="14318"/>
                    <a:pt x="16215" y="0"/>
                    <a:pt x="37260" y="0"/>
                  </a:cubicBezTo>
                  <a:moveTo>
                    <a:pt x="37260" y="60030"/>
                  </a:moveTo>
                  <a:cubicBezTo>
                    <a:pt x="51578" y="60030"/>
                    <a:pt x="55201" y="47265"/>
                    <a:pt x="55201" y="35535"/>
                  </a:cubicBezTo>
                  <a:cubicBezTo>
                    <a:pt x="55201" y="24668"/>
                    <a:pt x="49508" y="14490"/>
                    <a:pt x="37260" y="14490"/>
                  </a:cubicBezTo>
                  <a:cubicBezTo>
                    <a:pt x="25186" y="14490"/>
                    <a:pt x="19321" y="24840"/>
                    <a:pt x="19321" y="35535"/>
                  </a:cubicBezTo>
                  <a:cubicBezTo>
                    <a:pt x="19321" y="47265"/>
                    <a:pt x="23288" y="60030"/>
                    <a:pt x="37260" y="60030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0" name="Gráfico 1344">
              <a:extLst>
                <a:ext uri="{FF2B5EF4-FFF2-40B4-BE49-F238E27FC236}">
                  <a16:creationId xmlns:a16="http://schemas.microsoft.com/office/drawing/2014/main" id="{BF80B14C-2716-4923-9E8E-A6E9A58E6A59}"/>
                </a:ext>
              </a:extLst>
            </p:cNvPr>
            <p:cNvSpPr/>
            <p:nvPr/>
          </p:nvSpPr>
          <p:spPr>
            <a:xfrm>
              <a:off x="10681170" y="523184"/>
              <a:ext cx="55890" cy="97290"/>
            </a:xfrm>
            <a:custGeom>
              <a:avLst/>
              <a:gdLst>
                <a:gd name="connsiteX0" fmla="*/ 0 w 55890"/>
                <a:gd name="connsiteY0" fmla="*/ 0 h 97290"/>
                <a:gd name="connsiteX1" fmla="*/ 18975 w 55890"/>
                <a:gd name="connsiteY1" fmla="*/ 0 h 97290"/>
                <a:gd name="connsiteX2" fmla="*/ 18975 w 55890"/>
                <a:gd name="connsiteY2" fmla="*/ 81766 h 97290"/>
                <a:gd name="connsiteX3" fmla="*/ 55891 w 55890"/>
                <a:gd name="connsiteY3" fmla="*/ 81766 h 97290"/>
                <a:gd name="connsiteX4" fmla="*/ 55891 w 55890"/>
                <a:gd name="connsiteY4" fmla="*/ 97291 h 97290"/>
                <a:gd name="connsiteX5" fmla="*/ 0 w 55890"/>
                <a:gd name="connsiteY5" fmla="*/ 97291 h 97290"/>
                <a:gd name="connsiteX6" fmla="*/ 0 w 55890"/>
                <a:gd name="connsiteY6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890" h="97290">
                  <a:moveTo>
                    <a:pt x="0" y="0"/>
                  </a:moveTo>
                  <a:lnTo>
                    <a:pt x="18975" y="0"/>
                  </a:lnTo>
                  <a:lnTo>
                    <a:pt x="18975" y="81766"/>
                  </a:lnTo>
                  <a:lnTo>
                    <a:pt x="55891" y="81766"/>
                  </a:lnTo>
                  <a:lnTo>
                    <a:pt x="55891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1" name="Gráfico 1344">
              <a:extLst>
                <a:ext uri="{FF2B5EF4-FFF2-40B4-BE49-F238E27FC236}">
                  <a16:creationId xmlns:a16="http://schemas.microsoft.com/office/drawing/2014/main" id="{B951533A-9926-48BE-8F7D-CD3B3C61DC7F}"/>
                </a:ext>
              </a:extLst>
            </p:cNvPr>
            <p:cNvSpPr/>
            <p:nvPr/>
          </p:nvSpPr>
          <p:spPr>
            <a:xfrm>
              <a:off x="10749653" y="548024"/>
              <a:ext cx="63998" cy="72450"/>
            </a:xfrm>
            <a:custGeom>
              <a:avLst/>
              <a:gdLst>
                <a:gd name="connsiteX0" fmla="*/ 63826 w 63998"/>
                <a:gd name="connsiteY0" fmla="*/ 70725 h 72450"/>
                <a:gd name="connsiteX1" fmla="*/ 46748 w 63998"/>
                <a:gd name="connsiteY1" fmla="*/ 70725 h 72450"/>
                <a:gd name="connsiteX2" fmla="*/ 46748 w 63998"/>
                <a:gd name="connsiteY2" fmla="*/ 61238 h 72450"/>
                <a:gd name="connsiteX3" fmla="*/ 46576 w 63998"/>
                <a:gd name="connsiteY3" fmla="*/ 61238 h 72450"/>
                <a:gd name="connsiteX4" fmla="*/ 23633 w 63998"/>
                <a:gd name="connsiteY4" fmla="*/ 72450 h 72450"/>
                <a:gd name="connsiteX5" fmla="*/ 0 w 63998"/>
                <a:gd name="connsiteY5" fmla="*/ 44678 h 72450"/>
                <a:gd name="connsiteX6" fmla="*/ 0 w 63998"/>
                <a:gd name="connsiteY6" fmla="*/ 0 h 72450"/>
                <a:gd name="connsiteX7" fmla="*/ 18113 w 63998"/>
                <a:gd name="connsiteY7" fmla="*/ 0 h 72450"/>
                <a:gd name="connsiteX8" fmla="*/ 18113 w 63998"/>
                <a:gd name="connsiteY8" fmla="*/ 37778 h 72450"/>
                <a:gd name="connsiteX9" fmla="*/ 29843 w 63998"/>
                <a:gd name="connsiteY9" fmla="*/ 58133 h 72450"/>
                <a:gd name="connsiteX10" fmla="*/ 45885 w 63998"/>
                <a:gd name="connsiteY10" fmla="*/ 34673 h 72450"/>
                <a:gd name="connsiteX11" fmla="*/ 45885 w 63998"/>
                <a:gd name="connsiteY11" fmla="*/ 173 h 72450"/>
                <a:gd name="connsiteX12" fmla="*/ 63998 w 63998"/>
                <a:gd name="connsiteY12" fmla="*/ 173 h 72450"/>
                <a:gd name="connsiteX13" fmla="*/ 63998 w 63998"/>
                <a:gd name="connsiteY13" fmla="*/ 70898 h 72450"/>
                <a:gd name="connsiteX14" fmla="*/ 63826 w 63998"/>
                <a:gd name="connsiteY14" fmla="*/ 70898 h 72450"/>
                <a:gd name="connsiteX15" fmla="*/ 63826 w 63998"/>
                <a:gd name="connsiteY15" fmla="*/ 7072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998" h="72450">
                  <a:moveTo>
                    <a:pt x="63826" y="70725"/>
                  </a:moveTo>
                  <a:lnTo>
                    <a:pt x="46748" y="70725"/>
                  </a:lnTo>
                  <a:lnTo>
                    <a:pt x="46748" y="61238"/>
                  </a:lnTo>
                  <a:lnTo>
                    <a:pt x="46576" y="61238"/>
                  </a:lnTo>
                  <a:cubicBezTo>
                    <a:pt x="40883" y="68310"/>
                    <a:pt x="33120" y="72450"/>
                    <a:pt x="23633" y="72450"/>
                  </a:cubicBezTo>
                  <a:cubicBezTo>
                    <a:pt x="7073" y="72450"/>
                    <a:pt x="0" y="60548"/>
                    <a:pt x="0" y="44678"/>
                  </a:cubicBezTo>
                  <a:lnTo>
                    <a:pt x="0" y="0"/>
                  </a:lnTo>
                  <a:lnTo>
                    <a:pt x="18113" y="0"/>
                  </a:lnTo>
                  <a:lnTo>
                    <a:pt x="18113" y="37778"/>
                  </a:lnTo>
                  <a:cubicBezTo>
                    <a:pt x="18113" y="46403"/>
                    <a:pt x="18285" y="58133"/>
                    <a:pt x="29843" y="58133"/>
                  </a:cubicBezTo>
                  <a:cubicBezTo>
                    <a:pt x="42953" y="58133"/>
                    <a:pt x="45885" y="43643"/>
                    <a:pt x="45885" y="34673"/>
                  </a:cubicBezTo>
                  <a:lnTo>
                    <a:pt x="45885" y="173"/>
                  </a:lnTo>
                  <a:lnTo>
                    <a:pt x="63998" y="173"/>
                  </a:lnTo>
                  <a:lnTo>
                    <a:pt x="63998" y="70898"/>
                  </a:lnTo>
                  <a:lnTo>
                    <a:pt x="63826" y="70898"/>
                  </a:lnTo>
                  <a:lnTo>
                    <a:pt x="63826" y="70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2" name="Gráfico 1344">
              <a:extLst>
                <a:ext uri="{FF2B5EF4-FFF2-40B4-BE49-F238E27FC236}">
                  <a16:creationId xmlns:a16="http://schemas.microsoft.com/office/drawing/2014/main" id="{DA5E1175-6169-42EF-A9DE-A3356FF19CD8}"/>
                </a:ext>
              </a:extLst>
            </p:cNvPr>
            <p:cNvSpPr/>
            <p:nvPr/>
          </p:nvSpPr>
          <p:spPr>
            <a:xfrm>
              <a:off x="10832281" y="519044"/>
              <a:ext cx="31050" cy="101430"/>
            </a:xfrm>
            <a:custGeom>
              <a:avLst/>
              <a:gdLst>
                <a:gd name="connsiteX0" fmla="*/ 11730 w 31050"/>
                <a:gd name="connsiteY0" fmla="*/ 0 h 101430"/>
                <a:gd name="connsiteX1" fmla="*/ 31050 w 31050"/>
                <a:gd name="connsiteY1" fmla="*/ 0 h 101430"/>
                <a:gd name="connsiteX2" fmla="*/ 11730 w 31050"/>
                <a:gd name="connsiteY2" fmla="*/ 20355 h 101430"/>
                <a:gd name="connsiteX3" fmla="*/ 0 w 31050"/>
                <a:gd name="connsiteY3" fmla="*/ 20355 h 101430"/>
                <a:gd name="connsiteX4" fmla="*/ 11730 w 31050"/>
                <a:gd name="connsiteY4" fmla="*/ 0 h 101430"/>
                <a:gd name="connsiteX5" fmla="*/ 11730 w 31050"/>
                <a:gd name="connsiteY5" fmla="*/ 0 h 101430"/>
                <a:gd name="connsiteX6" fmla="*/ 11730 w 31050"/>
                <a:gd name="connsiteY6" fmla="*/ 0 h 101430"/>
                <a:gd name="connsiteX7" fmla="*/ 862 w 31050"/>
                <a:gd name="connsiteY7" fmla="*/ 30188 h 101430"/>
                <a:gd name="connsiteX8" fmla="*/ 19838 w 31050"/>
                <a:gd name="connsiteY8" fmla="*/ 30188 h 101430"/>
                <a:gd name="connsiteX9" fmla="*/ 19838 w 31050"/>
                <a:gd name="connsiteY9" fmla="*/ 101431 h 101430"/>
                <a:gd name="connsiteX10" fmla="*/ 862 w 31050"/>
                <a:gd name="connsiteY10" fmla="*/ 101431 h 101430"/>
                <a:gd name="connsiteX11" fmla="*/ 862 w 31050"/>
                <a:gd name="connsiteY11" fmla="*/ 30188 h 101430"/>
                <a:gd name="connsiteX12" fmla="*/ 862 w 31050"/>
                <a:gd name="connsiteY12" fmla="*/ 30188 h 101430"/>
                <a:gd name="connsiteX13" fmla="*/ 862 w 31050"/>
                <a:gd name="connsiteY13" fmla="*/ 30188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50" h="101430">
                  <a:moveTo>
                    <a:pt x="11730" y="0"/>
                  </a:moveTo>
                  <a:lnTo>
                    <a:pt x="31050" y="0"/>
                  </a:lnTo>
                  <a:lnTo>
                    <a:pt x="11730" y="20355"/>
                  </a:lnTo>
                  <a:lnTo>
                    <a:pt x="0" y="20355"/>
                  </a:lnTo>
                  <a:lnTo>
                    <a:pt x="11730" y="0"/>
                  </a:lnTo>
                  <a:lnTo>
                    <a:pt x="11730" y="0"/>
                  </a:lnTo>
                  <a:lnTo>
                    <a:pt x="11730" y="0"/>
                  </a:lnTo>
                  <a:close/>
                  <a:moveTo>
                    <a:pt x="862" y="30188"/>
                  </a:moveTo>
                  <a:lnTo>
                    <a:pt x="19838" y="30188"/>
                  </a:lnTo>
                  <a:lnTo>
                    <a:pt x="19838" y="101431"/>
                  </a:lnTo>
                  <a:lnTo>
                    <a:pt x="862" y="101431"/>
                  </a:lnTo>
                  <a:lnTo>
                    <a:pt x="862" y="30188"/>
                  </a:lnTo>
                  <a:lnTo>
                    <a:pt x="862" y="30188"/>
                  </a:lnTo>
                  <a:lnTo>
                    <a:pt x="862" y="301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3" name="Gráfico 1344">
              <a:extLst>
                <a:ext uri="{FF2B5EF4-FFF2-40B4-BE49-F238E27FC236}">
                  <a16:creationId xmlns:a16="http://schemas.microsoft.com/office/drawing/2014/main" id="{399BEFA4-7B27-4907-B383-5371171C2A57}"/>
                </a:ext>
              </a:extLst>
            </p:cNvPr>
            <p:cNvSpPr/>
            <p:nvPr/>
          </p:nvSpPr>
          <p:spPr>
            <a:xfrm>
              <a:off x="10867471" y="545782"/>
              <a:ext cx="51577" cy="74692"/>
            </a:xfrm>
            <a:custGeom>
              <a:avLst/>
              <a:gdLst>
                <a:gd name="connsiteX0" fmla="*/ 46748 w 51577"/>
                <a:gd name="connsiteY0" fmla="*/ 16560 h 74692"/>
                <a:gd name="connsiteX1" fmla="*/ 30015 w 51577"/>
                <a:gd name="connsiteY1" fmla="*/ 13628 h 74692"/>
                <a:gd name="connsiteX2" fmla="*/ 19147 w 51577"/>
                <a:gd name="connsiteY2" fmla="*/ 21563 h 74692"/>
                <a:gd name="connsiteX3" fmla="*/ 51578 w 51577"/>
                <a:gd name="connsiteY3" fmla="*/ 51405 h 74692"/>
                <a:gd name="connsiteX4" fmla="*/ 21390 w 51577"/>
                <a:gd name="connsiteY4" fmla="*/ 74693 h 74692"/>
                <a:gd name="connsiteX5" fmla="*/ 517 w 51577"/>
                <a:gd name="connsiteY5" fmla="*/ 71760 h 74692"/>
                <a:gd name="connsiteX6" fmla="*/ 1552 w 51577"/>
                <a:gd name="connsiteY6" fmla="*/ 56580 h 74692"/>
                <a:gd name="connsiteX7" fmla="*/ 20010 w 51577"/>
                <a:gd name="connsiteY7" fmla="*/ 61238 h 74692"/>
                <a:gd name="connsiteX8" fmla="*/ 32258 w 51577"/>
                <a:gd name="connsiteY8" fmla="*/ 52440 h 74692"/>
                <a:gd name="connsiteX9" fmla="*/ 0 w 51577"/>
                <a:gd name="connsiteY9" fmla="*/ 22253 h 74692"/>
                <a:gd name="connsiteX10" fmla="*/ 27945 w 51577"/>
                <a:gd name="connsiteY10" fmla="*/ 0 h 74692"/>
                <a:gd name="connsiteX11" fmla="*/ 48300 w 51577"/>
                <a:gd name="connsiteY11" fmla="*/ 2588 h 74692"/>
                <a:gd name="connsiteX12" fmla="*/ 46748 w 51577"/>
                <a:gd name="connsiteY12" fmla="*/ 16560 h 74692"/>
                <a:gd name="connsiteX13" fmla="*/ 46748 w 51577"/>
                <a:gd name="connsiteY13" fmla="*/ 16560 h 74692"/>
                <a:gd name="connsiteX14" fmla="*/ 46748 w 51577"/>
                <a:gd name="connsiteY14" fmla="*/ 16560 h 7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577" h="74692">
                  <a:moveTo>
                    <a:pt x="46748" y="16560"/>
                  </a:moveTo>
                  <a:cubicBezTo>
                    <a:pt x="41055" y="14663"/>
                    <a:pt x="36915" y="13628"/>
                    <a:pt x="30015" y="13628"/>
                  </a:cubicBezTo>
                  <a:cubicBezTo>
                    <a:pt x="25012" y="13628"/>
                    <a:pt x="19147" y="15353"/>
                    <a:pt x="19147" y="21563"/>
                  </a:cubicBezTo>
                  <a:cubicBezTo>
                    <a:pt x="19147" y="32948"/>
                    <a:pt x="51578" y="25703"/>
                    <a:pt x="51578" y="51405"/>
                  </a:cubicBezTo>
                  <a:cubicBezTo>
                    <a:pt x="51578" y="68138"/>
                    <a:pt x="36570" y="74693"/>
                    <a:pt x="21390" y="74693"/>
                  </a:cubicBezTo>
                  <a:cubicBezTo>
                    <a:pt x="14317" y="74693"/>
                    <a:pt x="7073" y="73485"/>
                    <a:pt x="517" y="71760"/>
                  </a:cubicBezTo>
                  <a:lnTo>
                    <a:pt x="1552" y="56580"/>
                  </a:lnTo>
                  <a:cubicBezTo>
                    <a:pt x="7245" y="59513"/>
                    <a:pt x="13455" y="61238"/>
                    <a:pt x="20010" y="61238"/>
                  </a:cubicBezTo>
                  <a:cubicBezTo>
                    <a:pt x="24668" y="61238"/>
                    <a:pt x="32258" y="59513"/>
                    <a:pt x="32258" y="52440"/>
                  </a:cubicBezTo>
                  <a:cubicBezTo>
                    <a:pt x="32258" y="38640"/>
                    <a:pt x="0" y="47955"/>
                    <a:pt x="0" y="22253"/>
                  </a:cubicBezTo>
                  <a:cubicBezTo>
                    <a:pt x="0" y="6900"/>
                    <a:pt x="13455" y="0"/>
                    <a:pt x="27945" y="0"/>
                  </a:cubicBezTo>
                  <a:cubicBezTo>
                    <a:pt x="36743" y="0"/>
                    <a:pt x="42262" y="1552"/>
                    <a:pt x="48300" y="2588"/>
                  </a:cubicBezTo>
                  <a:lnTo>
                    <a:pt x="46748" y="16560"/>
                  </a:lnTo>
                  <a:lnTo>
                    <a:pt x="46748" y="16560"/>
                  </a:lnTo>
                  <a:lnTo>
                    <a:pt x="46748" y="165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744" name="Agrupar 743">
            <a:extLst>
              <a:ext uri="{FF2B5EF4-FFF2-40B4-BE49-F238E27FC236}">
                <a16:creationId xmlns:a16="http://schemas.microsoft.com/office/drawing/2014/main" id="{837E27C7-0313-4581-944C-069BBEE5F800}"/>
              </a:ext>
            </a:extLst>
          </p:cNvPr>
          <p:cNvGrpSpPr/>
          <p:nvPr/>
        </p:nvGrpSpPr>
        <p:grpSpPr>
          <a:xfrm>
            <a:off x="9598521" y="752956"/>
            <a:ext cx="455402" cy="138690"/>
            <a:chOff x="9430881" y="752956"/>
            <a:chExt cx="455402" cy="138690"/>
          </a:xfrm>
        </p:grpSpPr>
        <p:sp>
          <p:nvSpPr>
            <p:cNvPr id="745" name="Gráfico 1344">
              <a:extLst>
                <a:ext uri="{FF2B5EF4-FFF2-40B4-BE49-F238E27FC236}">
                  <a16:creationId xmlns:a16="http://schemas.microsoft.com/office/drawing/2014/main" id="{76606043-858D-429A-9239-D1D8C5CD1E2A}"/>
                </a:ext>
              </a:extLst>
            </p:cNvPr>
            <p:cNvSpPr/>
            <p:nvPr/>
          </p:nvSpPr>
          <p:spPr>
            <a:xfrm>
              <a:off x="9430881" y="752956"/>
              <a:ext cx="72450" cy="105570"/>
            </a:xfrm>
            <a:custGeom>
              <a:avLst/>
              <a:gdLst>
                <a:gd name="connsiteX0" fmla="*/ 31050 w 72450"/>
                <a:gd name="connsiteY0" fmla="*/ 8970 h 105570"/>
                <a:gd name="connsiteX1" fmla="*/ 0 w 72450"/>
                <a:gd name="connsiteY1" fmla="*/ 8970 h 105570"/>
                <a:gd name="connsiteX2" fmla="*/ 0 w 72450"/>
                <a:gd name="connsiteY2" fmla="*/ 0 h 105570"/>
                <a:gd name="connsiteX3" fmla="*/ 72450 w 72450"/>
                <a:gd name="connsiteY3" fmla="*/ 0 h 105570"/>
                <a:gd name="connsiteX4" fmla="*/ 72450 w 72450"/>
                <a:gd name="connsiteY4" fmla="*/ 8970 h 105570"/>
                <a:gd name="connsiteX5" fmla="*/ 41400 w 72450"/>
                <a:gd name="connsiteY5" fmla="*/ 8970 h 105570"/>
                <a:gd name="connsiteX6" fmla="*/ 41400 w 72450"/>
                <a:gd name="connsiteY6" fmla="*/ 105571 h 105570"/>
                <a:gd name="connsiteX7" fmla="*/ 31050 w 72450"/>
                <a:gd name="connsiteY7" fmla="*/ 105571 h 105570"/>
                <a:gd name="connsiteX8" fmla="*/ 31050 w 72450"/>
                <a:gd name="connsiteY8" fmla="*/ 8970 h 10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50" h="105570">
                  <a:moveTo>
                    <a:pt x="31050" y="8970"/>
                  </a:moveTo>
                  <a:lnTo>
                    <a:pt x="0" y="8970"/>
                  </a:lnTo>
                  <a:lnTo>
                    <a:pt x="0" y="0"/>
                  </a:lnTo>
                  <a:lnTo>
                    <a:pt x="72450" y="0"/>
                  </a:lnTo>
                  <a:lnTo>
                    <a:pt x="72450" y="8970"/>
                  </a:lnTo>
                  <a:lnTo>
                    <a:pt x="41400" y="8970"/>
                  </a:lnTo>
                  <a:lnTo>
                    <a:pt x="41400" y="105571"/>
                  </a:lnTo>
                  <a:lnTo>
                    <a:pt x="31050" y="105571"/>
                  </a:lnTo>
                  <a:lnTo>
                    <a:pt x="31050" y="897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6" name="Gráfico 1344">
              <a:extLst>
                <a:ext uri="{FF2B5EF4-FFF2-40B4-BE49-F238E27FC236}">
                  <a16:creationId xmlns:a16="http://schemas.microsoft.com/office/drawing/2014/main" id="{717237FE-F033-4D04-9873-79BC0B020D30}"/>
                </a:ext>
              </a:extLst>
            </p:cNvPr>
            <p:cNvSpPr/>
            <p:nvPr/>
          </p:nvSpPr>
          <p:spPr>
            <a:xfrm>
              <a:off x="9492981" y="779866"/>
              <a:ext cx="64170" cy="80730"/>
            </a:xfrm>
            <a:custGeom>
              <a:avLst/>
              <a:gdLst>
                <a:gd name="connsiteX0" fmla="*/ 58305 w 64170"/>
                <a:gd name="connsiteY0" fmla="*/ 76418 h 80730"/>
                <a:gd name="connsiteX1" fmla="*/ 35707 w 64170"/>
                <a:gd name="connsiteY1" fmla="*/ 80731 h 80730"/>
                <a:gd name="connsiteX2" fmla="*/ 0 w 64170"/>
                <a:gd name="connsiteY2" fmla="*/ 40365 h 80730"/>
                <a:gd name="connsiteX3" fmla="*/ 33120 w 64170"/>
                <a:gd name="connsiteY3" fmla="*/ 0 h 80730"/>
                <a:gd name="connsiteX4" fmla="*/ 64170 w 64170"/>
                <a:gd name="connsiteY4" fmla="*/ 38295 h 80730"/>
                <a:gd name="connsiteX5" fmla="*/ 64170 w 64170"/>
                <a:gd name="connsiteY5" fmla="*/ 43298 h 80730"/>
                <a:gd name="connsiteX6" fmla="*/ 10695 w 64170"/>
                <a:gd name="connsiteY6" fmla="*/ 43298 h 80730"/>
                <a:gd name="connsiteX7" fmla="*/ 36398 w 64170"/>
                <a:gd name="connsiteY7" fmla="*/ 72796 h 80730"/>
                <a:gd name="connsiteX8" fmla="*/ 58305 w 64170"/>
                <a:gd name="connsiteY8" fmla="*/ 66930 h 80730"/>
                <a:gd name="connsiteX9" fmla="*/ 58305 w 64170"/>
                <a:gd name="connsiteY9" fmla="*/ 76418 h 80730"/>
                <a:gd name="connsiteX10" fmla="*/ 58305 w 64170"/>
                <a:gd name="connsiteY10" fmla="*/ 76418 h 80730"/>
                <a:gd name="connsiteX11" fmla="*/ 58305 w 64170"/>
                <a:gd name="connsiteY11" fmla="*/ 76418 h 80730"/>
                <a:gd name="connsiteX12" fmla="*/ 53648 w 64170"/>
                <a:gd name="connsiteY12" fmla="*/ 34845 h 80730"/>
                <a:gd name="connsiteX13" fmla="*/ 33637 w 64170"/>
                <a:gd name="connsiteY13" fmla="*/ 7935 h 80730"/>
                <a:gd name="connsiteX14" fmla="*/ 10522 w 64170"/>
                <a:gd name="connsiteY14" fmla="*/ 34845 h 80730"/>
                <a:gd name="connsiteX15" fmla="*/ 53648 w 64170"/>
                <a:gd name="connsiteY15" fmla="*/ 34845 h 80730"/>
                <a:gd name="connsiteX16" fmla="*/ 53648 w 64170"/>
                <a:gd name="connsiteY16" fmla="*/ 34845 h 80730"/>
                <a:gd name="connsiteX17" fmla="*/ 53648 w 64170"/>
                <a:gd name="connsiteY17" fmla="*/ 34845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170" h="80730">
                  <a:moveTo>
                    <a:pt x="58305" y="76418"/>
                  </a:moveTo>
                  <a:cubicBezTo>
                    <a:pt x="51578" y="79178"/>
                    <a:pt x="42780" y="80731"/>
                    <a:pt x="35707" y="80731"/>
                  </a:cubicBezTo>
                  <a:cubicBezTo>
                    <a:pt x="9832" y="80731"/>
                    <a:pt x="0" y="63480"/>
                    <a:pt x="0" y="40365"/>
                  </a:cubicBezTo>
                  <a:cubicBezTo>
                    <a:pt x="0" y="16733"/>
                    <a:pt x="13282" y="0"/>
                    <a:pt x="33120" y="0"/>
                  </a:cubicBezTo>
                  <a:cubicBezTo>
                    <a:pt x="55027" y="0"/>
                    <a:pt x="64170" y="17595"/>
                    <a:pt x="64170" y="38295"/>
                  </a:cubicBezTo>
                  <a:lnTo>
                    <a:pt x="64170" y="43298"/>
                  </a:lnTo>
                  <a:lnTo>
                    <a:pt x="10695" y="43298"/>
                  </a:lnTo>
                  <a:cubicBezTo>
                    <a:pt x="10695" y="59685"/>
                    <a:pt x="19665" y="72796"/>
                    <a:pt x="36398" y="72796"/>
                  </a:cubicBezTo>
                  <a:cubicBezTo>
                    <a:pt x="43297" y="72796"/>
                    <a:pt x="53820" y="70035"/>
                    <a:pt x="58305" y="66930"/>
                  </a:cubicBezTo>
                  <a:lnTo>
                    <a:pt x="58305" y="76418"/>
                  </a:lnTo>
                  <a:lnTo>
                    <a:pt x="58305" y="76418"/>
                  </a:lnTo>
                  <a:lnTo>
                    <a:pt x="58305" y="76418"/>
                  </a:lnTo>
                  <a:close/>
                  <a:moveTo>
                    <a:pt x="53648" y="34845"/>
                  </a:moveTo>
                  <a:cubicBezTo>
                    <a:pt x="53648" y="21563"/>
                    <a:pt x="48127" y="7935"/>
                    <a:pt x="33637" y="7935"/>
                  </a:cubicBezTo>
                  <a:cubicBezTo>
                    <a:pt x="19320" y="7935"/>
                    <a:pt x="10522" y="22080"/>
                    <a:pt x="10522" y="34845"/>
                  </a:cubicBezTo>
                  <a:lnTo>
                    <a:pt x="53648" y="34845"/>
                  </a:lnTo>
                  <a:lnTo>
                    <a:pt x="53648" y="34845"/>
                  </a:lnTo>
                  <a:lnTo>
                    <a:pt x="53648" y="3484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7" name="Gráfico 1344">
              <a:extLst>
                <a:ext uri="{FF2B5EF4-FFF2-40B4-BE49-F238E27FC236}">
                  <a16:creationId xmlns:a16="http://schemas.microsoft.com/office/drawing/2014/main" id="{97865DBD-665B-49F3-831C-9E5BBAAFC654}"/>
                </a:ext>
              </a:extLst>
            </p:cNvPr>
            <p:cNvSpPr/>
            <p:nvPr/>
          </p:nvSpPr>
          <p:spPr>
            <a:xfrm>
              <a:off x="9571642" y="779693"/>
              <a:ext cx="64342" cy="111953"/>
            </a:xfrm>
            <a:custGeom>
              <a:avLst/>
              <a:gdLst>
                <a:gd name="connsiteX0" fmla="*/ 63998 w 64342"/>
                <a:gd name="connsiteY0" fmla="*/ 72796 h 111953"/>
                <a:gd name="connsiteX1" fmla="*/ 28635 w 64342"/>
                <a:gd name="connsiteY1" fmla="*/ 111953 h 111953"/>
                <a:gd name="connsiteX2" fmla="*/ 5865 w 64342"/>
                <a:gd name="connsiteY2" fmla="*/ 107813 h 111953"/>
                <a:gd name="connsiteX3" fmla="*/ 6555 w 64342"/>
                <a:gd name="connsiteY3" fmla="*/ 98326 h 111953"/>
                <a:gd name="connsiteX4" fmla="*/ 28807 w 64342"/>
                <a:gd name="connsiteY4" fmla="*/ 103673 h 111953"/>
                <a:gd name="connsiteX5" fmla="*/ 54855 w 64342"/>
                <a:gd name="connsiteY5" fmla="*/ 63825 h 111953"/>
                <a:gd name="connsiteX6" fmla="*/ 54683 w 64342"/>
                <a:gd name="connsiteY6" fmla="*/ 63825 h 111953"/>
                <a:gd name="connsiteX7" fmla="*/ 31740 w 64342"/>
                <a:gd name="connsiteY7" fmla="*/ 79006 h 111953"/>
                <a:gd name="connsiteX8" fmla="*/ 0 w 64342"/>
                <a:gd name="connsiteY8" fmla="*/ 40365 h 111953"/>
                <a:gd name="connsiteX9" fmla="*/ 31223 w 64342"/>
                <a:gd name="connsiteY9" fmla="*/ 0 h 111953"/>
                <a:gd name="connsiteX10" fmla="*/ 54855 w 64342"/>
                <a:gd name="connsiteY10" fmla="*/ 10523 h 111953"/>
                <a:gd name="connsiteX11" fmla="*/ 55028 w 64342"/>
                <a:gd name="connsiteY11" fmla="*/ 10523 h 111953"/>
                <a:gd name="connsiteX12" fmla="*/ 55028 w 64342"/>
                <a:gd name="connsiteY12" fmla="*/ 1725 h 111953"/>
                <a:gd name="connsiteX13" fmla="*/ 64343 w 64342"/>
                <a:gd name="connsiteY13" fmla="*/ 1725 h 111953"/>
                <a:gd name="connsiteX14" fmla="*/ 64343 w 64342"/>
                <a:gd name="connsiteY14" fmla="*/ 72623 h 111953"/>
                <a:gd name="connsiteX15" fmla="*/ 63998 w 64342"/>
                <a:gd name="connsiteY15" fmla="*/ 72623 h 111953"/>
                <a:gd name="connsiteX16" fmla="*/ 63998 w 64342"/>
                <a:gd name="connsiteY16" fmla="*/ 72796 h 111953"/>
                <a:gd name="connsiteX17" fmla="*/ 31740 w 64342"/>
                <a:gd name="connsiteY17" fmla="*/ 70898 h 111953"/>
                <a:gd name="connsiteX18" fmla="*/ 54683 w 64342"/>
                <a:gd name="connsiteY18" fmla="*/ 40538 h 111953"/>
                <a:gd name="connsiteX19" fmla="*/ 32430 w 64342"/>
                <a:gd name="connsiteY19" fmla="*/ 8280 h 111953"/>
                <a:gd name="connsiteX20" fmla="*/ 10178 w 64342"/>
                <a:gd name="connsiteY20" fmla="*/ 40538 h 111953"/>
                <a:gd name="connsiteX21" fmla="*/ 31740 w 64342"/>
                <a:gd name="connsiteY21" fmla="*/ 70898 h 111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4342" h="111953">
                  <a:moveTo>
                    <a:pt x="63998" y="72796"/>
                  </a:moveTo>
                  <a:cubicBezTo>
                    <a:pt x="63998" y="94358"/>
                    <a:pt x="54510" y="111953"/>
                    <a:pt x="28635" y="111953"/>
                  </a:cubicBezTo>
                  <a:cubicBezTo>
                    <a:pt x="18803" y="111953"/>
                    <a:pt x="9660" y="109193"/>
                    <a:pt x="5865" y="107813"/>
                  </a:cubicBezTo>
                  <a:lnTo>
                    <a:pt x="6555" y="98326"/>
                  </a:lnTo>
                  <a:cubicBezTo>
                    <a:pt x="12420" y="101258"/>
                    <a:pt x="20700" y="103673"/>
                    <a:pt x="28807" y="103673"/>
                  </a:cubicBezTo>
                  <a:cubicBezTo>
                    <a:pt x="52785" y="103673"/>
                    <a:pt x="54855" y="85906"/>
                    <a:pt x="54855" y="63825"/>
                  </a:cubicBezTo>
                  <a:lnTo>
                    <a:pt x="54683" y="63825"/>
                  </a:lnTo>
                  <a:cubicBezTo>
                    <a:pt x="49680" y="75038"/>
                    <a:pt x="41400" y="79006"/>
                    <a:pt x="31740" y="79006"/>
                  </a:cubicBezTo>
                  <a:cubicBezTo>
                    <a:pt x="7590" y="79006"/>
                    <a:pt x="0" y="57443"/>
                    <a:pt x="0" y="40365"/>
                  </a:cubicBezTo>
                  <a:cubicBezTo>
                    <a:pt x="0" y="16905"/>
                    <a:pt x="8797" y="0"/>
                    <a:pt x="31223" y="0"/>
                  </a:cubicBezTo>
                  <a:cubicBezTo>
                    <a:pt x="41400" y="0"/>
                    <a:pt x="47783" y="1208"/>
                    <a:pt x="54855" y="10523"/>
                  </a:cubicBezTo>
                  <a:lnTo>
                    <a:pt x="55028" y="10523"/>
                  </a:lnTo>
                  <a:lnTo>
                    <a:pt x="55028" y="1725"/>
                  </a:lnTo>
                  <a:lnTo>
                    <a:pt x="64343" y="1725"/>
                  </a:lnTo>
                  <a:lnTo>
                    <a:pt x="64343" y="72623"/>
                  </a:lnTo>
                  <a:lnTo>
                    <a:pt x="63998" y="72623"/>
                  </a:lnTo>
                  <a:lnTo>
                    <a:pt x="63998" y="72796"/>
                  </a:lnTo>
                  <a:close/>
                  <a:moveTo>
                    <a:pt x="31740" y="70898"/>
                  </a:moveTo>
                  <a:cubicBezTo>
                    <a:pt x="48645" y="70898"/>
                    <a:pt x="54683" y="54510"/>
                    <a:pt x="54683" y="40538"/>
                  </a:cubicBezTo>
                  <a:cubicBezTo>
                    <a:pt x="54683" y="21908"/>
                    <a:pt x="49508" y="8280"/>
                    <a:pt x="32430" y="8280"/>
                  </a:cubicBezTo>
                  <a:cubicBezTo>
                    <a:pt x="14835" y="8280"/>
                    <a:pt x="10178" y="25530"/>
                    <a:pt x="10178" y="40538"/>
                  </a:cubicBezTo>
                  <a:cubicBezTo>
                    <a:pt x="9832" y="55718"/>
                    <a:pt x="15698" y="70898"/>
                    <a:pt x="31740" y="70898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8" name="Gráfico 1344">
              <a:extLst>
                <a:ext uri="{FF2B5EF4-FFF2-40B4-BE49-F238E27FC236}">
                  <a16:creationId xmlns:a16="http://schemas.microsoft.com/office/drawing/2014/main" id="{9F84A028-E3B5-4A1B-9F85-73E0020831B1}"/>
                </a:ext>
              </a:extLst>
            </p:cNvPr>
            <p:cNvSpPr/>
            <p:nvPr/>
          </p:nvSpPr>
          <p:spPr>
            <a:xfrm>
              <a:off x="9658582" y="779866"/>
              <a:ext cx="35190" cy="78660"/>
            </a:xfrm>
            <a:custGeom>
              <a:avLst/>
              <a:gdLst>
                <a:gd name="connsiteX0" fmla="*/ 690 w 35190"/>
                <a:gd name="connsiteY0" fmla="*/ 18803 h 78660"/>
                <a:gd name="connsiteX1" fmla="*/ 0 w 35190"/>
                <a:gd name="connsiteY1" fmla="*/ 1725 h 78660"/>
                <a:gd name="connsiteX2" fmla="*/ 9143 w 35190"/>
                <a:gd name="connsiteY2" fmla="*/ 1725 h 78660"/>
                <a:gd name="connsiteX3" fmla="*/ 9143 w 35190"/>
                <a:gd name="connsiteY3" fmla="*/ 16388 h 78660"/>
                <a:gd name="connsiteX4" fmla="*/ 9315 w 35190"/>
                <a:gd name="connsiteY4" fmla="*/ 16388 h 78660"/>
                <a:gd name="connsiteX5" fmla="*/ 28635 w 35190"/>
                <a:gd name="connsiteY5" fmla="*/ 0 h 78660"/>
                <a:gd name="connsiteX6" fmla="*/ 35190 w 35190"/>
                <a:gd name="connsiteY6" fmla="*/ 862 h 78660"/>
                <a:gd name="connsiteX7" fmla="*/ 35190 w 35190"/>
                <a:gd name="connsiteY7" fmla="*/ 10695 h 78660"/>
                <a:gd name="connsiteX8" fmla="*/ 28463 w 35190"/>
                <a:gd name="connsiteY8" fmla="*/ 9833 h 78660"/>
                <a:gd name="connsiteX9" fmla="*/ 9833 w 35190"/>
                <a:gd name="connsiteY9" fmla="*/ 40538 h 78660"/>
                <a:gd name="connsiteX10" fmla="*/ 9833 w 35190"/>
                <a:gd name="connsiteY10" fmla="*/ 78661 h 78660"/>
                <a:gd name="connsiteX11" fmla="*/ 690 w 35190"/>
                <a:gd name="connsiteY11" fmla="*/ 78661 h 78660"/>
                <a:gd name="connsiteX12" fmla="*/ 690 w 35190"/>
                <a:gd name="connsiteY12" fmla="*/ 18803 h 78660"/>
                <a:gd name="connsiteX13" fmla="*/ 690 w 35190"/>
                <a:gd name="connsiteY13" fmla="*/ 18803 h 78660"/>
                <a:gd name="connsiteX14" fmla="*/ 690 w 35190"/>
                <a:gd name="connsiteY14" fmla="*/ 18803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190" h="78660">
                  <a:moveTo>
                    <a:pt x="690" y="18803"/>
                  </a:moveTo>
                  <a:cubicBezTo>
                    <a:pt x="690" y="10523"/>
                    <a:pt x="690" y="7245"/>
                    <a:pt x="0" y="1725"/>
                  </a:cubicBezTo>
                  <a:lnTo>
                    <a:pt x="9143" y="1725"/>
                  </a:lnTo>
                  <a:lnTo>
                    <a:pt x="9143" y="16388"/>
                  </a:lnTo>
                  <a:lnTo>
                    <a:pt x="9315" y="16388"/>
                  </a:lnTo>
                  <a:cubicBezTo>
                    <a:pt x="12593" y="7763"/>
                    <a:pt x="18975" y="0"/>
                    <a:pt x="28635" y="0"/>
                  </a:cubicBezTo>
                  <a:cubicBezTo>
                    <a:pt x="30878" y="0"/>
                    <a:pt x="33465" y="345"/>
                    <a:pt x="35190" y="862"/>
                  </a:cubicBezTo>
                  <a:lnTo>
                    <a:pt x="35190" y="10695"/>
                  </a:lnTo>
                  <a:cubicBezTo>
                    <a:pt x="33293" y="10005"/>
                    <a:pt x="30705" y="9833"/>
                    <a:pt x="28463" y="9833"/>
                  </a:cubicBezTo>
                  <a:cubicBezTo>
                    <a:pt x="13628" y="9833"/>
                    <a:pt x="9833" y="26738"/>
                    <a:pt x="9833" y="40538"/>
                  </a:cubicBezTo>
                  <a:lnTo>
                    <a:pt x="9833" y="78661"/>
                  </a:lnTo>
                  <a:lnTo>
                    <a:pt x="690" y="78661"/>
                  </a:lnTo>
                  <a:lnTo>
                    <a:pt x="690" y="18803"/>
                  </a:lnTo>
                  <a:lnTo>
                    <a:pt x="690" y="18803"/>
                  </a:lnTo>
                  <a:lnTo>
                    <a:pt x="690" y="1880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49" name="Gráfico 1344">
              <a:extLst>
                <a:ext uri="{FF2B5EF4-FFF2-40B4-BE49-F238E27FC236}">
                  <a16:creationId xmlns:a16="http://schemas.microsoft.com/office/drawing/2014/main" id="{5F4E569C-7E2C-4731-9C2A-63B2EC03767E}"/>
                </a:ext>
              </a:extLst>
            </p:cNvPr>
            <p:cNvSpPr/>
            <p:nvPr/>
          </p:nvSpPr>
          <p:spPr>
            <a:xfrm>
              <a:off x="9702225" y="779866"/>
              <a:ext cx="60030" cy="80730"/>
            </a:xfrm>
            <a:custGeom>
              <a:avLst/>
              <a:gdLst>
                <a:gd name="connsiteX0" fmla="*/ 50371 w 60030"/>
                <a:gd name="connsiteY0" fmla="*/ 66413 h 80730"/>
                <a:gd name="connsiteX1" fmla="*/ 50198 w 60030"/>
                <a:gd name="connsiteY1" fmla="*/ 66413 h 80730"/>
                <a:gd name="connsiteX2" fmla="*/ 25530 w 60030"/>
                <a:gd name="connsiteY2" fmla="*/ 80731 h 80730"/>
                <a:gd name="connsiteX3" fmla="*/ 0 w 60030"/>
                <a:gd name="connsiteY3" fmla="*/ 58995 h 80730"/>
                <a:gd name="connsiteX4" fmla="*/ 47955 w 60030"/>
                <a:gd name="connsiteY4" fmla="*/ 31740 h 80730"/>
                <a:gd name="connsiteX5" fmla="*/ 49680 w 60030"/>
                <a:gd name="connsiteY5" fmla="*/ 31740 h 80730"/>
                <a:gd name="connsiteX6" fmla="*/ 49680 w 60030"/>
                <a:gd name="connsiteY6" fmla="*/ 27773 h 80730"/>
                <a:gd name="connsiteX7" fmla="*/ 31913 w 60030"/>
                <a:gd name="connsiteY7" fmla="*/ 7935 h 80730"/>
                <a:gd name="connsiteX8" fmla="*/ 8970 w 60030"/>
                <a:gd name="connsiteY8" fmla="*/ 14490 h 80730"/>
                <a:gd name="connsiteX9" fmla="*/ 8970 w 60030"/>
                <a:gd name="connsiteY9" fmla="*/ 5175 h 80730"/>
                <a:gd name="connsiteX10" fmla="*/ 31913 w 60030"/>
                <a:gd name="connsiteY10" fmla="*/ 0 h 80730"/>
                <a:gd name="connsiteX11" fmla="*/ 59168 w 60030"/>
                <a:gd name="connsiteY11" fmla="*/ 28980 h 80730"/>
                <a:gd name="connsiteX12" fmla="*/ 59168 w 60030"/>
                <a:gd name="connsiteY12" fmla="*/ 63135 h 80730"/>
                <a:gd name="connsiteX13" fmla="*/ 60031 w 60030"/>
                <a:gd name="connsiteY13" fmla="*/ 79523 h 80730"/>
                <a:gd name="connsiteX14" fmla="*/ 50543 w 60030"/>
                <a:gd name="connsiteY14" fmla="*/ 79523 h 80730"/>
                <a:gd name="connsiteX15" fmla="*/ 50543 w 60030"/>
                <a:gd name="connsiteY15" fmla="*/ 66413 h 80730"/>
                <a:gd name="connsiteX16" fmla="*/ 50371 w 60030"/>
                <a:gd name="connsiteY16" fmla="*/ 66413 h 80730"/>
                <a:gd name="connsiteX17" fmla="*/ 50371 w 60030"/>
                <a:gd name="connsiteY17" fmla="*/ 66413 h 80730"/>
                <a:gd name="connsiteX18" fmla="*/ 49508 w 60030"/>
                <a:gd name="connsiteY18" fmla="*/ 39675 h 80730"/>
                <a:gd name="connsiteX19" fmla="*/ 46748 w 60030"/>
                <a:gd name="connsiteY19" fmla="*/ 39675 h 80730"/>
                <a:gd name="connsiteX20" fmla="*/ 10350 w 60030"/>
                <a:gd name="connsiteY20" fmla="*/ 58478 h 80730"/>
                <a:gd name="connsiteX21" fmla="*/ 26565 w 60030"/>
                <a:gd name="connsiteY21" fmla="*/ 72450 h 80730"/>
                <a:gd name="connsiteX22" fmla="*/ 49508 w 60030"/>
                <a:gd name="connsiteY22" fmla="*/ 44333 h 80730"/>
                <a:gd name="connsiteX23" fmla="*/ 49508 w 60030"/>
                <a:gd name="connsiteY23" fmla="*/ 39675 h 80730"/>
                <a:gd name="connsiteX24" fmla="*/ 49508 w 60030"/>
                <a:gd name="connsiteY24" fmla="*/ 39675 h 80730"/>
                <a:gd name="connsiteX25" fmla="*/ 49508 w 60030"/>
                <a:gd name="connsiteY25" fmla="*/ 39675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0030" h="80730">
                  <a:moveTo>
                    <a:pt x="50371" y="66413"/>
                  </a:moveTo>
                  <a:lnTo>
                    <a:pt x="50198" y="66413"/>
                  </a:lnTo>
                  <a:cubicBezTo>
                    <a:pt x="45885" y="75728"/>
                    <a:pt x="35018" y="80731"/>
                    <a:pt x="25530" y="80731"/>
                  </a:cubicBezTo>
                  <a:cubicBezTo>
                    <a:pt x="3450" y="80731"/>
                    <a:pt x="0" y="65895"/>
                    <a:pt x="0" y="58995"/>
                  </a:cubicBezTo>
                  <a:cubicBezTo>
                    <a:pt x="0" y="33120"/>
                    <a:pt x="27773" y="31740"/>
                    <a:pt x="47955" y="31740"/>
                  </a:cubicBezTo>
                  <a:lnTo>
                    <a:pt x="49680" y="31740"/>
                  </a:lnTo>
                  <a:lnTo>
                    <a:pt x="49680" y="27773"/>
                  </a:lnTo>
                  <a:cubicBezTo>
                    <a:pt x="49680" y="14663"/>
                    <a:pt x="44850" y="7935"/>
                    <a:pt x="31913" y="7935"/>
                  </a:cubicBezTo>
                  <a:cubicBezTo>
                    <a:pt x="23978" y="7935"/>
                    <a:pt x="16388" y="9833"/>
                    <a:pt x="8970" y="14490"/>
                  </a:cubicBezTo>
                  <a:lnTo>
                    <a:pt x="8970" y="5175"/>
                  </a:lnTo>
                  <a:cubicBezTo>
                    <a:pt x="14835" y="2415"/>
                    <a:pt x="25013" y="0"/>
                    <a:pt x="31913" y="0"/>
                  </a:cubicBezTo>
                  <a:cubicBezTo>
                    <a:pt x="51233" y="0"/>
                    <a:pt x="59168" y="8625"/>
                    <a:pt x="59168" y="28980"/>
                  </a:cubicBezTo>
                  <a:lnTo>
                    <a:pt x="59168" y="63135"/>
                  </a:lnTo>
                  <a:cubicBezTo>
                    <a:pt x="59168" y="69345"/>
                    <a:pt x="59168" y="74175"/>
                    <a:pt x="60031" y="79523"/>
                  </a:cubicBezTo>
                  <a:lnTo>
                    <a:pt x="50543" y="79523"/>
                  </a:lnTo>
                  <a:lnTo>
                    <a:pt x="50543" y="66413"/>
                  </a:lnTo>
                  <a:lnTo>
                    <a:pt x="50371" y="66413"/>
                  </a:lnTo>
                  <a:lnTo>
                    <a:pt x="50371" y="66413"/>
                  </a:lnTo>
                  <a:close/>
                  <a:moveTo>
                    <a:pt x="49508" y="39675"/>
                  </a:moveTo>
                  <a:lnTo>
                    <a:pt x="46748" y="39675"/>
                  </a:lnTo>
                  <a:cubicBezTo>
                    <a:pt x="30016" y="39675"/>
                    <a:pt x="10350" y="41400"/>
                    <a:pt x="10350" y="58478"/>
                  </a:cubicBezTo>
                  <a:cubicBezTo>
                    <a:pt x="10350" y="68655"/>
                    <a:pt x="17768" y="72450"/>
                    <a:pt x="26565" y="72450"/>
                  </a:cubicBezTo>
                  <a:cubicBezTo>
                    <a:pt x="49163" y="72450"/>
                    <a:pt x="49508" y="52785"/>
                    <a:pt x="49508" y="44333"/>
                  </a:cubicBezTo>
                  <a:lnTo>
                    <a:pt x="49508" y="39675"/>
                  </a:lnTo>
                  <a:lnTo>
                    <a:pt x="49508" y="39675"/>
                  </a:lnTo>
                  <a:lnTo>
                    <a:pt x="49508" y="3967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0" name="Gráfico 1344">
              <a:extLst>
                <a:ext uri="{FF2B5EF4-FFF2-40B4-BE49-F238E27FC236}">
                  <a16:creationId xmlns:a16="http://schemas.microsoft.com/office/drawing/2014/main" id="{5B225FC6-807B-45E3-9896-264326D8B7DC}"/>
                </a:ext>
              </a:extLst>
            </p:cNvPr>
            <p:cNvSpPr/>
            <p:nvPr/>
          </p:nvSpPr>
          <p:spPr>
            <a:xfrm>
              <a:off x="9782783" y="779866"/>
              <a:ext cx="103500" cy="78660"/>
            </a:xfrm>
            <a:custGeom>
              <a:avLst/>
              <a:gdLst>
                <a:gd name="connsiteX0" fmla="*/ 94186 w 103500"/>
                <a:gd name="connsiteY0" fmla="*/ 78661 h 78660"/>
                <a:gd name="connsiteX1" fmla="*/ 94186 w 103500"/>
                <a:gd name="connsiteY1" fmla="*/ 27600 h 78660"/>
                <a:gd name="connsiteX2" fmla="*/ 77798 w 103500"/>
                <a:gd name="connsiteY2" fmla="*/ 8108 h 78660"/>
                <a:gd name="connsiteX3" fmla="*/ 56925 w 103500"/>
                <a:gd name="connsiteY3" fmla="*/ 36053 h 78660"/>
                <a:gd name="connsiteX4" fmla="*/ 56925 w 103500"/>
                <a:gd name="connsiteY4" fmla="*/ 78661 h 78660"/>
                <a:gd name="connsiteX5" fmla="*/ 47438 w 103500"/>
                <a:gd name="connsiteY5" fmla="*/ 78661 h 78660"/>
                <a:gd name="connsiteX6" fmla="*/ 47438 w 103500"/>
                <a:gd name="connsiteY6" fmla="*/ 27600 h 78660"/>
                <a:gd name="connsiteX7" fmla="*/ 31050 w 103500"/>
                <a:gd name="connsiteY7" fmla="*/ 8108 h 78660"/>
                <a:gd name="connsiteX8" fmla="*/ 10350 w 103500"/>
                <a:gd name="connsiteY8" fmla="*/ 36053 h 78660"/>
                <a:gd name="connsiteX9" fmla="*/ 10350 w 103500"/>
                <a:gd name="connsiteY9" fmla="*/ 78661 h 78660"/>
                <a:gd name="connsiteX10" fmla="*/ 690 w 103500"/>
                <a:gd name="connsiteY10" fmla="*/ 78661 h 78660"/>
                <a:gd name="connsiteX11" fmla="*/ 690 w 103500"/>
                <a:gd name="connsiteY11" fmla="*/ 19838 h 78660"/>
                <a:gd name="connsiteX12" fmla="*/ 0 w 103500"/>
                <a:gd name="connsiteY12" fmla="*/ 1725 h 78660"/>
                <a:gd name="connsiteX13" fmla="*/ 9315 w 103500"/>
                <a:gd name="connsiteY13" fmla="*/ 1725 h 78660"/>
                <a:gd name="connsiteX14" fmla="*/ 9315 w 103500"/>
                <a:gd name="connsiteY14" fmla="*/ 14835 h 78660"/>
                <a:gd name="connsiteX15" fmla="*/ 9487 w 103500"/>
                <a:gd name="connsiteY15" fmla="*/ 15008 h 78660"/>
                <a:gd name="connsiteX16" fmla="*/ 33638 w 103500"/>
                <a:gd name="connsiteY16" fmla="*/ 0 h 78660"/>
                <a:gd name="connsiteX17" fmla="*/ 54165 w 103500"/>
                <a:gd name="connsiteY17" fmla="*/ 16215 h 78660"/>
                <a:gd name="connsiteX18" fmla="*/ 54338 w 103500"/>
                <a:gd name="connsiteY18" fmla="*/ 16215 h 78660"/>
                <a:gd name="connsiteX19" fmla="*/ 79178 w 103500"/>
                <a:gd name="connsiteY19" fmla="*/ 0 h 78660"/>
                <a:gd name="connsiteX20" fmla="*/ 103501 w 103500"/>
                <a:gd name="connsiteY20" fmla="*/ 25703 h 78660"/>
                <a:gd name="connsiteX21" fmla="*/ 103501 w 103500"/>
                <a:gd name="connsiteY21" fmla="*/ 78488 h 78660"/>
                <a:gd name="connsiteX22" fmla="*/ 94186 w 103500"/>
                <a:gd name="connsiteY22" fmla="*/ 78488 h 78660"/>
                <a:gd name="connsiteX23" fmla="*/ 94186 w 103500"/>
                <a:gd name="connsiteY23" fmla="*/ 78661 h 78660"/>
                <a:gd name="connsiteX24" fmla="*/ 94186 w 103500"/>
                <a:gd name="connsiteY24" fmla="*/ 78661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500" h="78660">
                  <a:moveTo>
                    <a:pt x="94186" y="78661"/>
                  </a:moveTo>
                  <a:lnTo>
                    <a:pt x="94186" y="27600"/>
                  </a:lnTo>
                  <a:cubicBezTo>
                    <a:pt x="94186" y="16733"/>
                    <a:pt x="90046" y="8108"/>
                    <a:pt x="77798" y="8108"/>
                  </a:cubicBezTo>
                  <a:cubicBezTo>
                    <a:pt x="67275" y="8108"/>
                    <a:pt x="56925" y="17078"/>
                    <a:pt x="56925" y="36053"/>
                  </a:cubicBezTo>
                  <a:lnTo>
                    <a:pt x="56925" y="78661"/>
                  </a:lnTo>
                  <a:lnTo>
                    <a:pt x="47438" y="78661"/>
                  </a:lnTo>
                  <a:lnTo>
                    <a:pt x="47438" y="27600"/>
                  </a:lnTo>
                  <a:cubicBezTo>
                    <a:pt x="47438" y="16733"/>
                    <a:pt x="43298" y="8108"/>
                    <a:pt x="31050" y="8108"/>
                  </a:cubicBezTo>
                  <a:cubicBezTo>
                    <a:pt x="20700" y="8108"/>
                    <a:pt x="10350" y="17078"/>
                    <a:pt x="10350" y="36053"/>
                  </a:cubicBezTo>
                  <a:lnTo>
                    <a:pt x="10350" y="78661"/>
                  </a:lnTo>
                  <a:lnTo>
                    <a:pt x="690" y="78661"/>
                  </a:lnTo>
                  <a:lnTo>
                    <a:pt x="690" y="19838"/>
                  </a:lnTo>
                  <a:cubicBezTo>
                    <a:pt x="690" y="14145"/>
                    <a:pt x="690" y="7935"/>
                    <a:pt x="0" y="1725"/>
                  </a:cubicBezTo>
                  <a:lnTo>
                    <a:pt x="9315" y="1725"/>
                  </a:lnTo>
                  <a:lnTo>
                    <a:pt x="9315" y="14835"/>
                  </a:lnTo>
                  <a:lnTo>
                    <a:pt x="9487" y="15008"/>
                  </a:lnTo>
                  <a:cubicBezTo>
                    <a:pt x="12593" y="9660"/>
                    <a:pt x="17077" y="0"/>
                    <a:pt x="33638" y="0"/>
                  </a:cubicBezTo>
                  <a:cubicBezTo>
                    <a:pt x="40538" y="0"/>
                    <a:pt x="51750" y="2760"/>
                    <a:pt x="54165" y="16215"/>
                  </a:cubicBezTo>
                  <a:lnTo>
                    <a:pt x="54338" y="16215"/>
                  </a:lnTo>
                  <a:cubicBezTo>
                    <a:pt x="57788" y="7245"/>
                    <a:pt x="66931" y="0"/>
                    <a:pt x="79178" y="0"/>
                  </a:cubicBezTo>
                  <a:cubicBezTo>
                    <a:pt x="94876" y="0"/>
                    <a:pt x="103501" y="10868"/>
                    <a:pt x="103501" y="25703"/>
                  </a:cubicBezTo>
                  <a:lnTo>
                    <a:pt x="103501" y="78488"/>
                  </a:lnTo>
                  <a:lnTo>
                    <a:pt x="94186" y="78488"/>
                  </a:lnTo>
                  <a:lnTo>
                    <a:pt x="94186" y="78661"/>
                  </a:lnTo>
                  <a:lnTo>
                    <a:pt x="94186" y="78661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751" name="Agrupar 750">
            <a:extLst>
              <a:ext uri="{FF2B5EF4-FFF2-40B4-BE49-F238E27FC236}">
                <a16:creationId xmlns:a16="http://schemas.microsoft.com/office/drawing/2014/main" id="{AEA2F5B6-2323-4D5F-9077-087D29A32372}"/>
              </a:ext>
            </a:extLst>
          </p:cNvPr>
          <p:cNvGrpSpPr/>
          <p:nvPr/>
        </p:nvGrpSpPr>
        <p:grpSpPr>
          <a:xfrm>
            <a:off x="9062387" y="5741519"/>
            <a:ext cx="1467467" cy="430908"/>
            <a:chOff x="8894747" y="5741519"/>
            <a:chExt cx="1467467" cy="430908"/>
          </a:xfrm>
        </p:grpSpPr>
        <p:sp>
          <p:nvSpPr>
            <p:cNvPr id="752" name="Gráfico 1344">
              <a:extLst>
                <a:ext uri="{FF2B5EF4-FFF2-40B4-BE49-F238E27FC236}">
                  <a16:creationId xmlns:a16="http://schemas.microsoft.com/office/drawing/2014/main" id="{9FE5C848-A481-481A-9F9C-B6644213D179}"/>
                </a:ext>
              </a:extLst>
            </p:cNvPr>
            <p:cNvSpPr/>
            <p:nvPr/>
          </p:nvSpPr>
          <p:spPr>
            <a:xfrm>
              <a:off x="8894747" y="5749972"/>
              <a:ext cx="74520" cy="95220"/>
            </a:xfrm>
            <a:custGeom>
              <a:avLst/>
              <a:gdLst>
                <a:gd name="connsiteX0" fmla="*/ 27600 w 74520"/>
                <a:gd name="connsiteY0" fmla="*/ 15180 h 95220"/>
                <a:gd name="connsiteX1" fmla="*/ 0 w 74520"/>
                <a:gd name="connsiteY1" fmla="*/ 15180 h 95220"/>
                <a:gd name="connsiteX2" fmla="*/ 0 w 74520"/>
                <a:gd name="connsiteY2" fmla="*/ 0 h 95220"/>
                <a:gd name="connsiteX3" fmla="*/ 74521 w 74520"/>
                <a:gd name="connsiteY3" fmla="*/ 0 h 95220"/>
                <a:gd name="connsiteX4" fmla="*/ 74521 w 74520"/>
                <a:gd name="connsiteY4" fmla="*/ 15180 h 95220"/>
                <a:gd name="connsiteX5" fmla="*/ 46920 w 74520"/>
                <a:gd name="connsiteY5" fmla="*/ 15180 h 95220"/>
                <a:gd name="connsiteX6" fmla="*/ 46920 w 74520"/>
                <a:gd name="connsiteY6" fmla="*/ 95221 h 95220"/>
                <a:gd name="connsiteX7" fmla="*/ 27600 w 74520"/>
                <a:gd name="connsiteY7" fmla="*/ 95221 h 95220"/>
                <a:gd name="connsiteX8" fmla="*/ 27600 w 74520"/>
                <a:gd name="connsiteY8" fmla="*/ 1518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5220">
                  <a:moveTo>
                    <a:pt x="27600" y="15180"/>
                  </a:moveTo>
                  <a:lnTo>
                    <a:pt x="0" y="15180"/>
                  </a:lnTo>
                  <a:lnTo>
                    <a:pt x="0" y="0"/>
                  </a:lnTo>
                  <a:lnTo>
                    <a:pt x="74521" y="0"/>
                  </a:lnTo>
                  <a:lnTo>
                    <a:pt x="74521" y="15180"/>
                  </a:lnTo>
                  <a:lnTo>
                    <a:pt x="46920" y="15180"/>
                  </a:lnTo>
                  <a:lnTo>
                    <a:pt x="46920" y="95221"/>
                  </a:lnTo>
                  <a:lnTo>
                    <a:pt x="27600" y="95221"/>
                  </a:lnTo>
                  <a:lnTo>
                    <a:pt x="27600" y="1518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3" name="Gráfico 1344">
              <a:extLst>
                <a:ext uri="{FF2B5EF4-FFF2-40B4-BE49-F238E27FC236}">
                  <a16:creationId xmlns:a16="http://schemas.microsoft.com/office/drawing/2014/main" id="{0B35E56C-538D-48A4-8354-787A411766F7}"/>
                </a:ext>
              </a:extLst>
            </p:cNvPr>
            <p:cNvSpPr/>
            <p:nvPr/>
          </p:nvSpPr>
          <p:spPr>
            <a:xfrm>
              <a:off x="8960815" y="5772742"/>
              <a:ext cx="66240" cy="74520"/>
            </a:xfrm>
            <a:custGeom>
              <a:avLst/>
              <a:gdLst>
                <a:gd name="connsiteX0" fmla="*/ 61065 w 66240"/>
                <a:gd name="connsiteY0" fmla="*/ 69001 h 74520"/>
                <a:gd name="connsiteX1" fmla="*/ 36743 w 66240"/>
                <a:gd name="connsiteY1" fmla="*/ 74521 h 74520"/>
                <a:gd name="connsiteX2" fmla="*/ 0 w 66240"/>
                <a:gd name="connsiteY2" fmla="*/ 37606 h 74520"/>
                <a:gd name="connsiteX3" fmla="*/ 32775 w 66240"/>
                <a:gd name="connsiteY3" fmla="*/ 0 h 74520"/>
                <a:gd name="connsiteX4" fmla="*/ 66240 w 66240"/>
                <a:gd name="connsiteY4" fmla="*/ 43125 h 74520"/>
                <a:gd name="connsiteX5" fmla="*/ 17422 w 66240"/>
                <a:gd name="connsiteY5" fmla="*/ 43125 h 74520"/>
                <a:gd name="connsiteX6" fmla="*/ 37605 w 66240"/>
                <a:gd name="connsiteY6" fmla="*/ 61238 h 74520"/>
                <a:gd name="connsiteX7" fmla="*/ 61065 w 66240"/>
                <a:gd name="connsiteY7" fmla="*/ 53993 h 74520"/>
                <a:gd name="connsiteX8" fmla="*/ 61065 w 66240"/>
                <a:gd name="connsiteY8" fmla="*/ 69001 h 74520"/>
                <a:gd name="connsiteX9" fmla="*/ 61065 w 66240"/>
                <a:gd name="connsiteY9" fmla="*/ 69001 h 74520"/>
                <a:gd name="connsiteX10" fmla="*/ 61065 w 66240"/>
                <a:gd name="connsiteY10" fmla="*/ 69001 h 74520"/>
                <a:gd name="connsiteX11" fmla="*/ 48818 w 66240"/>
                <a:gd name="connsiteY11" fmla="*/ 30360 h 74520"/>
                <a:gd name="connsiteX12" fmla="*/ 33810 w 66240"/>
                <a:gd name="connsiteY12" fmla="*/ 13455 h 74520"/>
                <a:gd name="connsiteX13" fmla="*/ 17595 w 66240"/>
                <a:gd name="connsiteY13" fmla="*/ 30360 h 74520"/>
                <a:gd name="connsiteX14" fmla="*/ 48818 w 66240"/>
                <a:gd name="connsiteY14" fmla="*/ 30360 h 74520"/>
                <a:gd name="connsiteX15" fmla="*/ 48818 w 66240"/>
                <a:gd name="connsiteY15" fmla="*/ 30360 h 74520"/>
                <a:gd name="connsiteX16" fmla="*/ 48818 w 66240"/>
                <a:gd name="connsiteY16" fmla="*/ 3036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40" h="74520">
                  <a:moveTo>
                    <a:pt x="61065" y="69001"/>
                  </a:moveTo>
                  <a:cubicBezTo>
                    <a:pt x="54338" y="72623"/>
                    <a:pt x="46748" y="74521"/>
                    <a:pt x="36743" y="74521"/>
                  </a:cubicBezTo>
                  <a:cubicBezTo>
                    <a:pt x="13455" y="74521"/>
                    <a:pt x="0" y="61066"/>
                    <a:pt x="0" y="37606"/>
                  </a:cubicBezTo>
                  <a:cubicBezTo>
                    <a:pt x="0" y="16905"/>
                    <a:pt x="10695" y="0"/>
                    <a:pt x="32775" y="0"/>
                  </a:cubicBezTo>
                  <a:cubicBezTo>
                    <a:pt x="58995" y="0"/>
                    <a:pt x="66240" y="18113"/>
                    <a:pt x="66240" y="43125"/>
                  </a:cubicBezTo>
                  <a:lnTo>
                    <a:pt x="17422" y="43125"/>
                  </a:lnTo>
                  <a:cubicBezTo>
                    <a:pt x="18285" y="54683"/>
                    <a:pt x="26220" y="61238"/>
                    <a:pt x="37605" y="61238"/>
                  </a:cubicBezTo>
                  <a:cubicBezTo>
                    <a:pt x="46403" y="61238"/>
                    <a:pt x="54338" y="57788"/>
                    <a:pt x="61065" y="53993"/>
                  </a:cubicBezTo>
                  <a:lnTo>
                    <a:pt x="61065" y="69001"/>
                  </a:lnTo>
                  <a:lnTo>
                    <a:pt x="61065" y="69001"/>
                  </a:lnTo>
                  <a:lnTo>
                    <a:pt x="61065" y="69001"/>
                  </a:lnTo>
                  <a:close/>
                  <a:moveTo>
                    <a:pt x="48818" y="30360"/>
                  </a:moveTo>
                  <a:cubicBezTo>
                    <a:pt x="48127" y="21391"/>
                    <a:pt x="44160" y="13455"/>
                    <a:pt x="33810" y="13455"/>
                  </a:cubicBezTo>
                  <a:cubicBezTo>
                    <a:pt x="23460" y="13455"/>
                    <a:pt x="18458" y="20700"/>
                    <a:pt x="17595" y="30360"/>
                  </a:cubicBezTo>
                  <a:lnTo>
                    <a:pt x="48818" y="30360"/>
                  </a:lnTo>
                  <a:lnTo>
                    <a:pt x="48818" y="30360"/>
                  </a:lnTo>
                  <a:lnTo>
                    <a:pt x="48818" y="303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4" name="Gráfico 1344">
              <a:extLst>
                <a:ext uri="{FF2B5EF4-FFF2-40B4-BE49-F238E27FC236}">
                  <a16:creationId xmlns:a16="http://schemas.microsoft.com/office/drawing/2014/main" id="{57EB8203-5778-49FC-A0FD-64C17D88B58F}"/>
                </a:ext>
              </a:extLst>
            </p:cNvPr>
            <p:cNvSpPr/>
            <p:nvPr/>
          </p:nvSpPr>
          <p:spPr>
            <a:xfrm>
              <a:off x="9043443" y="5772742"/>
              <a:ext cx="41572" cy="72623"/>
            </a:xfrm>
            <a:custGeom>
              <a:avLst/>
              <a:gdLst>
                <a:gd name="connsiteX0" fmla="*/ 345 w 41572"/>
                <a:gd name="connsiteY0" fmla="*/ 1725 h 72623"/>
                <a:gd name="connsiteX1" fmla="*/ 16561 w 41572"/>
                <a:gd name="connsiteY1" fmla="*/ 1725 h 72623"/>
                <a:gd name="connsiteX2" fmla="*/ 16561 w 41572"/>
                <a:gd name="connsiteY2" fmla="*/ 17768 h 72623"/>
                <a:gd name="connsiteX3" fmla="*/ 16733 w 41572"/>
                <a:gd name="connsiteY3" fmla="*/ 17768 h 72623"/>
                <a:gd name="connsiteX4" fmla="*/ 35881 w 41572"/>
                <a:gd name="connsiteY4" fmla="*/ 0 h 72623"/>
                <a:gd name="connsiteX5" fmla="*/ 41573 w 41572"/>
                <a:gd name="connsiteY5" fmla="*/ 690 h 72623"/>
                <a:gd name="connsiteX6" fmla="*/ 41573 w 41572"/>
                <a:gd name="connsiteY6" fmla="*/ 19321 h 72623"/>
                <a:gd name="connsiteX7" fmla="*/ 33293 w 41572"/>
                <a:gd name="connsiteY7" fmla="*/ 17768 h 72623"/>
                <a:gd name="connsiteX8" fmla="*/ 18458 w 41572"/>
                <a:gd name="connsiteY8" fmla="*/ 46576 h 72623"/>
                <a:gd name="connsiteX9" fmla="*/ 18458 w 41572"/>
                <a:gd name="connsiteY9" fmla="*/ 72623 h 72623"/>
                <a:gd name="connsiteX10" fmla="*/ 0 w 41572"/>
                <a:gd name="connsiteY10" fmla="*/ 72623 h 72623"/>
                <a:gd name="connsiteX11" fmla="*/ 0 w 41572"/>
                <a:gd name="connsiteY11" fmla="*/ 1725 h 72623"/>
                <a:gd name="connsiteX12" fmla="*/ 345 w 41572"/>
                <a:gd name="connsiteY12" fmla="*/ 1725 h 72623"/>
                <a:gd name="connsiteX13" fmla="*/ 345 w 41572"/>
                <a:gd name="connsiteY13" fmla="*/ 1725 h 7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72" h="72623">
                  <a:moveTo>
                    <a:pt x="345" y="1725"/>
                  </a:moveTo>
                  <a:lnTo>
                    <a:pt x="16561" y="1725"/>
                  </a:lnTo>
                  <a:lnTo>
                    <a:pt x="16561" y="17768"/>
                  </a:lnTo>
                  <a:lnTo>
                    <a:pt x="16733" y="17768"/>
                  </a:lnTo>
                  <a:cubicBezTo>
                    <a:pt x="17595" y="11213"/>
                    <a:pt x="25013" y="0"/>
                    <a:pt x="35881" y="0"/>
                  </a:cubicBezTo>
                  <a:cubicBezTo>
                    <a:pt x="37606" y="0"/>
                    <a:pt x="39503" y="0"/>
                    <a:pt x="41573" y="690"/>
                  </a:cubicBezTo>
                  <a:lnTo>
                    <a:pt x="41573" y="19321"/>
                  </a:lnTo>
                  <a:cubicBezTo>
                    <a:pt x="39848" y="18458"/>
                    <a:pt x="36743" y="17768"/>
                    <a:pt x="33293" y="17768"/>
                  </a:cubicBezTo>
                  <a:cubicBezTo>
                    <a:pt x="18458" y="17768"/>
                    <a:pt x="18458" y="36398"/>
                    <a:pt x="18458" y="46576"/>
                  </a:cubicBezTo>
                  <a:lnTo>
                    <a:pt x="18458" y="72623"/>
                  </a:lnTo>
                  <a:lnTo>
                    <a:pt x="0" y="72623"/>
                  </a:lnTo>
                  <a:lnTo>
                    <a:pt x="0" y="1725"/>
                  </a:lnTo>
                  <a:lnTo>
                    <a:pt x="345" y="1725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5" name="Gráfico 1344">
              <a:extLst>
                <a:ext uri="{FF2B5EF4-FFF2-40B4-BE49-F238E27FC236}">
                  <a16:creationId xmlns:a16="http://schemas.microsoft.com/office/drawing/2014/main" id="{72CBE9CA-D558-4D78-95EC-0EB6E3BCF5EF}"/>
                </a:ext>
              </a:extLst>
            </p:cNvPr>
            <p:cNvSpPr/>
            <p:nvPr/>
          </p:nvSpPr>
          <p:spPr>
            <a:xfrm>
              <a:off x="9095711" y="5772742"/>
              <a:ext cx="105225" cy="72795"/>
            </a:xfrm>
            <a:custGeom>
              <a:avLst/>
              <a:gdLst>
                <a:gd name="connsiteX0" fmla="*/ 0 w 105225"/>
                <a:gd name="connsiteY0" fmla="*/ 1725 h 72795"/>
                <a:gd name="connsiteX1" fmla="*/ 17422 w 105225"/>
                <a:gd name="connsiteY1" fmla="*/ 1725 h 72795"/>
                <a:gd name="connsiteX2" fmla="*/ 17422 w 105225"/>
                <a:gd name="connsiteY2" fmla="*/ 11730 h 72795"/>
                <a:gd name="connsiteX3" fmla="*/ 17595 w 105225"/>
                <a:gd name="connsiteY3" fmla="*/ 11730 h 72795"/>
                <a:gd name="connsiteX4" fmla="*/ 38813 w 105225"/>
                <a:gd name="connsiteY4" fmla="*/ 0 h 72795"/>
                <a:gd name="connsiteX5" fmla="*/ 60030 w 105225"/>
                <a:gd name="connsiteY5" fmla="*/ 12420 h 72795"/>
                <a:gd name="connsiteX6" fmla="*/ 82456 w 105225"/>
                <a:gd name="connsiteY6" fmla="*/ 0 h 72795"/>
                <a:gd name="connsiteX7" fmla="*/ 105225 w 105225"/>
                <a:gd name="connsiteY7" fmla="*/ 27773 h 72795"/>
                <a:gd name="connsiteX8" fmla="*/ 105225 w 105225"/>
                <a:gd name="connsiteY8" fmla="*/ 72451 h 72795"/>
                <a:gd name="connsiteX9" fmla="*/ 86595 w 105225"/>
                <a:gd name="connsiteY9" fmla="*/ 72451 h 72795"/>
                <a:gd name="connsiteX10" fmla="*/ 86595 w 105225"/>
                <a:gd name="connsiteY10" fmla="*/ 30360 h 72795"/>
                <a:gd name="connsiteX11" fmla="*/ 75900 w 105225"/>
                <a:gd name="connsiteY11" fmla="*/ 14490 h 72795"/>
                <a:gd name="connsiteX12" fmla="*/ 61928 w 105225"/>
                <a:gd name="connsiteY12" fmla="*/ 38295 h 72795"/>
                <a:gd name="connsiteX13" fmla="*/ 61928 w 105225"/>
                <a:gd name="connsiteY13" fmla="*/ 72623 h 72795"/>
                <a:gd name="connsiteX14" fmla="*/ 43297 w 105225"/>
                <a:gd name="connsiteY14" fmla="*/ 72623 h 72795"/>
                <a:gd name="connsiteX15" fmla="*/ 43297 w 105225"/>
                <a:gd name="connsiteY15" fmla="*/ 30533 h 72795"/>
                <a:gd name="connsiteX16" fmla="*/ 32602 w 105225"/>
                <a:gd name="connsiteY16" fmla="*/ 14663 h 72795"/>
                <a:gd name="connsiteX17" fmla="*/ 18630 w 105225"/>
                <a:gd name="connsiteY17" fmla="*/ 38468 h 72795"/>
                <a:gd name="connsiteX18" fmla="*/ 18630 w 105225"/>
                <a:gd name="connsiteY18" fmla="*/ 72796 h 72795"/>
                <a:gd name="connsiteX19" fmla="*/ 0 w 105225"/>
                <a:gd name="connsiteY19" fmla="*/ 72796 h 72795"/>
                <a:gd name="connsiteX20" fmla="*/ 0 w 105225"/>
                <a:gd name="connsiteY20" fmla="*/ 2070 h 72795"/>
                <a:gd name="connsiteX21" fmla="*/ 0 w 105225"/>
                <a:gd name="connsiteY21" fmla="*/ 2070 h 72795"/>
                <a:gd name="connsiteX22" fmla="*/ 0 w 105225"/>
                <a:gd name="connsiteY22" fmla="*/ 1725 h 7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5225" h="72795">
                  <a:moveTo>
                    <a:pt x="0" y="1725"/>
                  </a:moveTo>
                  <a:lnTo>
                    <a:pt x="17422" y="1725"/>
                  </a:lnTo>
                  <a:lnTo>
                    <a:pt x="17422" y="11730"/>
                  </a:lnTo>
                  <a:lnTo>
                    <a:pt x="17595" y="11730"/>
                  </a:lnTo>
                  <a:cubicBezTo>
                    <a:pt x="23460" y="3105"/>
                    <a:pt x="32085" y="0"/>
                    <a:pt x="38813" y="0"/>
                  </a:cubicBezTo>
                  <a:cubicBezTo>
                    <a:pt x="48990" y="0"/>
                    <a:pt x="56063" y="3795"/>
                    <a:pt x="60030" y="12420"/>
                  </a:cubicBezTo>
                  <a:cubicBezTo>
                    <a:pt x="64343" y="3968"/>
                    <a:pt x="73831" y="0"/>
                    <a:pt x="82456" y="0"/>
                  </a:cubicBezTo>
                  <a:cubicBezTo>
                    <a:pt x="100223" y="0"/>
                    <a:pt x="105225" y="12075"/>
                    <a:pt x="105225" y="27773"/>
                  </a:cubicBezTo>
                  <a:lnTo>
                    <a:pt x="105225" y="72451"/>
                  </a:lnTo>
                  <a:lnTo>
                    <a:pt x="86595" y="72451"/>
                  </a:lnTo>
                  <a:lnTo>
                    <a:pt x="86595" y="30360"/>
                  </a:lnTo>
                  <a:cubicBezTo>
                    <a:pt x="86595" y="23805"/>
                    <a:pt x="86595" y="14490"/>
                    <a:pt x="75900" y="14490"/>
                  </a:cubicBezTo>
                  <a:cubicBezTo>
                    <a:pt x="63480" y="14490"/>
                    <a:pt x="61928" y="29153"/>
                    <a:pt x="61928" y="38295"/>
                  </a:cubicBezTo>
                  <a:lnTo>
                    <a:pt x="61928" y="72623"/>
                  </a:lnTo>
                  <a:lnTo>
                    <a:pt x="43297" y="72623"/>
                  </a:lnTo>
                  <a:lnTo>
                    <a:pt x="43297" y="30533"/>
                  </a:lnTo>
                  <a:cubicBezTo>
                    <a:pt x="43297" y="23978"/>
                    <a:pt x="43297" y="14663"/>
                    <a:pt x="32602" y="14663"/>
                  </a:cubicBezTo>
                  <a:cubicBezTo>
                    <a:pt x="20182" y="14663"/>
                    <a:pt x="18630" y="29325"/>
                    <a:pt x="18630" y="38468"/>
                  </a:cubicBezTo>
                  <a:lnTo>
                    <a:pt x="18630" y="72796"/>
                  </a:lnTo>
                  <a:lnTo>
                    <a:pt x="0" y="72796"/>
                  </a:lnTo>
                  <a:lnTo>
                    <a:pt x="0" y="2070"/>
                  </a:lnTo>
                  <a:lnTo>
                    <a:pt x="0" y="2070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6" name="Gráfico 1344">
              <a:extLst>
                <a:ext uri="{FF2B5EF4-FFF2-40B4-BE49-F238E27FC236}">
                  <a16:creationId xmlns:a16="http://schemas.microsoft.com/office/drawing/2014/main" id="{87C09F4F-2001-420F-97FA-5CA981BA8F6D}"/>
                </a:ext>
              </a:extLst>
            </p:cNvPr>
            <p:cNvSpPr/>
            <p:nvPr/>
          </p:nvSpPr>
          <p:spPr>
            <a:xfrm>
              <a:off x="9219739" y="5743762"/>
              <a:ext cx="18630" cy="101430"/>
            </a:xfrm>
            <a:custGeom>
              <a:avLst/>
              <a:gdLst>
                <a:gd name="connsiteX0" fmla="*/ 0 w 18630"/>
                <a:gd name="connsiteY0" fmla="*/ 0 h 101430"/>
                <a:gd name="connsiteX1" fmla="*/ 18630 w 18630"/>
                <a:gd name="connsiteY1" fmla="*/ 0 h 101430"/>
                <a:gd name="connsiteX2" fmla="*/ 18630 w 18630"/>
                <a:gd name="connsiteY2" fmla="*/ 17595 h 101430"/>
                <a:gd name="connsiteX3" fmla="*/ 0 w 18630"/>
                <a:gd name="connsiteY3" fmla="*/ 17595 h 101430"/>
                <a:gd name="connsiteX4" fmla="*/ 0 w 18630"/>
                <a:gd name="connsiteY4" fmla="*/ 0 h 101430"/>
                <a:gd name="connsiteX5" fmla="*/ 0 w 18630"/>
                <a:gd name="connsiteY5" fmla="*/ 0 h 101430"/>
                <a:gd name="connsiteX6" fmla="*/ 0 w 18630"/>
                <a:gd name="connsiteY6" fmla="*/ 0 h 101430"/>
                <a:gd name="connsiteX7" fmla="*/ 0 w 18630"/>
                <a:gd name="connsiteY7" fmla="*/ 30533 h 101430"/>
                <a:gd name="connsiteX8" fmla="*/ 18630 w 18630"/>
                <a:gd name="connsiteY8" fmla="*/ 30533 h 101430"/>
                <a:gd name="connsiteX9" fmla="*/ 18630 w 18630"/>
                <a:gd name="connsiteY9" fmla="*/ 101431 h 101430"/>
                <a:gd name="connsiteX10" fmla="*/ 0 w 18630"/>
                <a:gd name="connsiteY10" fmla="*/ 101431 h 101430"/>
                <a:gd name="connsiteX11" fmla="*/ 0 w 18630"/>
                <a:gd name="connsiteY11" fmla="*/ 30533 h 101430"/>
                <a:gd name="connsiteX12" fmla="*/ 0 w 18630"/>
                <a:gd name="connsiteY12" fmla="*/ 30533 h 101430"/>
                <a:gd name="connsiteX13" fmla="*/ 0 w 18630"/>
                <a:gd name="connsiteY13" fmla="*/ 30533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30" h="101430">
                  <a:moveTo>
                    <a:pt x="0" y="0"/>
                  </a:moveTo>
                  <a:lnTo>
                    <a:pt x="18630" y="0"/>
                  </a:lnTo>
                  <a:lnTo>
                    <a:pt x="18630" y="17595"/>
                  </a:lnTo>
                  <a:lnTo>
                    <a:pt x="0" y="1759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0533"/>
                  </a:moveTo>
                  <a:lnTo>
                    <a:pt x="18630" y="30533"/>
                  </a:lnTo>
                  <a:lnTo>
                    <a:pt x="18630" y="101431"/>
                  </a:lnTo>
                  <a:lnTo>
                    <a:pt x="0" y="101431"/>
                  </a:lnTo>
                  <a:lnTo>
                    <a:pt x="0" y="30533"/>
                  </a:lnTo>
                  <a:lnTo>
                    <a:pt x="0" y="30533"/>
                  </a:lnTo>
                  <a:lnTo>
                    <a:pt x="0" y="305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7" name="Gráfico 1344">
              <a:extLst>
                <a:ext uri="{FF2B5EF4-FFF2-40B4-BE49-F238E27FC236}">
                  <a16:creationId xmlns:a16="http://schemas.microsoft.com/office/drawing/2014/main" id="{A70135A5-0A2E-4540-B9CC-CA055F75F096}"/>
                </a:ext>
              </a:extLst>
            </p:cNvPr>
            <p:cNvSpPr/>
            <p:nvPr/>
          </p:nvSpPr>
          <p:spPr>
            <a:xfrm>
              <a:off x="9256999" y="5772742"/>
              <a:ext cx="66240" cy="72450"/>
            </a:xfrm>
            <a:custGeom>
              <a:avLst/>
              <a:gdLst>
                <a:gd name="connsiteX0" fmla="*/ 173 w 66240"/>
                <a:gd name="connsiteY0" fmla="*/ 1725 h 72450"/>
                <a:gd name="connsiteX1" fmla="*/ 17940 w 66240"/>
                <a:gd name="connsiteY1" fmla="*/ 1725 h 72450"/>
                <a:gd name="connsiteX2" fmla="*/ 17940 w 66240"/>
                <a:gd name="connsiteY2" fmla="*/ 11213 h 72450"/>
                <a:gd name="connsiteX3" fmla="*/ 18113 w 66240"/>
                <a:gd name="connsiteY3" fmla="*/ 11213 h 72450"/>
                <a:gd name="connsiteX4" fmla="*/ 41918 w 66240"/>
                <a:gd name="connsiteY4" fmla="*/ 0 h 72450"/>
                <a:gd name="connsiteX5" fmla="*/ 66240 w 66240"/>
                <a:gd name="connsiteY5" fmla="*/ 27773 h 72450"/>
                <a:gd name="connsiteX6" fmla="*/ 66240 w 66240"/>
                <a:gd name="connsiteY6" fmla="*/ 72451 h 72450"/>
                <a:gd name="connsiteX7" fmla="*/ 47438 w 66240"/>
                <a:gd name="connsiteY7" fmla="*/ 72451 h 72450"/>
                <a:gd name="connsiteX8" fmla="*/ 47438 w 66240"/>
                <a:gd name="connsiteY8" fmla="*/ 34500 h 72450"/>
                <a:gd name="connsiteX9" fmla="*/ 35363 w 66240"/>
                <a:gd name="connsiteY9" fmla="*/ 14145 h 72450"/>
                <a:gd name="connsiteX10" fmla="*/ 18803 w 66240"/>
                <a:gd name="connsiteY10" fmla="*/ 37606 h 72450"/>
                <a:gd name="connsiteX11" fmla="*/ 18803 w 66240"/>
                <a:gd name="connsiteY11" fmla="*/ 72278 h 72450"/>
                <a:gd name="connsiteX12" fmla="*/ 0 w 66240"/>
                <a:gd name="connsiteY12" fmla="*/ 72278 h 72450"/>
                <a:gd name="connsiteX13" fmla="*/ 0 w 66240"/>
                <a:gd name="connsiteY13" fmla="*/ 1552 h 72450"/>
                <a:gd name="connsiteX14" fmla="*/ 173 w 66240"/>
                <a:gd name="connsiteY14" fmla="*/ 1552 h 72450"/>
                <a:gd name="connsiteX15" fmla="*/ 173 w 66240"/>
                <a:gd name="connsiteY15" fmla="*/ 172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240" h="72450">
                  <a:moveTo>
                    <a:pt x="173" y="1725"/>
                  </a:moveTo>
                  <a:lnTo>
                    <a:pt x="17940" y="1725"/>
                  </a:lnTo>
                  <a:lnTo>
                    <a:pt x="17940" y="11213"/>
                  </a:lnTo>
                  <a:lnTo>
                    <a:pt x="18113" y="11213"/>
                  </a:lnTo>
                  <a:cubicBezTo>
                    <a:pt x="23978" y="3105"/>
                    <a:pt x="31913" y="0"/>
                    <a:pt x="41918" y="0"/>
                  </a:cubicBezTo>
                  <a:cubicBezTo>
                    <a:pt x="58996" y="0"/>
                    <a:pt x="66240" y="11903"/>
                    <a:pt x="66240" y="27773"/>
                  </a:cubicBezTo>
                  <a:lnTo>
                    <a:pt x="66240" y="72451"/>
                  </a:lnTo>
                  <a:lnTo>
                    <a:pt x="47438" y="72451"/>
                  </a:lnTo>
                  <a:lnTo>
                    <a:pt x="47438" y="34500"/>
                  </a:lnTo>
                  <a:cubicBezTo>
                    <a:pt x="47438" y="25875"/>
                    <a:pt x="47266" y="14145"/>
                    <a:pt x="35363" y="14145"/>
                  </a:cubicBezTo>
                  <a:cubicBezTo>
                    <a:pt x="21735" y="14145"/>
                    <a:pt x="18803" y="28635"/>
                    <a:pt x="18803" y="37606"/>
                  </a:cubicBezTo>
                  <a:lnTo>
                    <a:pt x="18803" y="72278"/>
                  </a:lnTo>
                  <a:lnTo>
                    <a:pt x="0" y="72278"/>
                  </a:lnTo>
                  <a:lnTo>
                    <a:pt x="0" y="1552"/>
                  </a:lnTo>
                  <a:lnTo>
                    <a:pt x="173" y="1552"/>
                  </a:lnTo>
                  <a:lnTo>
                    <a:pt x="173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8" name="Gráfico 1344">
              <a:extLst>
                <a:ext uri="{FF2B5EF4-FFF2-40B4-BE49-F238E27FC236}">
                  <a16:creationId xmlns:a16="http://schemas.microsoft.com/office/drawing/2014/main" id="{94EE143C-ECD7-40BC-9A34-2F7661B4484C}"/>
                </a:ext>
              </a:extLst>
            </p:cNvPr>
            <p:cNvSpPr/>
            <p:nvPr/>
          </p:nvSpPr>
          <p:spPr>
            <a:xfrm>
              <a:off x="9337730" y="5772742"/>
              <a:ext cx="64170" cy="74520"/>
            </a:xfrm>
            <a:custGeom>
              <a:avLst/>
              <a:gdLst>
                <a:gd name="connsiteX0" fmla="*/ 7935 w 64170"/>
                <a:gd name="connsiteY0" fmla="*/ 5347 h 74520"/>
                <a:gd name="connsiteX1" fmla="*/ 32602 w 64170"/>
                <a:gd name="connsiteY1" fmla="*/ 0 h 74520"/>
                <a:gd name="connsiteX2" fmla="*/ 63135 w 64170"/>
                <a:gd name="connsiteY2" fmla="*/ 30016 h 74520"/>
                <a:gd name="connsiteX3" fmla="*/ 63135 w 64170"/>
                <a:gd name="connsiteY3" fmla="*/ 39158 h 74520"/>
                <a:gd name="connsiteX4" fmla="*/ 63308 w 64170"/>
                <a:gd name="connsiteY4" fmla="*/ 57098 h 74520"/>
                <a:gd name="connsiteX5" fmla="*/ 64170 w 64170"/>
                <a:gd name="connsiteY5" fmla="*/ 73141 h 74520"/>
                <a:gd name="connsiteX6" fmla="*/ 47783 w 64170"/>
                <a:gd name="connsiteY6" fmla="*/ 73141 h 74520"/>
                <a:gd name="connsiteX7" fmla="*/ 46920 w 64170"/>
                <a:gd name="connsiteY7" fmla="*/ 62446 h 74520"/>
                <a:gd name="connsiteX8" fmla="*/ 46748 w 64170"/>
                <a:gd name="connsiteY8" fmla="*/ 62446 h 74520"/>
                <a:gd name="connsiteX9" fmla="*/ 24840 w 64170"/>
                <a:gd name="connsiteY9" fmla="*/ 74521 h 74520"/>
                <a:gd name="connsiteX10" fmla="*/ 0 w 64170"/>
                <a:gd name="connsiteY10" fmla="*/ 53475 h 74520"/>
                <a:gd name="connsiteX11" fmla="*/ 12075 w 64170"/>
                <a:gd name="connsiteY11" fmla="*/ 33293 h 74520"/>
                <a:gd name="connsiteX12" fmla="*/ 35880 w 64170"/>
                <a:gd name="connsiteY12" fmla="*/ 29325 h 74520"/>
                <a:gd name="connsiteX13" fmla="*/ 46058 w 64170"/>
                <a:gd name="connsiteY13" fmla="*/ 29325 h 74520"/>
                <a:gd name="connsiteX14" fmla="*/ 30188 w 64170"/>
                <a:gd name="connsiteY14" fmla="*/ 13973 h 74520"/>
                <a:gd name="connsiteX15" fmla="*/ 8280 w 64170"/>
                <a:gd name="connsiteY15" fmla="*/ 21563 h 74520"/>
                <a:gd name="connsiteX16" fmla="*/ 7935 w 64170"/>
                <a:gd name="connsiteY16" fmla="*/ 5347 h 74520"/>
                <a:gd name="connsiteX17" fmla="*/ 7935 w 64170"/>
                <a:gd name="connsiteY17" fmla="*/ 5347 h 74520"/>
                <a:gd name="connsiteX18" fmla="*/ 7935 w 64170"/>
                <a:gd name="connsiteY18" fmla="*/ 5347 h 74520"/>
                <a:gd name="connsiteX19" fmla="*/ 29498 w 64170"/>
                <a:gd name="connsiteY19" fmla="*/ 60893 h 74520"/>
                <a:gd name="connsiteX20" fmla="*/ 42435 w 64170"/>
                <a:gd name="connsiteY20" fmla="*/ 54510 h 74520"/>
                <a:gd name="connsiteX21" fmla="*/ 46230 w 64170"/>
                <a:gd name="connsiteY21" fmla="*/ 39848 h 74520"/>
                <a:gd name="connsiteX22" fmla="*/ 38123 w 64170"/>
                <a:gd name="connsiteY22" fmla="*/ 39848 h 74520"/>
                <a:gd name="connsiteX23" fmla="*/ 17768 w 64170"/>
                <a:gd name="connsiteY23" fmla="*/ 52268 h 74520"/>
                <a:gd name="connsiteX24" fmla="*/ 29498 w 64170"/>
                <a:gd name="connsiteY24" fmla="*/ 6089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4520">
                  <a:moveTo>
                    <a:pt x="7935" y="5347"/>
                  </a:moveTo>
                  <a:cubicBezTo>
                    <a:pt x="15180" y="1898"/>
                    <a:pt x="24668" y="0"/>
                    <a:pt x="32602" y="0"/>
                  </a:cubicBezTo>
                  <a:cubicBezTo>
                    <a:pt x="54338" y="0"/>
                    <a:pt x="63135" y="8970"/>
                    <a:pt x="63135" y="30016"/>
                  </a:cubicBezTo>
                  <a:lnTo>
                    <a:pt x="63135" y="39158"/>
                  </a:lnTo>
                  <a:cubicBezTo>
                    <a:pt x="63135" y="46403"/>
                    <a:pt x="63308" y="51750"/>
                    <a:pt x="63308" y="57098"/>
                  </a:cubicBezTo>
                  <a:cubicBezTo>
                    <a:pt x="63480" y="62446"/>
                    <a:pt x="63652" y="67448"/>
                    <a:pt x="64170" y="73141"/>
                  </a:cubicBezTo>
                  <a:lnTo>
                    <a:pt x="47783" y="73141"/>
                  </a:lnTo>
                  <a:cubicBezTo>
                    <a:pt x="47093" y="69346"/>
                    <a:pt x="47093" y="64861"/>
                    <a:pt x="46920" y="62446"/>
                  </a:cubicBezTo>
                  <a:lnTo>
                    <a:pt x="46748" y="62446"/>
                  </a:lnTo>
                  <a:cubicBezTo>
                    <a:pt x="42435" y="70381"/>
                    <a:pt x="33120" y="74521"/>
                    <a:pt x="24840" y="74521"/>
                  </a:cubicBezTo>
                  <a:cubicBezTo>
                    <a:pt x="12247" y="74521"/>
                    <a:pt x="0" y="67103"/>
                    <a:pt x="0" y="53475"/>
                  </a:cubicBezTo>
                  <a:cubicBezTo>
                    <a:pt x="0" y="42781"/>
                    <a:pt x="5175" y="36571"/>
                    <a:pt x="12075" y="33293"/>
                  </a:cubicBezTo>
                  <a:cubicBezTo>
                    <a:pt x="18975" y="30016"/>
                    <a:pt x="28290" y="29325"/>
                    <a:pt x="35880" y="29325"/>
                  </a:cubicBezTo>
                  <a:lnTo>
                    <a:pt x="46058" y="29325"/>
                  </a:lnTo>
                  <a:cubicBezTo>
                    <a:pt x="46058" y="17768"/>
                    <a:pt x="40883" y="13973"/>
                    <a:pt x="30188" y="13973"/>
                  </a:cubicBezTo>
                  <a:cubicBezTo>
                    <a:pt x="22252" y="13973"/>
                    <a:pt x="14490" y="16905"/>
                    <a:pt x="8280" y="21563"/>
                  </a:cubicBezTo>
                  <a:lnTo>
                    <a:pt x="7935" y="5347"/>
                  </a:lnTo>
                  <a:lnTo>
                    <a:pt x="7935" y="5347"/>
                  </a:lnTo>
                  <a:lnTo>
                    <a:pt x="7935" y="5347"/>
                  </a:lnTo>
                  <a:close/>
                  <a:moveTo>
                    <a:pt x="29498" y="60893"/>
                  </a:moveTo>
                  <a:cubicBezTo>
                    <a:pt x="35018" y="60893"/>
                    <a:pt x="39502" y="58306"/>
                    <a:pt x="42435" y="54510"/>
                  </a:cubicBezTo>
                  <a:cubicBezTo>
                    <a:pt x="45367" y="50543"/>
                    <a:pt x="46230" y="45368"/>
                    <a:pt x="46230" y="39848"/>
                  </a:cubicBezTo>
                  <a:lnTo>
                    <a:pt x="38123" y="39848"/>
                  </a:lnTo>
                  <a:cubicBezTo>
                    <a:pt x="29842" y="39848"/>
                    <a:pt x="17768" y="41401"/>
                    <a:pt x="17768" y="52268"/>
                  </a:cubicBezTo>
                  <a:cubicBezTo>
                    <a:pt x="17768" y="58306"/>
                    <a:pt x="22770" y="60893"/>
                    <a:pt x="29498" y="6089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59" name="Gráfico 1344">
              <a:extLst>
                <a:ext uri="{FF2B5EF4-FFF2-40B4-BE49-F238E27FC236}">
                  <a16:creationId xmlns:a16="http://schemas.microsoft.com/office/drawing/2014/main" id="{E7689869-F164-4C80-9D64-3C5441BA5E0C}"/>
                </a:ext>
              </a:extLst>
            </p:cNvPr>
            <p:cNvSpPr/>
            <p:nvPr/>
          </p:nvSpPr>
          <p:spPr>
            <a:xfrm>
              <a:off x="9420531" y="5741692"/>
              <a:ext cx="16559" cy="103500"/>
            </a:xfrm>
            <a:custGeom>
              <a:avLst/>
              <a:gdLst>
                <a:gd name="connsiteX0" fmla="*/ 0 w 16559"/>
                <a:gd name="connsiteY0" fmla="*/ 0 h 103500"/>
                <a:gd name="connsiteX1" fmla="*/ 16560 w 16559"/>
                <a:gd name="connsiteY1" fmla="*/ 0 h 103500"/>
                <a:gd name="connsiteX2" fmla="*/ 16560 w 16559"/>
                <a:gd name="connsiteY2" fmla="*/ 103501 h 103500"/>
                <a:gd name="connsiteX3" fmla="*/ 0 w 16559"/>
                <a:gd name="connsiteY3" fmla="*/ 103501 h 103500"/>
                <a:gd name="connsiteX4" fmla="*/ 0 w 16559"/>
                <a:gd name="connsiteY4" fmla="*/ 0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59" h="103500">
                  <a:moveTo>
                    <a:pt x="0" y="0"/>
                  </a:moveTo>
                  <a:lnTo>
                    <a:pt x="16560" y="0"/>
                  </a:lnTo>
                  <a:lnTo>
                    <a:pt x="16560" y="103501"/>
                  </a:lnTo>
                  <a:lnTo>
                    <a:pt x="0" y="1035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0" name="Gráfico 1344">
              <a:extLst>
                <a:ext uri="{FF2B5EF4-FFF2-40B4-BE49-F238E27FC236}">
                  <a16:creationId xmlns:a16="http://schemas.microsoft.com/office/drawing/2014/main" id="{553E2F14-A07E-4536-AC9A-24D31ADB331B}"/>
                </a:ext>
              </a:extLst>
            </p:cNvPr>
            <p:cNvSpPr/>
            <p:nvPr/>
          </p:nvSpPr>
          <p:spPr>
            <a:xfrm>
              <a:off x="9495051" y="5749972"/>
              <a:ext cx="20699" cy="95220"/>
            </a:xfrm>
            <a:custGeom>
              <a:avLst/>
              <a:gdLst>
                <a:gd name="connsiteX0" fmla="*/ 0 w 20699"/>
                <a:gd name="connsiteY0" fmla="*/ 0 h 95220"/>
                <a:gd name="connsiteX1" fmla="*/ 20700 w 20699"/>
                <a:gd name="connsiteY1" fmla="*/ 0 h 95220"/>
                <a:gd name="connsiteX2" fmla="*/ 20700 w 20699"/>
                <a:gd name="connsiteY2" fmla="*/ 95221 h 95220"/>
                <a:gd name="connsiteX3" fmla="*/ 0 w 20699"/>
                <a:gd name="connsiteY3" fmla="*/ 95221 h 95220"/>
                <a:gd name="connsiteX4" fmla="*/ 0 w 20699"/>
                <a:gd name="connsiteY4" fmla="*/ 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9" h="95220">
                  <a:moveTo>
                    <a:pt x="0" y="0"/>
                  </a:moveTo>
                  <a:lnTo>
                    <a:pt x="20700" y="0"/>
                  </a:lnTo>
                  <a:lnTo>
                    <a:pt x="2070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1" name="Gráfico 1344">
              <a:extLst>
                <a:ext uri="{FF2B5EF4-FFF2-40B4-BE49-F238E27FC236}">
                  <a16:creationId xmlns:a16="http://schemas.microsoft.com/office/drawing/2014/main" id="{05DB12B7-A26C-4FF5-BE11-CEB253635C94}"/>
                </a:ext>
              </a:extLst>
            </p:cNvPr>
            <p:cNvSpPr/>
            <p:nvPr/>
          </p:nvSpPr>
          <p:spPr>
            <a:xfrm>
              <a:off x="9534382" y="5772742"/>
              <a:ext cx="66413" cy="72450"/>
            </a:xfrm>
            <a:custGeom>
              <a:avLst/>
              <a:gdLst>
                <a:gd name="connsiteX0" fmla="*/ 0 w 66413"/>
                <a:gd name="connsiteY0" fmla="*/ 1725 h 72450"/>
                <a:gd name="connsiteX1" fmla="*/ 17768 w 66413"/>
                <a:gd name="connsiteY1" fmla="*/ 1725 h 72450"/>
                <a:gd name="connsiteX2" fmla="*/ 17768 w 66413"/>
                <a:gd name="connsiteY2" fmla="*/ 11213 h 72450"/>
                <a:gd name="connsiteX3" fmla="*/ 17940 w 66413"/>
                <a:gd name="connsiteY3" fmla="*/ 11213 h 72450"/>
                <a:gd name="connsiteX4" fmla="*/ 41745 w 66413"/>
                <a:gd name="connsiteY4" fmla="*/ 0 h 72450"/>
                <a:gd name="connsiteX5" fmla="*/ 66413 w 66413"/>
                <a:gd name="connsiteY5" fmla="*/ 27773 h 72450"/>
                <a:gd name="connsiteX6" fmla="*/ 66413 w 66413"/>
                <a:gd name="connsiteY6" fmla="*/ 72451 h 72450"/>
                <a:gd name="connsiteX7" fmla="*/ 47610 w 66413"/>
                <a:gd name="connsiteY7" fmla="*/ 72451 h 72450"/>
                <a:gd name="connsiteX8" fmla="*/ 47610 w 66413"/>
                <a:gd name="connsiteY8" fmla="*/ 34500 h 72450"/>
                <a:gd name="connsiteX9" fmla="*/ 35535 w 66413"/>
                <a:gd name="connsiteY9" fmla="*/ 14145 h 72450"/>
                <a:gd name="connsiteX10" fmla="*/ 18975 w 66413"/>
                <a:gd name="connsiteY10" fmla="*/ 37606 h 72450"/>
                <a:gd name="connsiteX11" fmla="*/ 18975 w 66413"/>
                <a:gd name="connsiteY11" fmla="*/ 72278 h 72450"/>
                <a:gd name="connsiteX12" fmla="*/ 172 w 66413"/>
                <a:gd name="connsiteY12" fmla="*/ 72278 h 72450"/>
                <a:gd name="connsiteX13" fmla="*/ 172 w 66413"/>
                <a:gd name="connsiteY13" fmla="*/ 1725 h 72450"/>
                <a:gd name="connsiteX14" fmla="*/ 0 w 66413"/>
                <a:gd name="connsiteY14" fmla="*/ 1725 h 72450"/>
                <a:gd name="connsiteX15" fmla="*/ 0 w 66413"/>
                <a:gd name="connsiteY15" fmla="*/ 172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3" h="72450">
                  <a:moveTo>
                    <a:pt x="0" y="1725"/>
                  </a:moveTo>
                  <a:lnTo>
                    <a:pt x="17768" y="1725"/>
                  </a:lnTo>
                  <a:lnTo>
                    <a:pt x="17768" y="11213"/>
                  </a:lnTo>
                  <a:lnTo>
                    <a:pt x="17940" y="11213"/>
                  </a:lnTo>
                  <a:cubicBezTo>
                    <a:pt x="23805" y="3105"/>
                    <a:pt x="31740" y="0"/>
                    <a:pt x="41745" y="0"/>
                  </a:cubicBezTo>
                  <a:cubicBezTo>
                    <a:pt x="58823" y="0"/>
                    <a:pt x="66413" y="11903"/>
                    <a:pt x="66413" y="27773"/>
                  </a:cubicBezTo>
                  <a:lnTo>
                    <a:pt x="66413" y="72451"/>
                  </a:lnTo>
                  <a:lnTo>
                    <a:pt x="47610" y="72451"/>
                  </a:lnTo>
                  <a:lnTo>
                    <a:pt x="47610" y="34500"/>
                  </a:lnTo>
                  <a:cubicBezTo>
                    <a:pt x="47610" y="25875"/>
                    <a:pt x="47438" y="14145"/>
                    <a:pt x="35535" y="14145"/>
                  </a:cubicBezTo>
                  <a:cubicBezTo>
                    <a:pt x="21907" y="14145"/>
                    <a:pt x="18975" y="28635"/>
                    <a:pt x="18975" y="37606"/>
                  </a:cubicBezTo>
                  <a:lnTo>
                    <a:pt x="18975" y="72278"/>
                  </a:lnTo>
                  <a:lnTo>
                    <a:pt x="172" y="72278"/>
                  </a:lnTo>
                  <a:lnTo>
                    <a:pt x="172" y="1725"/>
                  </a:lnTo>
                  <a:lnTo>
                    <a:pt x="0" y="1725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2" name="Gráfico 1344">
              <a:extLst>
                <a:ext uri="{FF2B5EF4-FFF2-40B4-BE49-F238E27FC236}">
                  <a16:creationId xmlns:a16="http://schemas.microsoft.com/office/drawing/2014/main" id="{C2227CF1-9B10-4286-B782-829E615F0F5A}"/>
                </a:ext>
              </a:extLst>
            </p:cNvPr>
            <p:cNvSpPr/>
            <p:nvPr/>
          </p:nvSpPr>
          <p:spPr>
            <a:xfrm>
              <a:off x="9610972" y="5753939"/>
              <a:ext cx="49680" cy="93150"/>
            </a:xfrm>
            <a:custGeom>
              <a:avLst/>
              <a:gdLst>
                <a:gd name="connsiteX0" fmla="*/ 13627 w 49680"/>
                <a:gd name="connsiteY0" fmla="*/ 33983 h 93150"/>
                <a:gd name="connsiteX1" fmla="*/ 0 w 49680"/>
                <a:gd name="connsiteY1" fmla="*/ 33983 h 93150"/>
                <a:gd name="connsiteX2" fmla="*/ 0 w 49680"/>
                <a:gd name="connsiteY2" fmla="*/ 20355 h 93150"/>
                <a:gd name="connsiteX3" fmla="*/ 13627 w 49680"/>
                <a:gd name="connsiteY3" fmla="*/ 20355 h 93150"/>
                <a:gd name="connsiteX4" fmla="*/ 13627 w 49680"/>
                <a:gd name="connsiteY4" fmla="*/ 6038 h 93150"/>
                <a:gd name="connsiteX5" fmla="*/ 32085 w 49680"/>
                <a:gd name="connsiteY5" fmla="*/ 0 h 93150"/>
                <a:gd name="connsiteX6" fmla="*/ 32085 w 49680"/>
                <a:gd name="connsiteY6" fmla="*/ 20183 h 93150"/>
                <a:gd name="connsiteX7" fmla="*/ 48473 w 49680"/>
                <a:gd name="connsiteY7" fmla="*/ 20183 h 93150"/>
                <a:gd name="connsiteX8" fmla="*/ 48473 w 49680"/>
                <a:gd name="connsiteY8" fmla="*/ 33811 h 93150"/>
                <a:gd name="connsiteX9" fmla="*/ 32085 w 49680"/>
                <a:gd name="connsiteY9" fmla="*/ 33811 h 93150"/>
                <a:gd name="connsiteX10" fmla="*/ 32085 w 49680"/>
                <a:gd name="connsiteY10" fmla="*/ 66931 h 93150"/>
                <a:gd name="connsiteX11" fmla="*/ 40710 w 49680"/>
                <a:gd name="connsiteY11" fmla="*/ 78661 h 93150"/>
                <a:gd name="connsiteX12" fmla="*/ 48990 w 49680"/>
                <a:gd name="connsiteY12" fmla="*/ 76763 h 93150"/>
                <a:gd name="connsiteX13" fmla="*/ 49680 w 49680"/>
                <a:gd name="connsiteY13" fmla="*/ 91426 h 93150"/>
                <a:gd name="connsiteX14" fmla="*/ 36053 w 49680"/>
                <a:gd name="connsiteY14" fmla="*/ 93151 h 93150"/>
                <a:gd name="connsiteX15" fmla="*/ 13627 w 49680"/>
                <a:gd name="connsiteY15" fmla="*/ 70208 h 93150"/>
                <a:gd name="connsiteX16" fmla="*/ 13627 w 49680"/>
                <a:gd name="connsiteY16" fmla="*/ 33983 h 93150"/>
                <a:gd name="connsiteX17" fmla="*/ 13627 w 49680"/>
                <a:gd name="connsiteY17" fmla="*/ 33983 h 93150"/>
                <a:gd name="connsiteX18" fmla="*/ 13627 w 49680"/>
                <a:gd name="connsiteY18" fmla="*/ 33983 h 9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680" h="93150">
                  <a:moveTo>
                    <a:pt x="13627" y="33983"/>
                  </a:moveTo>
                  <a:lnTo>
                    <a:pt x="0" y="33983"/>
                  </a:lnTo>
                  <a:lnTo>
                    <a:pt x="0" y="20355"/>
                  </a:lnTo>
                  <a:lnTo>
                    <a:pt x="13627" y="20355"/>
                  </a:lnTo>
                  <a:lnTo>
                    <a:pt x="13627" y="6038"/>
                  </a:lnTo>
                  <a:lnTo>
                    <a:pt x="32085" y="0"/>
                  </a:lnTo>
                  <a:lnTo>
                    <a:pt x="32085" y="20183"/>
                  </a:lnTo>
                  <a:lnTo>
                    <a:pt x="48473" y="20183"/>
                  </a:lnTo>
                  <a:lnTo>
                    <a:pt x="48473" y="33811"/>
                  </a:lnTo>
                  <a:lnTo>
                    <a:pt x="32085" y="33811"/>
                  </a:lnTo>
                  <a:lnTo>
                    <a:pt x="32085" y="66931"/>
                  </a:lnTo>
                  <a:cubicBezTo>
                    <a:pt x="32085" y="73141"/>
                    <a:pt x="33810" y="78661"/>
                    <a:pt x="40710" y="78661"/>
                  </a:cubicBezTo>
                  <a:cubicBezTo>
                    <a:pt x="43815" y="78661"/>
                    <a:pt x="47093" y="77971"/>
                    <a:pt x="48990" y="76763"/>
                  </a:cubicBezTo>
                  <a:lnTo>
                    <a:pt x="49680" y="91426"/>
                  </a:lnTo>
                  <a:cubicBezTo>
                    <a:pt x="45885" y="92461"/>
                    <a:pt x="41573" y="93151"/>
                    <a:pt x="36053" y="93151"/>
                  </a:cubicBezTo>
                  <a:cubicBezTo>
                    <a:pt x="21563" y="93151"/>
                    <a:pt x="13627" y="84181"/>
                    <a:pt x="13627" y="70208"/>
                  </a:cubicBezTo>
                  <a:lnTo>
                    <a:pt x="13627" y="33983"/>
                  </a:lnTo>
                  <a:lnTo>
                    <a:pt x="13627" y="33983"/>
                  </a:lnTo>
                  <a:lnTo>
                    <a:pt x="13627" y="3398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3" name="Gráfico 1344">
              <a:extLst>
                <a:ext uri="{FF2B5EF4-FFF2-40B4-BE49-F238E27FC236}">
                  <a16:creationId xmlns:a16="http://schemas.microsoft.com/office/drawing/2014/main" id="{94537EF6-3C5A-4DD7-A32D-60313E4B541B}"/>
                </a:ext>
              </a:extLst>
            </p:cNvPr>
            <p:cNvSpPr/>
            <p:nvPr/>
          </p:nvSpPr>
          <p:spPr>
            <a:xfrm>
              <a:off x="9668932" y="5772742"/>
              <a:ext cx="66240" cy="74520"/>
            </a:xfrm>
            <a:custGeom>
              <a:avLst/>
              <a:gdLst>
                <a:gd name="connsiteX0" fmla="*/ 61238 w 66240"/>
                <a:gd name="connsiteY0" fmla="*/ 69001 h 74520"/>
                <a:gd name="connsiteX1" fmla="*/ 36916 w 66240"/>
                <a:gd name="connsiteY1" fmla="*/ 74521 h 74520"/>
                <a:gd name="connsiteX2" fmla="*/ 0 w 66240"/>
                <a:gd name="connsiteY2" fmla="*/ 37606 h 74520"/>
                <a:gd name="connsiteX3" fmla="*/ 32775 w 66240"/>
                <a:gd name="connsiteY3" fmla="*/ 0 h 74520"/>
                <a:gd name="connsiteX4" fmla="*/ 66240 w 66240"/>
                <a:gd name="connsiteY4" fmla="*/ 43125 h 74520"/>
                <a:gd name="connsiteX5" fmla="*/ 17423 w 66240"/>
                <a:gd name="connsiteY5" fmla="*/ 43125 h 74520"/>
                <a:gd name="connsiteX6" fmla="*/ 37433 w 66240"/>
                <a:gd name="connsiteY6" fmla="*/ 61238 h 74520"/>
                <a:gd name="connsiteX7" fmla="*/ 60893 w 66240"/>
                <a:gd name="connsiteY7" fmla="*/ 53993 h 74520"/>
                <a:gd name="connsiteX8" fmla="*/ 60893 w 66240"/>
                <a:gd name="connsiteY8" fmla="*/ 69001 h 74520"/>
                <a:gd name="connsiteX9" fmla="*/ 61238 w 66240"/>
                <a:gd name="connsiteY9" fmla="*/ 69001 h 74520"/>
                <a:gd name="connsiteX10" fmla="*/ 61238 w 66240"/>
                <a:gd name="connsiteY10" fmla="*/ 69001 h 74520"/>
                <a:gd name="connsiteX11" fmla="*/ 48990 w 66240"/>
                <a:gd name="connsiteY11" fmla="*/ 30360 h 74520"/>
                <a:gd name="connsiteX12" fmla="*/ 33983 w 66240"/>
                <a:gd name="connsiteY12" fmla="*/ 13455 h 74520"/>
                <a:gd name="connsiteX13" fmla="*/ 17768 w 66240"/>
                <a:gd name="connsiteY13" fmla="*/ 30360 h 74520"/>
                <a:gd name="connsiteX14" fmla="*/ 48990 w 66240"/>
                <a:gd name="connsiteY14" fmla="*/ 30360 h 74520"/>
                <a:gd name="connsiteX15" fmla="*/ 48990 w 66240"/>
                <a:gd name="connsiteY15" fmla="*/ 30360 h 74520"/>
                <a:gd name="connsiteX16" fmla="*/ 48990 w 66240"/>
                <a:gd name="connsiteY16" fmla="*/ 3036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40" h="74520">
                  <a:moveTo>
                    <a:pt x="61238" y="69001"/>
                  </a:moveTo>
                  <a:cubicBezTo>
                    <a:pt x="54510" y="72623"/>
                    <a:pt x="46920" y="74521"/>
                    <a:pt x="36916" y="74521"/>
                  </a:cubicBezTo>
                  <a:cubicBezTo>
                    <a:pt x="13628" y="74521"/>
                    <a:pt x="0" y="61066"/>
                    <a:pt x="0" y="37606"/>
                  </a:cubicBezTo>
                  <a:cubicBezTo>
                    <a:pt x="0" y="16905"/>
                    <a:pt x="10695" y="0"/>
                    <a:pt x="32775" y="0"/>
                  </a:cubicBezTo>
                  <a:cubicBezTo>
                    <a:pt x="58996" y="0"/>
                    <a:pt x="66240" y="18113"/>
                    <a:pt x="66240" y="43125"/>
                  </a:cubicBezTo>
                  <a:lnTo>
                    <a:pt x="17423" y="43125"/>
                  </a:lnTo>
                  <a:cubicBezTo>
                    <a:pt x="18285" y="54683"/>
                    <a:pt x="26221" y="61238"/>
                    <a:pt x="37433" y="61238"/>
                  </a:cubicBezTo>
                  <a:cubicBezTo>
                    <a:pt x="46230" y="61238"/>
                    <a:pt x="54166" y="57788"/>
                    <a:pt x="60893" y="53993"/>
                  </a:cubicBezTo>
                  <a:lnTo>
                    <a:pt x="60893" y="69001"/>
                  </a:lnTo>
                  <a:lnTo>
                    <a:pt x="61238" y="69001"/>
                  </a:lnTo>
                  <a:lnTo>
                    <a:pt x="61238" y="69001"/>
                  </a:lnTo>
                  <a:close/>
                  <a:moveTo>
                    <a:pt x="48990" y="30360"/>
                  </a:moveTo>
                  <a:cubicBezTo>
                    <a:pt x="48301" y="21391"/>
                    <a:pt x="44333" y="13455"/>
                    <a:pt x="33983" y="13455"/>
                  </a:cubicBezTo>
                  <a:cubicBezTo>
                    <a:pt x="23805" y="13455"/>
                    <a:pt x="18630" y="20700"/>
                    <a:pt x="17768" y="30360"/>
                  </a:cubicBezTo>
                  <a:lnTo>
                    <a:pt x="48990" y="30360"/>
                  </a:lnTo>
                  <a:lnTo>
                    <a:pt x="48990" y="30360"/>
                  </a:lnTo>
                  <a:lnTo>
                    <a:pt x="48990" y="303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4" name="Gráfico 1344">
              <a:extLst>
                <a:ext uri="{FF2B5EF4-FFF2-40B4-BE49-F238E27FC236}">
                  <a16:creationId xmlns:a16="http://schemas.microsoft.com/office/drawing/2014/main" id="{BB9EF1FA-8BFA-4668-A49C-90AFA081BD76}"/>
                </a:ext>
              </a:extLst>
            </p:cNvPr>
            <p:cNvSpPr/>
            <p:nvPr/>
          </p:nvSpPr>
          <p:spPr>
            <a:xfrm>
              <a:off x="9745523" y="5772914"/>
              <a:ext cx="70380" cy="103328"/>
            </a:xfrm>
            <a:custGeom>
              <a:avLst/>
              <a:gdLst>
                <a:gd name="connsiteX0" fmla="*/ 70381 w 70380"/>
                <a:gd name="connsiteY0" fmla="*/ 1725 h 103328"/>
                <a:gd name="connsiteX1" fmla="*/ 70381 w 70380"/>
                <a:gd name="connsiteY1" fmla="*/ 65896 h 103328"/>
                <a:gd name="connsiteX2" fmla="*/ 32430 w 70380"/>
                <a:gd name="connsiteY2" fmla="*/ 103328 h 103328"/>
                <a:gd name="connsiteX3" fmla="*/ 7763 w 70380"/>
                <a:gd name="connsiteY3" fmla="*/ 98498 h 103328"/>
                <a:gd name="connsiteX4" fmla="*/ 9315 w 70380"/>
                <a:gd name="connsiteY4" fmla="*/ 82800 h 103328"/>
                <a:gd name="connsiteX5" fmla="*/ 30188 w 70380"/>
                <a:gd name="connsiteY5" fmla="*/ 89011 h 103328"/>
                <a:gd name="connsiteX6" fmla="*/ 51923 w 70380"/>
                <a:gd name="connsiteY6" fmla="*/ 61410 h 103328"/>
                <a:gd name="connsiteX7" fmla="*/ 51750 w 70380"/>
                <a:gd name="connsiteY7" fmla="*/ 61410 h 103328"/>
                <a:gd name="connsiteX8" fmla="*/ 29325 w 70380"/>
                <a:gd name="connsiteY8" fmla="*/ 72623 h 103328"/>
                <a:gd name="connsiteX9" fmla="*/ 0 w 70380"/>
                <a:gd name="connsiteY9" fmla="*/ 36743 h 103328"/>
                <a:gd name="connsiteX10" fmla="*/ 30533 w 70380"/>
                <a:gd name="connsiteY10" fmla="*/ 0 h 103328"/>
                <a:gd name="connsiteX11" fmla="*/ 52441 w 70380"/>
                <a:gd name="connsiteY11" fmla="*/ 11212 h 103328"/>
                <a:gd name="connsiteX12" fmla="*/ 52613 w 70380"/>
                <a:gd name="connsiteY12" fmla="*/ 11212 h 103328"/>
                <a:gd name="connsiteX13" fmla="*/ 52613 w 70380"/>
                <a:gd name="connsiteY13" fmla="*/ 1380 h 103328"/>
                <a:gd name="connsiteX14" fmla="*/ 70208 w 70380"/>
                <a:gd name="connsiteY14" fmla="*/ 1380 h 103328"/>
                <a:gd name="connsiteX15" fmla="*/ 70208 w 70380"/>
                <a:gd name="connsiteY15" fmla="*/ 1725 h 103328"/>
                <a:gd name="connsiteX16" fmla="*/ 70381 w 70380"/>
                <a:gd name="connsiteY16" fmla="*/ 1725 h 103328"/>
                <a:gd name="connsiteX17" fmla="*/ 51578 w 70380"/>
                <a:gd name="connsiteY17" fmla="*/ 36398 h 103328"/>
                <a:gd name="connsiteX18" fmla="*/ 35881 w 70380"/>
                <a:gd name="connsiteY18" fmla="*/ 14317 h 103328"/>
                <a:gd name="connsiteX19" fmla="*/ 19148 w 70380"/>
                <a:gd name="connsiteY19" fmla="*/ 36916 h 103328"/>
                <a:gd name="connsiteX20" fmla="*/ 35018 w 70380"/>
                <a:gd name="connsiteY20" fmla="*/ 58306 h 103328"/>
                <a:gd name="connsiteX21" fmla="*/ 51578 w 70380"/>
                <a:gd name="connsiteY21" fmla="*/ 36398 h 103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0380" h="103328">
                  <a:moveTo>
                    <a:pt x="70381" y="1725"/>
                  </a:moveTo>
                  <a:lnTo>
                    <a:pt x="70381" y="65896"/>
                  </a:lnTo>
                  <a:cubicBezTo>
                    <a:pt x="70381" y="85216"/>
                    <a:pt x="62618" y="103328"/>
                    <a:pt x="32430" y="103328"/>
                  </a:cubicBezTo>
                  <a:cubicBezTo>
                    <a:pt x="25185" y="103328"/>
                    <a:pt x="16560" y="102293"/>
                    <a:pt x="7763" y="98498"/>
                  </a:cubicBezTo>
                  <a:lnTo>
                    <a:pt x="9315" y="82800"/>
                  </a:lnTo>
                  <a:cubicBezTo>
                    <a:pt x="15180" y="85733"/>
                    <a:pt x="24323" y="89011"/>
                    <a:pt x="30188" y="89011"/>
                  </a:cubicBezTo>
                  <a:cubicBezTo>
                    <a:pt x="50888" y="89011"/>
                    <a:pt x="51923" y="73658"/>
                    <a:pt x="51923" y="61410"/>
                  </a:cubicBezTo>
                  <a:lnTo>
                    <a:pt x="51750" y="61410"/>
                  </a:lnTo>
                  <a:cubicBezTo>
                    <a:pt x="48300" y="67621"/>
                    <a:pt x="39848" y="72623"/>
                    <a:pt x="29325" y="72623"/>
                  </a:cubicBezTo>
                  <a:cubicBezTo>
                    <a:pt x="7935" y="72623"/>
                    <a:pt x="0" y="55890"/>
                    <a:pt x="0" y="36743"/>
                  </a:cubicBezTo>
                  <a:cubicBezTo>
                    <a:pt x="0" y="19665"/>
                    <a:pt x="8970" y="0"/>
                    <a:pt x="30533" y="0"/>
                  </a:cubicBezTo>
                  <a:cubicBezTo>
                    <a:pt x="40020" y="0"/>
                    <a:pt x="47265" y="3105"/>
                    <a:pt x="52441" y="11212"/>
                  </a:cubicBezTo>
                  <a:lnTo>
                    <a:pt x="52613" y="11212"/>
                  </a:lnTo>
                  <a:lnTo>
                    <a:pt x="52613" y="1380"/>
                  </a:lnTo>
                  <a:lnTo>
                    <a:pt x="70208" y="1380"/>
                  </a:lnTo>
                  <a:lnTo>
                    <a:pt x="70208" y="1725"/>
                  </a:lnTo>
                  <a:lnTo>
                    <a:pt x="70381" y="1725"/>
                  </a:lnTo>
                  <a:close/>
                  <a:moveTo>
                    <a:pt x="51578" y="36398"/>
                  </a:moveTo>
                  <a:cubicBezTo>
                    <a:pt x="51578" y="24323"/>
                    <a:pt x="46920" y="14317"/>
                    <a:pt x="35881" y="14317"/>
                  </a:cubicBezTo>
                  <a:cubicBezTo>
                    <a:pt x="23115" y="14317"/>
                    <a:pt x="19148" y="26048"/>
                    <a:pt x="19148" y="36916"/>
                  </a:cubicBezTo>
                  <a:cubicBezTo>
                    <a:pt x="19148" y="46403"/>
                    <a:pt x="24323" y="58306"/>
                    <a:pt x="35018" y="58306"/>
                  </a:cubicBezTo>
                  <a:cubicBezTo>
                    <a:pt x="46920" y="58306"/>
                    <a:pt x="51578" y="48300"/>
                    <a:pt x="51578" y="36398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5" name="Gráfico 1344">
              <a:extLst>
                <a:ext uri="{FF2B5EF4-FFF2-40B4-BE49-F238E27FC236}">
                  <a16:creationId xmlns:a16="http://schemas.microsoft.com/office/drawing/2014/main" id="{3C89F10F-E6FE-4214-9FBF-5D39417B3071}"/>
                </a:ext>
              </a:extLst>
            </p:cNvPr>
            <p:cNvSpPr/>
            <p:nvPr/>
          </p:nvSpPr>
          <p:spPr>
            <a:xfrm>
              <a:off x="9834534" y="5772742"/>
              <a:ext cx="41400" cy="72623"/>
            </a:xfrm>
            <a:custGeom>
              <a:avLst/>
              <a:gdLst>
                <a:gd name="connsiteX0" fmla="*/ 173 w 41400"/>
                <a:gd name="connsiteY0" fmla="*/ 1725 h 72623"/>
                <a:gd name="connsiteX1" fmla="*/ 16388 w 41400"/>
                <a:gd name="connsiteY1" fmla="*/ 1725 h 72623"/>
                <a:gd name="connsiteX2" fmla="*/ 16388 w 41400"/>
                <a:gd name="connsiteY2" fmla="*/ 17768 h 72623"/>
                <a:gd name="connsiteX3" fmla="*/ 16560 w 41400"/>
                <a:gd name="connsiteY3" fmla="*/ 17768 h 72623"/>
                <a:gd name="connsiteX4" fmla="*/ 35708 w 41400"/>
                <a:gd name="connsiteY4" fmla="*/ 0 h 72623"/>
                <a:gd name="connsiteX5" fmla="*/ 41400 w 41400"/>
                <a:gd name="connsiteY5" fmla="*/ 690 h 72623"/>
                <a:gd name="connsiteX6" fmla="*/ 41400 w 41400"/>
                <a:gd name="connsiteY6" fmla="*/ 19321 h 72623"/>
                <a:gd name="connsiteX7" fmla="*/ 33120 w 41400"/>
                <a:gd name="connsiteY7" fmla="*/ 17768 h 72623"/>
                <a:gd name="connsiteX8" fmla="*/ 18285 w 41400"/>
                <a:gd name="connsiteY8" fmla="*/ 46576 h 72623"/>
                <a:gd name="connsiteX9" fmla="*/ 18285 w 41400"/>
                <a:gd name="connsiteY9" fmla="*/ 72623 h 72623"/>
                <a:gd name="connsiteX10" fmla="*/ 0 w 41400"/>
                <a:gd name="connsiteY10" fmla="*/ 72623 h 72623"/>
                <a:gd name="connsiteX11" fmla="*/ 0 w 41400"/>
                <a:gd name="connsiteY11" fmla="*/ 1898 h 72623"/>
                <a:gd name="connsiteX12" fmla="*/ 173 w 41400"/>
                <a:gd name="connsiteY12" fmla="*/ 1898 h 72623"/>
                <a:gd name="connsiteX13" fmla="*/ 173 w 41400"/>
                <a:gd name="connsiteY13" fmla="*/ 1725 h 7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400" h="72623">
                  <a:moveTo>
                    <a:pt x="173" y="1725"/>
                  </a:moveTo>
                  <a:lnTo>
                    <a:pt x="16388" y="1725"/>
                  </a:lnTo>
                  <a:lnTo>
                    <a:pt x="16388" y="17768"/>
                  </a:lnTo>
                  <a:lnTo>
                    <a:pt x="16560" y="17768"/>
                  </a:lnTo>
                  <a:cubicBezTo>
                    <a:pt x="17423" y="11213"/>
                    <a:pt x="24840" y="0"/>
                    <a:pt x="35708" y="0"/>
                  </a:cubicBezTo>
                  <a:cubicBezTo>
                    <a:pt x="37605" y="0"/>
                    <a:pt x="39330" y="0"/>
                    <a:pt x="41400" y="690"/>
                  </a:cubicBezTo>
                  <a:lnTo>
                    <a:pt x="41400" y="19321"/>
                  </a:lnTo>
                  <a:cubicBezTo>
                    <a:pt x="39675" y="18458"/>
                    <a:pt x="36570" y="17768"/>
                    <a:pt x="33120" y="17768"/>
                  </a:cubicBezTo>
                  <a:cubicBezTo>
                    <a:pt x="18285" y="17768"/>
                    <a:pt x="18285" y="36398"/>
                    <a:pt x="18285" y="46576"/>
                  </a:cubicBezTo>
                  <a:lnTo>
                    <a:pt x="18285" y="72623"/>
                  </a:lnTo>
                  <a:lnTo>
                    <a:pt x="0" y="72623"/>
                  </a:lnTo>
                  <a:lnTo>
                    <a:pt x="0" y="1898"/>
                  </a:lnTo>
                  <a:lnTo>
                    <a:pt x="173" y="1898"/>
                  </a:lnTo>
                  <a:lnTo>
                    <a:pt x="173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6" name="Gráfico 1344">
              <a:extLst>
                <a:ext uri="{FF2B5EF4-FFF2-40B4-BE49-F238E27FC236}">
                  <a16:creationId xmlns:a16="http://schemas.microsoft.com/office/drawing/2014/main" id="{E17DC0AD-89F9-4B72-94B3-18C1AB14DBB7}"/>
                </a:ext>
              </a:extLst>
            </p:cNvPr>
            <p:cNvSpPr/>
            <p:nvPr/>
          </p:nvSpPr>
          <p:spPr>
            <a:xfrm>
              <a:off x="9884214" y="5772742"/>
              <a:ext cx="64170" cy="74520"/>
            </a:xfrm>
            <a:custGeom>
              <a:avLst/>
              <a:gdLst>
                <a:gd name="connsiteX0" fmla="*/ 7935 w 64170"/>
                <a:gd name="connsiteY0" fmla="*/ 5347 h 74520"/>
                <a:gd name="connsiteX1" fmla="*/ 32602 w 64170"/>
                <a:gd name="connsiteY1" fmla="*/ 0 h 74520"/>
                <a:gd name="connsiteX2" fmla="*/ 63136 w 64170"/>
                <a:gd name="connsiteY2" fmla="*/ 30016 h 74520"/>
                <a:gd name="connsiteX3" fmla="*/ 63136 w 64170"/>
                <a:gd name="connsiteY3" fmla="*/ 39158 h 74520"/>
                <a:gd name="connsiteX4" fmla="*/ 63308 w 64170"/>
                <a:gd name="connsiteY4" fmla="*/ 57098 h 74520"/>
                <a:gd name="connsiteX5" fmla="*/ 64170 w 64170"/>
                <a:gd name="connsiteY5" fmla="*/ 73141 h 74520"/>
                <a:gd name="connsiteX6" fmla="*/ 47783 w 64170"/>
                <a:gd name="connsiteY6" fmla="*/ 73141 h 74520"/>
                <a:gd name="connsiteX7" fmla="*/ 46920 w 64170"/>
                <a:gd name="connsiteY7" fmla="*/ 62446 h 74520"/>
                <a:gd name="connsiteX8" fmla="*/ 46748 w 64170"/>
                <a:gd name="connsiteY8" fmla="*/ 62446 h 74520"/>
                <a:gd name="connsiteX9" fmla="*/ 24840 w 64170"/>
                <a:gd name="connsiteY9" fmla="*/ 74521 h 74520"/>
                <a:gd name="connsiteX10" fmla="*/ 0 w 64170"/>
                <a:gd name="connsiteY10" fmla="*/ 53475 h 74520"/>
                <a:gd name="connsiteX11" fmla="*/ 12075 w 64170"/>
                <a:gd name="connsiteY11" fmla="*/ 33293 h 74520"/>
                <a:gd name="connsiteX12" fmla="*/ 35880 w 64170"/>
                <a:gd name="connsiteY12" fmla="*/ 29325 h 74520"/>
                <a:gd name="connsiteX13" fmla="*/ 46058 w 64170"/>
                <a:gd name="connsiteY13" fmla="*/ 29325 h 74520"/>
                <a:gd name="connsiteX14" fmla="*/ 30188 w 64170"/>
                <a:gd name="connsiteY14" fmla="*/ 13973 h 74520"/>
                <a:gd name="connsiteX15" fmla="*/ 8280 w 64170"/>
                <a:gd name="connsiteY15" fmla="*/ 21563 h 74520"/>
                <a:gd name="connsiteX16" fmla="*/ 7935 w 64170"/>
                <a:gd name="connsiteY16" fmla="*/ 5347 h 74520"/>
                <a:gd name="connsiteX17" fmla="*/ 7935 w 64170"/>
                <a:gd name="connsiteY17" fmla="*/ 5347 h 74520"/>
                <a:gd name="connsiteX18" fmla="*/ 7935 w 64170"/>
                <a:gd name="connsiteY18" fmla="*/ 5347 h 74520"/>
                <a:gd name="connsiteX19" fmla="*/ 29498 w 64170"/>
                <a:gd name="connsiteY19" fmla="*/ 60893 h 74520"/>
                <a:gd name="connsiteX20" fmla="*/ 42435 w 64170"/>
                <a:gd name="connsiteY20" fmla="*/ 54510 h 74520"/>
                <a:gd name="connsiteX21" fmla="*/ 46230 w 64170"/>
                <a:gd name="connsiteY21" fmla="*/ 39848 h 74520"/>
                <a:gd name="connsiteX22" fmla="*/ 38123 w 64170"/>
                <a:gd name="connsiteY22" fmla="*/ 39848 h 74520"/>
                <a:gd name="connsiteX23" fmla="*/ 17595 w 64170"/>
                <a:gd name="connsiteY23" fmla="*/ 52268 h 74520"/>
                <a:gd name="connsiteX24" fmla="*/ 29498 w 64170"/>
                <a:gd name="connsiteY24" fmla="*/ 6089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4520">
                  <a:moveTo>
                    <a:pt x="7935" y="5347"/>
                  </a:moveTo>
                  <a:cubicBezTo>
                    <a:pt x="15180" y="1898"/>
                    <a:pt x="24668" y="0"/>
                    <a:pt x="32602" y="0"/>
                  </a:cubicBezTo>
                  <a:cubicBezTo>
                    <a:pt x="54338" y="0"/>
                    <a:pt x="63136" y="8970"/>
                    <a:pt x="63136" y="30016"/>
                  </a:cubicBezTo>
                  <a:lnTo>
                    <a:pt x="63136" y="39158"/>
                  </a:lnTo>
                  <a:cubicBezTo>
                    <a:pt x="63136" y="46403"/>
                    <a:pt x="63308" y="51750"/>
                    <a:pt x="63308" y="57098"/>
                  </a:cubicBezTo>
                  <a:cubicBezTo>
                    <a:pt x="63480" y="62446"/>
                    <a:pt x="63653" y="67448"/>
                    <a:pt x="64170" y="73141"/>
                  </a:cubicBezTo>
                  <a:lnTo>
                    <a:pt x="47783" y="73141"/>
                  </a:lnTo>
                  <a:cubicBezTo>
                    <a:pt x="47093" y="69346"/>
                    <a:pt x="47093" y="64861"/>
                    <a:pt x="46920" y="62446"/>
                  </a:cubicBezTo>
                  <a:lnTo>
                    <a:pt x="46748" y="62446"/>
                  </a:lnTo>
                  <a:cubicBezTo>
                    <a:pt x="42435" y="70381"/>
                    <a:pt x="33120" y="74521"/>
                    <a:pt x="24840" y="74521"/>
                  </a:cubicBezTo>
                  <a:cubicBezTo>
                    <a:pt x="12247" y="74521"/>
                    <a:pt x="0" y="67103"/>
                    <a:pt x="0" y="53475"/>
                  </a:cubicBezTo>
                  <a:cubicBezTo>
                    <a:pt x="0" y="42781"/>
                    <a:pt x="5175" y="36571"/>
                    <a:pt x="12075" y="33293"/>
                  </a:cubicBezTo>
                  <a:cubicBezTo>
                    <a:pt x="18975" y="30016"/>
                    <a:pt x="28290" y="29325"/>
                    <a:pt x="35880" y="29325"/>
                  </a:cubicBezTo>
                  <a:lnTo>
                    <a:pt x="46058" y="29325"/>
                  </a:lnTo>
                  <a:cubicBezTo>
                    <a:pt x="46058" y="17768"/>
                    <a:pt x="40883" y="13973"/>
                    <a:pt x="30188" y="13973"/>
                  </a:cubicBezTo>
                  <a:cubicBezTo>
                    <a:pt x="22253" y="13973"/>
                    <a:pt x="14490" y="16905"/>
                    <a:pt x="8280" y="21563"/>
                  </a:cubicBezTo>
                  <a:lnTo>
                    <a:pt x="7935" y="5347"/>
                  </a:lnTo>
                  <a:lnTo>
                    <a:pt x="7935" y="5347"/>
                  </a:lnTo>
                  <a:lnTo>
                    <a:pt x="7935" y="5347"/>
                  </a:lnTo>
                  <a:close/>
                  <a:moveTo>
                    <a:pt x="29498" y="60893"/>
                  </a:moveTo>
                  <a:cubicBezTo>
                    <a:pt x="35190" y="60893"/>
                    <a:pt x="39503" y="58306"/>
                    <a:pt x="42435" y="54510"/>
                  </a:cubicBezTo>
                  <a:cubicBezTo>
                    <a:pt x="45368" y="50543"/>
                    <a:pt x="46230" y="45368"/>
                    <a:pt x="46230" y="39848"/>
                  </a:cubicBezTo>
                  <a:lnTo>
                    <a:pt x="38123" y="39848"/>
                  </a:lnTo>
                  <a:cubicBezTo>
                    <a:pt x="29842" y="39848"/>
                    <a:pt x="17595" y="41401"/>
                    <a:pt x="17595" y="52268"/>
                  </a:cubicBezTo>
                  <a:cubicBezTo>
                    <a:pt x="17768" y="58306"/>
                    <a:pt x="22942" y="60893"/>
                    <a:pt x="29498" y="6089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7" name="Gráfico 1344">
              <a:extLst>
                <a:ext uri="{FF2B5EF4-FFF2-40B4-BE49-F238E27FC236}">
                  <a16:creationId xmlns:a16="http://schemas.microsoft.com/office/drawing/2014/main" id="{916E8EF1-0D3A-4A9F-93E8-F0E7A5BD5AD5}"/>
                </a:ext>
              </a:extLst>
            </p:cNvPr>
            <p:cNvSpPr/>
            <p:nvPr/>
          </p:nvSpPr>
          <p:spPr>
            <a:xfrm>
              <a:off x="9960977" y="5741519"/>
              <a:ext cx="70208" cy="105743"/>
            </a:xfrm>
            <a:custGeom>
              <a:avLst/>
              <a:gdLst>
                <a:gd name="connsiteX0" fmla="*/ 52268 w 70208"/>
                <a:gd name="connsiteY0" fmla="*/ 96083 h 105743"/>
                <a:gd name="connsiteX1" fmla="*/ 52096 w 70208"/>
                <a:gd name="connsiteY1" fmla="*/ 96083 h 105743"/>
                <a:gd name="connsiteX2" fmla="*/ 30016 w 70208"/>
                <a:gd name="connsiteY2" fmla="*/ 105743 h 105743"/>
                <a:gd name="connsiteX3" fmla="*/ 0 w 70208"/>
                <a:gd name="connsiteY3" fmla="*/ 68138 h 105743"/>
                <a:gd name="connsiteX4" fmla="*/ 30016 w 70208"/>
                <a:gd name="connsiteY4" fmla="*/ 30878 h 105743"/>
                <a:gd name="connsiteX5" fmla="*/ 51406 w 70208"/>
                <a:gd name="connsiteY5" fmla="*/ 40883 h 105743"/>
                <a:gd name="connsiteX6" fmla="*/ 51578 w 70208"/>
                <a:gd name="connsiteY6" fmla="*/ 40883 h 105743"/>
                <a:gd name="connsiteX7" fmla="*/ 51578 w 70208"/>
                <a:gd name="connsiteY7" fmla="*/ 0 h 105743"/>
                <a:gd name="connsiteX8" fmla="*/ 70208 w 70208"/>
                <a:gd name="connsiteY8" fmla="*/ 0 h 105743"/>
                <a:gd name="connsiteX9" fmla="*/ 70208 w 70208"/>
                <a:gd name="connsiteY9" fmla="*/ 104018 h 105743"/>
                <a:gd name="connsiteX10" fmla="*/ 52268 w 70208"/>
                <a:gd name="connsiteY10" fmla="*/ 104018 h 105743"/>
                <a:gd name="connsiteX11" fmla="*/ 52268 w 70208"/>
                <a:gd name="connsiteY11" fmla="*/ 96083 h 105743"/>
                <a:gd name="connsiteX12" fmla="*/ 52268 w 70208"/>
                <a:gd name="connsiteY12" fmla="*/ 96083 h 105743"/>
                <a:gd name="connsiteX13" fmla="*/ 52268 w 70208"/>
                <a:gd name="connsiteY13" fmla="*/ 96083 h 105743"/>
                <a:gd name="connsiteX14" fmla="*/ 35018 w 70208"/>
                <a:gd name="connsiteY14" fmla="*/ 91426 h 105743"/>
                <a:gd name="connsiteX15" fmla="*/ 51406 w 70208"/>
                <a:gd name="connsiteY15" fmla="*/ 68311 h 105743"/>
                <a:gd name="connsiteX16" fmla="*/ 34673 w 70208"/>
                <a:gd name="connsiteY16" fmla="*/ 45713 h 105743"/>
                <a:gd name="connsiteX17" fmla="*/ 19148 w 70208"/>
                <a:gd name="connsiteY17" fmla="*/ 68311 h 105743"/>
                <a:gd name="connsiteX18" fmla="*/ 35018 w 70208"/>
                <a:gd name="connsiteY18" fmla="*/ 91426 h 10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208" h="105743">
                  <a:moveTo>
                    <a:pt x="52268" y="96083"/>
                  </a:moveTo>
                  <a:lnTo>
                    <a:pt x="52096" y="96083"/>
                  </a:lnTo>
                  <a:cubicBezTo>
                    <a:pt x="46576" y="103156"/>
                    <a:pt x="38813" y="105743"/>
                    <a:pt x="30016" y="105743"/>
                  </a:cubicBezTo>
                  <a:cubicBezTo>
                    <a:pt x="7935" y="105743"/>
                    <a:pt x="0" y="87803"/>
                    <a:pt x="0" y="68138"/>
                  </a:cubicBezTo>
                  <a:cubicBezTo>
                    <a:pt x="0" y="48473"/>
                    <a:pt x="8108" y="30878"/>
                    <a:pt x="30016" y="30878"/>
                  </a:cubicBezTo>
                  <a:cubicBezTo>
                    <a:pt x="39158" y="30878"/>
                    <a:pt x="45885" y="34155"/>
                    <a:pt x="51406" y="40883"/>
                  </a:cubicBezTo>
                  <a:lnTo>
                    <a:pt x="51578" y="40883"/>
                  </a:lnTo>
                  <a:lnTo>
                    <a:pt x="51578" y="0"/>
                  </a:lnTo>
                  <a:lnTo>
                    <a:pt x="70208" y="0"/>
                  </a:lnTo>
                  <a:lnTo>
                    <a:pt x="70208" y="104018"/>
                  </a:lnTo>
                  <a:lnTo>
                    <a:pt x="52268" y="104018"/>
                  </a:lnTo>
                  <a:lnTo>
                    <a:pt x="52268" y="96083"/>
                  </a:lnTo>
                  <a:lnTo>
                    <a:pt x="52268" y="96083"/>
                  </a:lnTo>
                  <a:lnTo>
                    <a:pt x="52268" y="96083"/>
                  </a:lnTo>
                  <a:close/>
                  <a:moveTo>
                    <a:pt x="35018" y="91426"/>
                  </a:moveTo>
                  <a:cubicBezTo>
                    <a:pt x="47438" y="91426"/>
                    <a:pt x="51406" y="78316"/>
                    <a:pt x="51406" y="68311"/>
                  </a:cubicBezTo>
                  <a:cubicBezTo>
                    <a:pt x="51406" y="58306"/>
                    <a:pt x="46748" y="45713"/>
                    <a:pt x="34673" y="45713"/>
                  </a:cubicBezTo>
                  <a:cubicBezTo>
                    <a:pt x="22598" y="45713"/>
                    <a:pt x="19148" y="58823"/>
                    <a:pt x="19148" y="68311"/>
                  </a:cubicBezTo>
                  <a:cubicBezTo>
                    <a:pt x="19321" y="78143"/>
                    <a:pt x="22770" y="91426"/>
                    <a:pt x="35018" y="91426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8" name="Gráfico 1344">
              <a:extLst>
                <a:ext uri="{FF2B5EF4-FFF2-40B4-BE49-F238E27FC236}">
                  <a16:creationId xmlns:a16="http://schemas.microsoft.com/office/drawing/2014/main" id="{0912A826-7884-45B5-93D1-09E86ED601DB}"/>
                </a:ext>
              </a:extLst>
            </p:cNvPr>
            <p:cNvSpPr/>
            <p:nvPr/>
          </p:nvSpPr>
          <p:spPr>
            <a:xfrm>
              <a:off x="10045675" y="5772742"/>
              <a:ext cx="74520" cy="74520"/>
            </a:xfrm>
            <a:custGeom>
              <a:avLst/>
              <a:gdLst>
                <a:gd name="connsiteX0" fmla="*/ 37260 w 74520"/>
                <a:gd name="connsiteY0" fmla="*/ 0 h 74520"/>
                <a:gd name="connsiteX1" fmla="*/ 74521 w 74520"/>
                <a:gd name="connsiteY1" fmla="*/ 37778 h 74520"/>
                <a:gd name="connsiteX2" fmla="*/ 37260 w 74520"/>
                <a:gd name="connsiteY2" fmla="*/ 74521 h 74520"/>
                <a:gd name="connsiteX3" fmla="*/ 0 w 74520"/>
                <a:gd name="connsiteY3" fmla="*/ 37778 h 74520"/>
                <a:gd name="connsiteX4" fmla="*/ 37260 w 74520"/>
                <a:gd name="connsiteY4" fmla="*/ 0 h 74520"/>
                <a:gd name="connsiteX5" fmla="*/ 37260 w 74520"/>
                <a:gd name="connsiteY5" fmla="*/ 60203 h 74520"/>
                <a:gd name="connsiteX6" fmla="*/ 55201 w 74520"/>
                <a:gd name="connsiteY6" fmla="*/ 35708 h 74520"/>
                <a:gd name="connsiteX7" fmla="*/ 37260 w 74520"/>
                <a:gd name="connsiteY7" fmla="*/ 14490 h 74520"/>
                <a:gd name="connsiteX8" fmla="*/ 19320 w 74520"/>
                <a:gd name="connsiteY8" fmla="*/ 35708 h 74520"/>
                <a:gd name="connsiteX9" fmla="*/ 37260 w 74520"/>
                <a:gd name="connsiteY9" fmla="*/ 6020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0" y="0"/>
                  </a:moveTo>
                  <a:cubicBezTo>
                    <a:pt x="58306" y="0"/>
                    <a:pt x="74521" y="14318"/>
                    <a:pt x="74521" y="37778"/>
                  </a:cubicBezTo>
                  <a:cubicBezTo>
                    <a:pt x="74521" y="58306"/>
                    <a:pt x="60893" y="74521"/>
                    <a:pt x="37260" y="74521"/>
                  </a:cubicBezTo>
                  <a:cubicBezTo>
                    <a:pt x="13800" y="74521"/>
                    <a:pt x="0" y="58306"/>
                    <a:pt x="0" y="37778"/>
                  </a:cubicBezTo>
                  <a:cubicBezTo>
                    <a:pt x="173" y="14318"/>
                    <a:pt x="16388" y="0"/>
                    <a:pt x="37260" y="0"/>
                  </a:cubicBezTo>
                  <a:moveTo>
                    <a:pt x="37260" y="60203"/>
                  </a:moveTo>
                  <a:cubicBezTo>
                    <a:pt x="51578" y="60203"/>
                    <a:pt x="55201" y="47611"/>
                    <a:pt x="55201" y="35708"/>
                  </a:cubicBezTo>
                  <a:cubicBezTo>
                    <a:pt x="55201" y="24840"/>
                    <a:pt x="49508" y="14490"/>
                    <a:pt x="37260" y="14490"/>
                  </a:cubicBezTo>
                  <a:cubicBezTo>
                    <a:pt x="25358" y="14490"/>
                    <a:pt x="19320" y="25013"/>
                    <a:pt x="19320" y="35708"/>
                  </a:cubicBezTo>
                  <a:cubicBezTo>
                    <a:pt x="19665" y="47438"/>
                    <a:pt x="23288" y="60203"/>
                    <a:pt x="37260" y="602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69" name="Gráfico 1344">
              <a:extLst>
                <a:ext uri="{FF2B5EF4-FFF2-40B4-BE49-F238E27FC236}">
                  <a16:creationId xmlns:a16="http://schemas.microsoft.com/office/drawing/2014/main" id="{1A9A6870-8481-441F-B68A-C5254D02BCA1}"/>
                </a:ext>
              </a:extLst>
            </p:cNvPr>
            <p:cNvSpPr/>
            <p:nvPr/>
          </p:nvSpPr>
          <p:spPr>
            <a:xfrm>
              <a:off x="10134513" y="5772742"/>
              <a:ext cx="41572" cy="72623"/>
            </a:xfrm>
            <a:custGeom>
              <a:avLst/>
              <a:gdLst>
                <a:gd name="connsiteX0" fmla="*/ 345 w 41572"/>
                <a:gd name="connsiteY0" fmla="*/ 1725 h 72623"/>
                <a:gd name="connsiteX1" fmla="*/ 16561 w 41572"/>
                <a:gd name="connsiteY1" fmla="*/ 1725 h 72623"/>
                <a:gd name="connsiteX2" fmla="*/ 16561 w 41572"/>
                <a:gd name="connsiteY2" fmla="*/ 17768 h 72623"/>
                <a:gd name="connsiteX3" fmla="*/ 16733 w 41572"/>
                <a:gd name="connsiteY3" fmla="*/ 17768 h 72623"/>
                <a:gd name="connsiteX4" fmla="*/ 35881 w 41572"/>
                <a:gd name="connsiteY4" fmla="*/ 0 h 72623"/>
                <a:gd name="connsiteX5" fmla="*/ 41573 w 41572"/>
                <a:gd name="connsiteY5" fmla="*/ 690 h 72623"/>
                <a:gd name="connsiteX6" fmla="*/ 41573 w 41572"/>
                <a:gd name="connsiteY6" fmla="*/ 19321 h 72623"/>
                <a:gd name="connsiteX7" fmla="*/ 33293 w 41572"/>
                <a:gd name="connsiteY7" fmla="*/ 17768 h 72623"/>
                <a:gd name="connsiteX8" fmla="*/ 18286 w 41572"/>
                <a:gd name="connsiteY8" fmla="*/ 46576 h 72623"/>
                <a:gd name="connsiteX9" fmla="*/ 18286 w 41572"/>
                <a:gd name="connsiteY9" fmla="*/ 72623 h 72623"/>
                <a:gd name="connsiteX10" fmla="*/ 0 w 41572"/>
                <a:gd name="connsiteY10" fmla="*/ 72623 h 72623"/>
                <a:gd name="connsiteX11" fmla="*/ 0 w 41572"/>
                <a:gd name="connsiteY11" fmla="*/ 1898 h 72623"/>
                <a:gd name="connsiteX12" fmla="*/ 345 w 41572"/>
                <a:gd name="connsiteY12" fmla="*/ 1898 h 72623"/>
                <a:gd name="connsiteX13" fmla="*/ 345 w 41572"/>
                <a:gd name="connsiteY13" fmla="*/ 1725 h 7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72" h="72623">
                  <a:moveTo>
                    <a:pt x="345" y="1725"/>
                  </a:moveTo>
                  <a:lnTo>
                    <a:pt x="16561" y="1725"/>
                  </a:lnTo>
                  <a:lnTo>
                    <a:pt x="16561" y="17768"/>
                  </a:lnTo>
                  <a:lnTo>
                    <a:pt x="16733" y="17768"/>
                  </a:lnTo>
                  <a:cubicBezTo>
                    <a:pt x="17595" y="11213"/>
                    <a:pt x="25186" y="0"/>
                    <a:pt x="35881" y="0"/>
                  </a:cubicBezTo>
                  <a:cubicBezTo>
                    <a:pt x="37606" y="0"/>
                    <a:pt x="39676" y="0"/>
                    <a:pt x="41573" y="690"/>
                  </a:cubicBezTo>
                  <a:lnTo>
                    <a:pt x="41573" y="19321"/>
                  </a:lnTo>
                  <a:cubicBezTo>
                    <a:pt x="39848" y="18458"/>
                    <a:pt x="36743" y="17768"/>
                    <a:pt x="33293" y="17768"/>
                  </a:cubicBezTo>
                  <a:cubicBezTo>
                    <a:pt x="18286" y="17768"/>
                    <a:pt x="18286" y="36398"/>
                    <a:pt x="18286" y="46576"/>
                  </a:cubicBezTo>
                  <a:lnTo>
                    <a:pt x="18286" y="72623"/>
                  </a:lnTo>
                  <a:lnTo>
                    <a:pt x="0" y="72623"/>
                  </a:lnTo>
                  <a:lnTo>
                    <a:pt x="0" y="1898"/>
                  </a:lnTo>
                  <a:lnTo>
                    <a:pt x="345" y="1898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0" name="Gráfico 1344">
              <a:extLst>
                <a:ext uri="{FF2B5EF4-FFF2-40B4-BE49-F238E27FC236}">
                  <a16:creationId xmlns:a16="http://schemas.microsoft.com/office/drawing/2014/main" id="{80F8B558-8BD9-4C02-98B5-F9525418C520}"/>
                </a:ext>
              </a:extLst>
            </p:cNvPr>
            <p:cNvSpPr/>
            <p:nvPr/>
          </p:nvSpPr>
          <p:spPr>
            <a:xfrm>
              <a:off x="8903027" y="5899013"/>
              <a:ext cx="66240" cy="97290"/>
            </a:xfrm>
            <a:custGeom>
              <a:avLst/>
              <a:gdLst>
                <a:gd name="connsiteX0" fmla="*/ 0 w 66240"/>
                <a:gd name="connsiteY0" fmla="*/ 0 h 97290"/>
                <a:gd name="connsiteX1" fmla="*/ 25013 w 66240"/>
                <a:gd name="connsiteY1" fmla="*/ 0 h 97290"/>
                <a:gd name="connsiteX2" fmla="*/ 66240 w 66240"/>
                <a:gd name="connsiteY2" fmla="*/ 29498 h 97290"/>
                <a:gd name="connsiteX3" fmla="*/ 28290 w 66240"/>
                <a:gd name="connsiteY3" fmla="*/ 60375 h 97290"/>
                <a:gd name="connsiteX4" fmla="*/ 20010 w 66240"/>
                <a:gd name="connsiteY4" fmla="*/ 60375 h 97290"/>
                <a:gd name="connsiteX5" fmla="*/ 20010 w 66240"/>
                <a:gd name="connsiteY5" fmla="*/ 97291 h 97290"/>
                <a:gd name="connsiteX6" fmla="*/ 173 w 66240"/>
                <a:gd name="connsiteY6" fmla="*/ 97291 h 97290"/>
                <a:gd name="connsiteX7" fmla="*/ 173 w 66240"/>
                <a:gd name="connsiteY7" fmla="*/ 0 h 97290"/>
                <a:gd name="connsiteX8" fmla="*/ 0 w 66240"/>
                <a:gd name="connsiteY8" fmla="*/ 0 h 97290"/>
                <a:gd name="connsiteX9" fmla="*/ 0 w 66240"/>
                <a:gd name="connsiteY9" fmla="*/ 0 h 97290"/>
                <a:gd name="connsiteX10" fmla="*/ 19838 w 66240"/>
                <a:gd name="connsiteY10" fmla="*/ 44850 h 97290"/>
                <a:gd name="connsiteX11" fmla="*/ 26737 w 66240"/>
                <a:gd name="connsiteY11" fmla="*/ 44850 h 97290"/>
                <a:gd name="connsiteX12" fmla="*/ 45540 w 66240"/>
                <a:gd name="connsiteY12" fmla="*/ 30533 h 97290"/>
                <a:gd name="connsiteX13" fmla="*/ 26737 w 66240"/>
                <a:gd name="connsiteY13" fmla="*/ 15353 h 97290"/>
                <a:gd name="connsiteX14" fmla="*/ 19838 w 66240"/>
                <a:gd name="connsiteY14" fmla="*/ 15353 h 97290"/>
                <a:gd name="connsiteX15" fmla="*/ 19838 w 66240"/>
                <a:gd name="connsiteY15" fmla="*/ 44850 h 97290"/>
                <a:gd name="connsiteX16" fmla="*/ 19838 w 66240"/>
                <a:gd name="connsiteY16" fmla="*/ 44850 h 97290"/>
                <a:gd name="connsiteX17" fmla="*/ 19838 w 66240"/>
                <a:gd name="connsiteY17" fmla="*/ 4485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97290">
                  <a:moveTo>
                    <a:pt x="0" y="0"/>
                  </a:moveTo>
                  <a:lnTo>
                    <a:pt x="25013" y="0"/>
                  </a:lnTo>
                  <a:cubicBezTo>
                    <a:pt x="46576" y="0"/>
                    <a:pt x="66240" y="6038"/>
                    <a:pt x="66240" y="29498"/>
                  </a:cubicBezTo>
                  <a:cubicBezTo>
                    <a:pt x="66240" y="52268"/>
                    <a:pt x="49508" y="60375"/>
                    <a:pt x="28290" y="60375"/>
                  </a:cubicBezTo>
                  <a:lnTo>
                    <a:pt x="20010" y="60375"/>
                  </a:lnTo>
                  <a:lnTo>
                    <a:pt x="20010" y="97291"/>
                  </a:lnTo>
                  <a:lnTo>
                    <a:pt x="173" y="97291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19838" y="44850"/>
                  </a:moveTo>
                  <a:lnTo>
                    <a:pt x="26737" y="44850"/>
                  </a:lnTo>
                  <a:cubicBezTo>
                    <a:pt x="36570" y="44850"/>
                    <a:pt x="45540" y="41573"/>
                    <a:pt x="45540" y="30533"/>
                  </a:cubicBezTo>
                  <a:cubicBezTo>
                    <a:pt x="45540" y="19493"/>
                    <a:pt x="36743" y="15353"/>
                    <a:pt x="26737" y="15353"/>
                  </a:cubicBezTo>
                  <a:lnTo>
                    <a:pt x="19838" y="15353"/>
                  </a:lnTo>
                  <a:lnTo>
                    <a:pt x="19838" y="44850"/>
                  </a:lnTo>
                  <a:lnTo>
                    <a:pt x="19838" y="44850"/>
                  </a:lnTo>
                  <a:lnTo>
                    <a:pt x="19838" y="4485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1" name="Gráfico 1344">
              <a:extLst>
                <a:ext uri="{FF2B5EF4-FFF2-40B4-BE49-F238E27FC236}">
                  <a16:creationId xmlns:a16="http://schemas.microsoft.com/office/drawing/2014/main" id="{D049F1B7-F3B0-4FE3-A2CB-1665B7996F9F}"/>
                </a:ext>
              </a:extLst>
            </p:cNvPr>
            <p:cNvSpPr/>
            <p:nvPr/>
          </p:nvSpPr>
          <p:spPr>
            <a:xfrm>
              <a:off x="8975478" y="5923853"/>
              <a:ext cx="74520" cy="74520"/>
            </a:xfrm>
            <a:custGeom>
              <a:avLst/>
              <a:gdLst>
                <a:gd name="connsiteX0" fmla="*/ 37088 w 74520"/>
                <a:gd name="connsiteY0" fmla="*/ 0 h 74520"/>
                <a:gd name="connsiteX1" fmla="*/ 74520 w 74520"/>
                <a:gd name="connsiteY1" fmla="*/ 37605 h 74520"/>
                <a:gd name="connsiteX2" fmla="*/ 37088 w 74520"/>
                <a:gd name="connsiteY2" fmla="*/ 74521 h 74520"/>
                <a:gd name="connsiteX3" fmla="*/ 0 w 74520"/>
                <a:gd name="connsiteY3" fmla="*/ 37605 h 74520"/>
                <a:gd name="connsiteX4" fmla="*/ 37088 w 74520"/>
                <a:gd name="connsiteY4" fmla="*/ 0 h 74520"/>
                <a:gd name="connsiteX5" fmla="*/ 37088 w 74520"/>
                <a:gd name="connsiteY5" fmla="*/ 60203 h 74520"/>
                <a:gd name="connsiteX6" fmla="*/ 55027 w 74520"/>
                <a:gd name="connsiteY6" fmla="*/ 35535 h 74520"/>
                <a:gd name="connsiteX7" fmla="*/ 37088 w 74520"/>
                <a:gd name="connsiteY7" fmla="*/ 14317 h 74520"/>
                <a:gd name="connsiteX8" fmla="*/ 19147 w 74520"/>
                <a:gd name="connsiteY8" fmla="*/ 35535 h 74520"/>
                <a:gd name="connsiteX9" fmla="*/ 37088 w 74520"/>
                <a:gd name="connsiteY9" fmla="*/ 6020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088" y="0"/>
                  </a:moveTo>
                  <a:cubicBezTo>
                    <a:pt x="58305" y="0"/>
                    <a:pt x="74520" y="14317"/>
                    <a:pt x="74520" y="37605"/>
                  </a:cubicBezTo>
                  <a:cubicBezTo>
                    <a:pt x="74520" y="57961"/>
                    <a:pt x="60893" y="74521"/>
                    <a:pt x="37088" y="74521"/>
                  </a:cubicBezTo>
                  <a:cubicBezTo>
                    <a:pt x="13627" y="74521"/>
                    <a:pt x="0" y="58133"/>
                    <a:pt x="0" y="37605"/>
                  </a:cubicBezTo>
                  <a:cubicBezTo>
                    <a:pt x="0" y="14317"/>
                    <a:pt x="16215" y="0"/>
                    <a:pt x="37088" y="0"/>
                  </a:cubicBezTo>
                  <a:moveTo>
                    <a:pt x="37088" y="60203"/>
                  </a:moveTo>
                  <a:cubicBezTo>
                    <a:pt x="51405" y="60203"/>
                    <a:pt x="55027" y="47438"/>
                    <a:pt x="55027" y="35535"/>
                  </a:cubicBezTo>
                  <a:cubicBezTo>
                    <a:pt x="55027" y="24668"/>
                    <a:pt x="49335" y="14317"/>
                    <a:pt x="37088" y="14317"/>
                  </a:cubicBezTo>
                  <a:cubicBezTo>
                    <a:pt x="25185" y="14317"/>
                    <a:pt x="19147" y="25013"/>
                    <a:pt x="19147" y="35535"/>
                  </a:cubicBezTo>
                  <a:cubicBezTo>
                    <a:pt x="19492" y="47265"/>
                    <a:pt x="23115" y="60203"/>
                    <a:pt x="37088" y="602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2" name="Gráfico 1344">
              <a:extLst>
                <a:ext uri="{FF2B5EF4-FFF2-40B4-BE49-F238E27FC236}">
                  <a16:creationId xmlns:a16="http://schemas.microsoft.com/office/drawing/2014/main" id="{953903B8-9EEB-45A5-96D1-F1D2F6C9E99F}"/>
                </a:ext>
              </a:extLst>
            </p:cNvPr>
            <p:cNvSpPr/>
            <p:nvPr/>
          </p:nvSpPr>
          <p:spPr>
            <a:xfrm>
              <a:off x="9066213" y="5923853"/>
              <a:ext cx="41572" cy="72278"/>
            </a:xfrm>
            <a:custGeom>
              <a:avLst/>
              <a:gdLst>
                <a:gd name="connsiteX0" fmla="*/ 345 w 41572"/>
                <a:gd name="connsiteY0" fmla="*/ 1725 h 72278"/>
                <a:gd name="connsiteX1" fmla="*/ 16561 w 41572"/>
                <a:gd name="connsiteY1" fmla="*/ 1725 h 72278"/>
                <a:gd name="connsiteX2" fmla="*/ 16561 w 41572"/>
                <a:gd name="connsiteY2" fmla="*/ 17768 h 72278"/>
                <a:gd name="connsiteX3" fmla="*/ 16733 w 41572"/>
                <a:gd name="connsiteY3" fmla="*/ 17768 h 72278"/>
                <a:gd name="connsiteX4" fmla="*/ 35881 w 41572"/>
                <a:gd name="connsiteY4" fmla="*/ 0 h 72278"/>
                <a:gd name="connsiteX5" fmla="*/ 41573 w 41572"/>
                <a:gd name="connsiteY5" fmla="*/ 345 h 72278"/>
                <a:gd name="connsiteX6" fmla="*/ 41573 w 41572"/>
                <a:gd name="connsiteY6" fmla="*/ 18975 h 72278"/>
                <a:gd name="connsiteX7" fmla="*/ 33293 w 41572"/>
                <a:gd name="connsiteY7" fmla="*/ 17423 h 72278"/>
                <a:gd name="connsiteX8" fmla="*/ 18458 w 41572"/>
                <a:gd name="connsiteY8" fmla="*/ 46230 h 72278"/>
                <a:gd name="connsiteX9" fmla="*/ 18458 w 41572"/>
                <a:gd name="connsiteY9" fmla="*/ 72278 h 72278"/>
                <a:gd name="connsiteX10" fmla="*/ 0 w 41572"/>
                <a:gd name="connsiteY10" fmla="*/ 72278 h 72278"/>
                <a:gd name="connsiteX11" fmla="*/ 0 w 41572"/>
                <a:gd name="connsiteY11" fmla="*/ 1725 h 72278"/>
                <a:gd name="connsiteX12" fmla="*/ 345 w 41572"/>
                <a:gd name="connsiteY12" fmla="*/ 1725 h 72278"/>
                <a:gd name="connsiteX13" fmla="*/ 345 w 41572"/>
                <a:gd name="connsiteY13" fmla="*/ 1725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72" h="72278">
                  <a:moveTo>
                    <a:pt x="345" y="1725"/>
                  </a:moveTo>
                  <a:lnTo>
                    <a:pt x="16561" y="1725"/>
                  </a:lnTo>
                  <a:lnTo>
                    <a:pt x="16561" y="17768"/>
                  </a:lnTo>
                  <a:lnTo>
                    <a:pt x="16733" y="17768"/>
                  </a:lnTo>
                  <a:cubicBezTo>
                    <a:pt x="17595" y="11212"/>
                    <a:pt x="25186" y="0"/>
                    <a:pt x="35881" y="0"/>
                  </a:cubicBezTo>
                  <a:cubicBezTo>
                    <a:pt x="37605" y="0"/>
                    <a:pt x="39676" y="0"/>
                    <a:pt x="41573" y="345"/>
                  </a:cubicBezTo>
                  <a:lnTo>
                    <a:pt x="41573" y="18975"/>
                  </a:lnTo>
                  <a:cubicBezTo>
                    <a:pt x="39848" y="17940"/>
                    <a:pt x="36743" y="17423"/>
                    <a:pt x="33293" y="17423"/>
                  </a:cubicBezTo>
                  <a:cubicBezTo>
                    <a:pt x="18458" y="17423"/>
                    <a:pt x="18458" y="36053"/>
                    <a:pt x="18458" y="46230"/>
                  </a:cubicBezTo>
                  <a:lnTo>
                    <a:pt x="18458" y="72278"/>
                  </a:lnTo>
                  <a:lnTo>
                    <a:pt x="0" y="72278"/>
                  </a:lnTo>
                  <a:lnTo>
                    <a:pt x="0" y="1725"/>
                  </a:lnTo>
                  <a:lnTo>
                    <a:pt x="345" y="1725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3" name="Gráfico 1344">
              <a:extLst>
                <a:ext uri="{FF2B5EF4-FFF2-40B4-BE49-F238E27FC236}">
                  <a16:creationId xmlns:a16="http://schemas.microsoft.com/office/drawing/2014/main" id="{2E50C35B-6526-4504-AF7A-CFC20B439523}"/>
                </a:ext>
              </a:extLst>
            </p:cNvPr>
            <p:cNvSpPr/>
            <p:nvPr/>
          </p:nvSpPr>
          <p:spPr>
            <a:xfrm>
              <a:off x="9112098" y="5905050"/>
              <a:ext cx="49680" cy="93150"/>
            </a:xfrm>
            <a:custGeom>
              <a:avLst/>
              <a:gdLst>
                <a:gd name="connsiteX0" fmla="*/ 13455 w 49680"/>
                <a:gd name="connsiteY0" fmla="*/ 33983 h 93150"/>
                <a:gd name="connsiteX1" fmla="*/ 0 w 49680"/>
                <a:gd name="connsiteY1" fmla="*/ 33983 h 93150"/>
                <a:gd name="connsiteX2" fmla="*/ 0 w 49680"/>
                <a:gd name="connsiteY2" fmla="*/ 20355 h 93150"/>
                <a:gd name="connsiteX3" fmla="*/ 13455 w 49680"/>
                <a:gd name="connsiteY3" fmla="*/ 20355 h 93150"/>
                <a:gd name="connsiteX4" fmla="*/ 13455 w 49680"/>
                <a:gd name="connsiteY4" fmla="*/ 6038 h 93150"/>
                <a:gd name="connsiteX5" fmla="*/ 31913 w 49680"/>
                <a:gd name="connsiteY5" fmla="*/ 0 h 93150"/>
                <a:gd name="connsiteX6" fmla="*/ 31913 w 49680"/>
                <a:gd name="connsiteY6" fmla="*/ 20182 h 93150"/>
                <a:gd name="connsiteX7" fmla="*/ 48128 w 49680"/>
                <a:gd name="connsiteY7" fmla="*/ 20182 h 93150"/>
                <a:gd name="connsiteX8" fmla="*/ 48128 w 49680"/>
                <a:gd name="connsiteY8" fmla="*/ 33810 h 93150"/>
                <a:gd name="connsiteX9" fmla="*/ 31913 w 49680"/>
                <a:gd name="connsiteY9" fmla="*/ 33810 h 93150"/>
                <a:gd name="connsiteX10" fmla="*/ 31913 w 49680"/>
                <a:gd name="connsiteY10" fmla="*/ 66931 h 93150"/>
                <a:gd name="connsiteX11" fmla="*/ 40538 w 49680"/>
                <a:gd name="connsiteY11" fmla="*/ 78661 h 93150"/>
                <a:gd name="connsiteX12" fmla="*/ 48990 w 49680"/>
                <a:gd name="connsiteY12" fmla="*/ 76763 h 93150"/>
                <a:gd name="connsiteX13" fmla="*/ 49680 w 49680"/>
                <a:gd name="connsiteY13" fmla="*/ 91425 h 93150"/>
                <a:gd name="connsiteX14" fmla="*/ 36225 w 49680"/>
                <a:gd name="connsiteY14" fmla="*/ 93151 h 93150"/>
                <a:gd name="connsiteX15" fmla="*/ 13800 w 49680"/>
                <a:gd name="connsiteY15" fmla="*/ 70208 h 93150"/>
                <a:gd name="connsiteX16" fmla="*/ 13800 w 49680"/>
                <a:gd name="connsiteY16" fmla="*/ 33810 h 93150"/>
                <a:gd name="connsiteX17" fmla="*/ 13455 w 49680"/>
                <a:gd name="connsiteY17" fmla="*/ 33810 h 93150"/>
                <a:gd name="connsiteX18" fmla="*/ 13455 w 49680"/>
                <a:gd name="connsiteY18" fmla="*/ 33983 h 9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680" h="93150">
                  <a:moveTo>
                    <a:pt x="13455" y="33983"/>
                  </a:moveTo>
                  <a:lnTo>
                    <a:pt x="0" y="33983"/>
                  </a:lnTo>
                  <a:lnTo>
                    <a:pt x="0" y="20355"/>
                  </a:lnTo>
                  <a:lnTo>
                    <a:pt x="13455" y="20355"/>
                  </a:lnTo>
                  <a:lnTo>
                    <a:pt x="13455" y="6038"/>
                  </a:lnTo>
                  <a:lnTo>
                    <a:pt x="31913" y="0"/>
                  </a:lnTo>
                  <a:lnTo>
                    <a:pt x="31913" y="20182"/>
                  </a:lnTo>
                  <a:lnTo>
                    <a:pt x="48128" y="20182"/>
                  </a:lnTo>
                  <a:lnTo>
                    <a:pt x="48128" y="33810"/>
                  </a:lnTo>
                  <a:lnTo>
                    <a:pt x="31913" y="33810"/>
                  </a:lnTo>
                  <a:lnTo>
                    <a:pt x="31913" y="66931"/>
                  </a:lnTo>
                  <a:cubicBezTo>
                    <a:pt x="31913" y="72968"/>
                    <a:pt x="33638" y="78661"/>
                    <a:pt x="40538" y="78661"/>
                  </a:cubicBezTo>
                  <a:cubicBezTo>
                    <a:pt x="43988" y="78661"/>
                    <a:pt x="46920" y="77970"/>
                    <a:pt x="48990" y="76763"/>
                  </a:cubicBezTo>
                  <a:lnTo>
                    <a:pt x="49680" y="91425"/>
                  </a:lnTo>
                  <a:cubicBezTo>
                    <a:pt x="45885" y="92460"/>
                    <a:pt x="41573" y="93151"/>
                    <a:pt x="36225" y="93151"/>
                  </a:cubicBezTo>
                  <a:cubicBezTo>
                    <a:pt x="21907" y="93151"/>
                    <a:pt x="13800" y="84181"/>
                    <a:pt x="13800" y="70208"/>
                  </a:cubicBezTo>
                  <a:lnTo>
                    <a:pt x="13800" y="33810"/>
                  </a:lnTo>
                  <a:lnTo>
                    <a:pt x="13455" y="33810"/>
                  </a:lnTo>
                  <a:lnTo>
                    <a:pt x="13455" y="3398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4" name="Gráfico 1344">
              <a:extLst>
                <a:ext uri="{FF2B5EF4-FFF2-40B4-BE49-F238E27FC236}">
                  <a16:creationId xmlns:a16="http://schemas.microsoft.com/office/drawing/2014/main" id="{DAD3F61D-3214-4687-9E42-A57771207B35}"/>
                </a:ext>
              </a:extLst>
            </p:cNvPr>
            <p:cNvSpPr/>
            <p:nvPr/>
          </p:nvSpPr>
          <p:spPr>
            <a:xfrm>
              <a:off x="9171956" y="5923853"/>
              <a:ext cx="66413" cy="74520"/>
            </a:xfrm>
            <a:custGeom>
              <a:avLst/>
              <a:gdLst>
                <a:gd name="connsiteX0" fmla="*/ 66413 w 66413"/>
                <a:gd name="connsiteY0" fmla="*/ 72796 h 74520"/>
                <a:gd name="connsiteX1" fmla="*/ 48645 w 66413"/>
                <a:gd name="connsiteY1" fmla="*/ 72796 h 74520"/>
                <a:gd name="connsiteX2" fmla="*/ 48645 w 66413"/>
                <a:gd name="connsiteY2" fmla="*/ 62963 h 74520"/>
                <a:gd name="connsiteX3" fmla="*/ 48473 w 66413"/>
                <a:gd name="connsiteY3" fmla="*/ 62963 h 74520"/>
                <a:gd name="connsiteX4" fmla="*/ 24668 w 66413"/>
                <a:gd name="connsiteY4" fmla="*/ 74521 h 74520"/>
                <a:gd name="connsiteX5" fmla="*/ 0 w 66413"/>
                <a:gd name="connsiteY5" fmla="*/ 46058 h 74520"/>
                <a:gd name="connsiteX6" fmla="*/ 0 w 66413"/>
                <a:gd name="connsiteY6" fmla="*/ 0 h 74520"/>
                <a:gd name="connsiteX7" fmla="*/ 18803 w 66413"/>
                <a:gd name="connsiteY7" fmla="*/ 0 h 74520"/>
                <a:gd name="connsiteX8" fmla="*/ 18803 w 66413"/>
                <a:gd name="connsiteY8" fmla="*/ 38985 h 74520"/>
                <a:gd name="connsiteX9" fmla="*/ 31050 w 66413"/>
                <a:gd name="connsiteY9" fmla="*/ 59858 h 74520"/>
                <a:gd name="connsiteX10" fmla="*/ 47438 w 66413"/>
                <a:gd name="connsiteY10" fmla="*/ 35708 h 74520"/>
                <a:gd name="connsiteX11" fmla="*/ 47438 w 66413"/>
                <a:gd name="connsiteY11" fmla="*/ 0 h 74520"/>
                <a:gd name="connsiteX12" fmla="*/ 66240 w 66413"/>
                <a:gd name="connsiteY12" fmla="*/ 0 h 74520"/>
                <a:gd name="connsiteX13" fmla="*/ 66240 w 66413"/>
                <a:gd name="connsiteY13" fmla="*/ 72796 h 74520"/>
                <a:gd name="connsiteX14" fmla="*/ 66413 w 66413"/>
                <a:gd name="connsiteY14" fmla="*/ 72796 h 74520"/>
                <a:gd name="connsiteX15" fmla="*/ 66413 w 66413"/>
                <a:gd name="connsiteY15" fmla="*/ 72796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3" h="74520">
                  <a:moveTo>
                    <a:pt x="66413" y="72796"/>
                  </a:moveTo>
                  <a:lnTo>
                    <a:pt x="48645" y="72796"/>
                  </a:lnTo>
                  <a:lnTo>
                    <a:pt x="48645" y="62963"/>
                  </a:lnTo>
                  <a:lnTo>
                    <a:pt x="48473" y="62963"/>
                  </a:lnTo>
                  <a:cubicBezTo>
                    <a:pt x="42608" y="69863"/>
                    <a:pt x="34673" y="74521"/>
                    <a:pt x="24668" y="74521"/>
                  </a:cubicBezTo>
                  <a:cubicBezTo>
                    <a:pt x="7590" y="74521"/>
                    <a:pt x="0" y="62273"/>
                    <a:pt x="0" y="46058"/>
                  </a:cubicBezTo>
                  <a:lnTo>
                    <a:pt x="0" y="0"/>
                  </a:lnTo>
                  <a:lnTo>
                    <a:pt x="18803" y="0"/>
                  </a:lnTo>
                  <a:lnTo>
                    <a:pt x="18803" y="38985"/>
                  </a:lnTo>
                  <a:cubicBezTo>
                    <a:pt x="18803" y="47955"/>
                    <a:pt x="18975" y="59858"/>
                    <a:pt x="31050" y="59858"/>
                  </a:cubicBezTo>
                  <a:cubicBezTo>
                    <a:pt x="44678" y="59858"/>
                    <a:pt x="47438" y="44850"/>
                    <a:pt x="47438" y="35708"/>
                  </a:cubicBezTo>
                  <a:lnTo>
                    <a:pt x="47438" y="0"/>
                  </a:lnTo>
                  <a:lnTo>
                    <a:pt x="66240" y="0"/>
                  </a:lnTo>
                  <a:lnTo>
                    <a:pt x="66240" y="72796"/>
                  </a:lnTo>
                  <a:lnTo>
                    <a:pt x="66413" y="72796"/>
                  </a:lnTo>
                  <a:lnTo>
                    <a:pt x="66413" y="7279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5" name="Gráfico 1344">
              <a:extLst>
                <a:ext uri="{FF2B5EF4-FFF2-40B4-BE49-F238E27FC236}">
                  <a16:creationId xmlns:a16="http://schemas.microsoft.com/office/drawing/2014/main" id="{25D566E9-F45C-4968-B012-9998509A231F}"/>
                </a:ext>
              </a:extLst>
            </p:cNvPr>
            <p:cNvSpPr/>
            <p:nvPr/>
          </p:nvSpPr>
          <p:spPr>
            <a:xfrm>
              <a:off x="9252859" y="5894873"/>
              <a:ext cx="64170" cy="103500"/>
            </a:xfrm>
            <a:custGeom>
              <a:avLst/>
              <a:gdLst>
                <a:gd name="connsiteX0" fmla="*/ 7935 w 64170"/>
                <a:gd name="connsiteY0" fmla="*/ 33810 h 103500"/>
                <a:gd name="connsiteX1" fmla="*/ 32603 w 64170"/>
                <a:gd name="connsiteY1" fmla="*/ 28463 h 103500"/>
                <a:gd name="connsiteX2" fmla="*/ 63136 w 64170"/>
                <a:gd name="connsiteY2" fmla="*/ 58650 h 103500"/>
                <a:gd name="connsiteX3" fmla="*/ 63136 w 64170"/>
                <a:gd name="connsiteY3" fmla="*/ 67793 h 103500"/>
                <a:gd name="connsiteX4" fmla="*/ 63308 w 64170"/>
                <a:gd name="connsiteY4" fmla="*/ 85733 h 103500"/>
                <a:gd name="connsiteX5" fmla="*/ 64170 w 64170"/>
                <a:gd name="connsiteY5" fmla="*/ 101776 h 103500"/>
                <a:gd name="connsiteX6" fmla="*/ 47783 w 64170"/>
                <a:gd name="connsiteY6" fmla="*/ 101776 h 103500"/>
                <a:gd name="connsiteX7" fmla="*/ 46920 w 64170"/>
                <a:gd name="connsiteY7" fmla="*/ 91081 h 103500"/>
                <a:gd name="connsiteX8" fmla="*/ 46748 w 64170"/>
                <a:gd name="connsiteY8" fmla="*/ 91081 h 103500"/>
                <a:gd name="connsiteX9" fmla="*/ 24840 w 64170"/>
                <a:gd name="connsiteY9" fmla="*/ 103501 h 103500"/>
                <a:gd name="connsiteX10" fmla="*/ 0 w 64170"/>
                <a:gd name="connsiteY10" fmla="*/ 82283 h 103500"/>
                <a:gd name="connsiteX11" fmla="*/ 12075 w 64170"/>
                <a:gd name="connsiteY11" fmla="*/ 61755 h 103500"/>
                <a:gd name="connsiteX12" fmla="*/ 35880 w 64170"/>
                <a:gd name="connsiteY12" fmla="*/ 57443 h 103500"/>
                <a:gd name="connsiteX13" fmla="*/ 46058 w 64170"/>
                <a:gd name="connsiteY13" fmla="*/ 57443 h 103500"/>
                <a:gd name="connsiteX14" fmla="*/ 30188 w 64170"/>
                <a:gd name="connsiteY14" fmla="*/ 42090 h 103500"/>
                <a:gd name="connsiteX15" fmla="*/ 8280 w 64170"/>
                <a:gd name="connsiteY15" fmla="*/ 49853 h 103500"/>
                <a:gd name="connsiteX16" fmla="*/ 7935 w 64170"/>
                <a:gd name="connsiteY16" fmla="*/ 33810 h 103500"/>
                <a:gd name="connsiteX17" fmla="*/ 7935 w 64170"/>
                <a:gd name="connsiteY17" fmla="*/ 33810 h 103500"/>
                <a:gd name="connsiteX18" fmla="*/ 7935 w 64170"/>
                <a:gd name="connsiteY18" fmla="*/ 33810 h 103500"/>
                <a:gd name="connsiteX19" fmla="*/ 29498 w 64170"/>
                <a:gd name="connsiteY19" fmla="*/ 89356 h 103500"/>
                <a:gd name="connsiteX20" fmla="*/ 42435 w 64170"/>
                <a:gd name="connsiteY20" fmla="*/ 83146 h 103500"/>
                <a:gd name="connsiteX21" fmla="*/ 46230 w 64170"/>
                <a:gd name="connsiteY21" fmla="*/ 68310 h 103500"/>
                <a:gd name="connsiteX22" fmla="*/ 38123 w 64170"/>
                <a:gd name="connsiteY22" fmla="*/ 68310 h 103500"/>
                <a:gd name="connsiteX23" fmla="*/ 17595 w 64170"/>
                <a:gd name="connsiteY23" fmla="*/ 80730 h 103500"/>
                <a:gd name="connsiteX24" fmla="*/ 29498 w 64170"/>
                <a:gd name="connsiteY24" fmla="*/ 89356 h 103500"/>
                <a:gd name="connsiteX25" fmla="*/ 34673 w 64170"/>
                <a:gd name="connsiteY25" fmla="*/ 0 h 103500"/>
                <a:gd name="connsiteX26" fmla="*/ 53648 w 64170"/>
                <a:gd name="connsiteY26" fmla="*/ 0 h 103500"/>
                <a:gd name="connsiteX27" fmla="*/ 34673 w 64170"/>
                <a:gd name="connsiteY27" fmla="*/ 20355 h 103500"/>
                <a:gd name="connsiteX28" fmla="*/ 23115 w 64170"/>
                <a:gd name="connsiteY28" fmla="*/ 20355 h 103500"/>
                <a:gd name="connsiteX29" fmla="*/ 34673 w 64170"/>
                <a:gd name="connsiteY29" fmla="*/ 0 h 103500"/>
                <a:gd name="connsiteX30" fmla="*/ 34673 w 64170"/>
                <a:gd name="connsiteY30" fmla="*/ 0 h 103500"/>
                <a:gd name="connsiteX31" fmla="*/ 34673 w 64170"/>
                <a:gd name="connsiteY31" fmla="*/ 0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4170" h="103500">
                  <a:moveTo>
                    <a:pt x="7935" y="33810"/>
                  </a:moveTo>
                  <a:cubicBezTo>
                    <a:pt x="15180" y="30533"/>
                    <a:pt x="24668" y="28463"/>
                    <a:pt x="32603" y="28463"/>
                  </a:cubicBezTo>
                  <a:cubicBezTo>
                    <a:pt x="54338" y="28463"/>
                    <a:pt x="63136" y="37432"/>
                    <a:pt x="63136" y="58650"/>
                  </a:cubicBezTo>
                  <a:lnTo>
                    <a:pt x="63136" y="67793"/>
                  </a:lnTo>
                  <a:cubicBezTo>
                    <a:pt x="63136" y="74865"/>
                    <a:pt x="63308" y="80386"/>
                    <a:pt x="63308" y="85733"/>
                  </a:cubicBezTo>
                  <a:cubicBezTo>
                    <a:pt x="63480" y="91081"/>
                    <a:pt x="63653" y="95911"/>
                    <a:pt x="64170" y="101776"/>
                  </a:cubicBezTo>
                  <a:lnTo>
                    <a:pt x="47783" y="101776"/>
                  </a:lnTo>
                  <a:cubicBezTo>
                    <a:pt x="47093" y="97981"/>
                    <a:pt x="47093" y="93495"/>
                    <a:pt x="46920" y="91081"/>
                  </a:cubicBezTo>
                  <a:lnTo>
                    <a:pt x="46748" y="91081"/>
                  </a:lnTo>
                  <a:cubicBezTo>
                    <a:pt x="42435" y="99016"/>
                    <a:pt x="33120" y="103501"/>
                    <a:pt x="24840" y="103501"/>
                  </a:cubicBezTo>
                  <a:cubicBezTo>
                    <a:pt x="12247" y="103501"/>
                    <a:pt x="0" y="95738"/>
                    <a:pt x="0" y="82283"/>
                  </a:cubicBezTo>
                  <a:cubicBezTo>
                    <a:pt x="0" y="71588"/>
                    <a:pt x="5175" y="65378"/>
                    <a:pt x="12075" y="61755"/>
                  </a:cubicBezTo>
                  <a:cubicBezTo>
                    <a:pt x="19147" y="58306"/>
                    <a:pt x="28290" y="57443"/>
                    <a:pt x="35880" y="57443"/>
                  </a:cubicBezTo>
                  <a:lnTo>
                    <a:pt x="46058" y="57443"/>
                  </a:lnTo>
                  <a:cubicBezTo>
                    <a:pt x="46058" y="45885"/>
                    <a:pt x="40883" y="42090"/>
                    <a:pt x="30188" y="42090"/>
                  </a:cubicBezTo>
                  <a:cubicBezTo>
                    <a:pt x="22253" y="42090"/>
                    <a:pt x="14490" y="45023"/>
                    <a:pt x="8280" y="49853"/>
                  </a:cubicBezTo>
                  <a:lnTo>
                    <a:pt x="7935" y="33810"/>
                  </a:lnTo>
                  <a:lnTo>
                    <a:pt x="7935" y="33810"/>
                  </a:lnTo>
                  <a:lnTo>
                    <a:pt x="7935" y="33810"/>
                  </a:lnTo>
                  <a:close/>
                  <a:moveTo>
                    <a:pt x="29498" y="89356"/>
                  </a:moveTo>
                  <a:cubicBezTo>
                    <a:pt x="35190" y="89356"/>
                    <a:pt x="39503" y="86768"/>
                    <a:pt x="42435" y="83146"/>
                  </a:cubicBezTo>
                  <a:cubicBezTo>
                    <a:pt x="45368" y="79005"/>
                    <a:pt x="46230" y="74003"/>
                    <a:pt x="46230" y="68310"/>
                  </a:cubicBezTo>
                  <a:lnTo>
                    <a:pt x="38123" y="68310"/>
                  </a:lnTo>
                  <a:cubicBezTo>
                    <a:pt x="29843" y="68310"/>
                    <a:pt x="17595" y="69863"/>
                    <a:pt x="17595" y="80730"/>
                  </a:cubicBezTo>
                  <a:cubicBezTo>
                    <a:pt x="17595" y="86768"/>
                    <a:pt x="22770" y="89356"/>
                    <a:pt x="29498" y="89356"/>
                  </a:cubicBezTo>
                  <a:moveTo>
                    <a:pt x="34673" y="0"/>
                  </a:moveTo>
                  <a:lnTo>
                    <a:pt x="53648" y="0"/>
                  </a:lnTo>
                  <a:lnTo>
                    <a:pt x="34673" y="20355"/>
                  </a:lnTo>
                  <a:lnTo>
                    <a:pt x="23115" y="20355"/>
                  </a:lnTo>
                  <a:lnTo>
                    <a:pt x="34673" y="0"/>
                  </a:lnTo>
                  <a:lnTo>
                    <a:pt x="34673" y="0"/>
                  </a:lnTo>
                  <a:lnTo>
                    <a:pt x="34673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6" name="Gráfico 1344">
              <a:extLst>
                <a:ext uri="{FF2B5EF4-FFF2-40B4-BE49-F238E27FC236}">
                  <a16:creationId xmlns:a16="http://schemas.microsoft.com/office/drawing/2014/main" id="{5DDED7F9-EA61-4A13-82B4-9E58FC4795B7}"/>
                </a:ext>
              </a:extLst>
            </p:cNvPr>
            <p:cNvSpPr/>
            <p:nvPr/>
          </p:nvSpPr>
          <p:spPr>
            <a:xfrm>
              <a:off x="9335660" y="5923853"/>
              <a:ext cx="41400" cy="72278"/>
            </a:xfrm>
            <a:custGeom>
              <a:avLst/>
              <a:gdLst>
                <a:gd name="connsiteX0" fmla="*/ 0 w 41400"/>
                <a:gd name="connsiteY0" fmla="*/ 1725 h 72278"/>
                <a:gd name="connsiteX1" fmla="*/ 16215 w 41400"/>
                <a:gd name="connsiteY1" fmla="*/ 1725 h 72278"/>
                <a:gd name="connsiteX2" fmla="*/ 16215 w 41400"/>
                <a:gd name="connsiteY2" fmla="*/ 17768 h 72278"/>
                <a:gd name="connsiteX3" fmla="*/ 16388 w 41400"/>
                <a:gd name="connsiteY3" fmla="*/ 17768 h 72278"/>
                <a:gd name="connsiteX4" fmla="*/ 35708 w 41400"/>
                <a:gd name="connsiteY4" fmla="*/ 0 h 72278"/>
                <a:gd name="connsiteX5" fmla="*/ 41401 w 41400"/>
                <a:gd name="connsiteY5" fmla="*/ 345 h 72278"/>
                <a:gd name="connsiteX6" fmla="*/ 41401 w 41400"/>
                <a:gd name="connsiteY6" fmla="*/ 18975 h 72278"/>
                <a:gd name="connsiteX7" fmla="*/ 33120 w 41400"/>
                <a:gd name="connsiteY7" fmla="*/ 17423 h 72278"/>
                <a:gd name="connsiteX8" fmla="*/ 18285 w 41400"/>
                <a:gd name="connsiteY8" fmla="*/ 46230 h 72278"/>
                <a:gd name="connsiteX9" fmla="*/ 18285 w 41400"/>
                <a:gd name="connsiteY9" fmla="*/ 72278 h 72278"/>
                <a:gd name="connsiteX10" fmla="*/ 0 w 41400"/>
                <a:gd name="connsiteY10" fmla="*/ 72278 h 72278"/>
                <a:gd name="connsiteX11" fmla="*/ 0 w 41400"/>
                <a:gd name="connsiteY11" fmla="*/ 1725 h 72278"/>
                <a:gd name="connsiteX12" fmla="*/ 0 w 41400"/>
                <a:gd name="connsiteY12" fmla="*/ 1725 h 72278"/>
                <a:gd name="connsiteX13" fmla="*/ 0 w 41400"/>
                <a:gd name="connsiteY13" fmla="*/ 1725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400" h="72278">
                  <a:moveTo>
                    <a:pt x="0" y="1725"/>
                  </a:moveTo>
                  <a:lnTo>
                    <a:pt x="16215" y="1725"/>
                  </a:lnTo>
                  <a:lnTo>
                    <a:pt x="16215" y="17768"/>
                  </a:lnTo>
                  <a:lnTo>
                    <a:pt x="16388" y="17768"/>
                  </a:lnTo>
                  <a:cubicBezTo>
                    <a:pt x="17250" y="11212"/>
                    <a:pt x="24840" y="0"/>
                    <a:pt x="35708" y="0"/>
                  </a:cubicBezTo>
                  <a:cubicBezTo>
                    <a:pt x="37433" y="0"/>
                    <a:pt x="39503" y="0"/>
                    <a:pt x="41401" y="345"/>
                  </a:cubicBezTo>
                  <a:lnTo>
                    <a:pt x="41401" y="18975"/>
                  </a:lnTo>
                  <a:cubicBezTo>
                    <a:pt x="39676" y="17940"/>
                    <a:pt x="36571" y="17423"/>
                    <a:pt x="33120" y="17423"/>
                  </a:cubicBezTo>
                  <a:cubicBezTo>
                    <a:pt x="18285" y="17423"/>
                    <a:pt x="18285" y="36053"/>
                    <a:pt x="18285" y="46230"/>
                  </a:cubicBezTo>
                  <a:lnTo>
                    <a:pt x="18285" y="72278"/>
                  </a:lnTo>
                  <a:lnTo>
                    <a:pt x="0" y="72278"/>
                  </a:lnTo>
                  <a:lnTo>
                    <a:pt x="0" y="1725"/>
                  </a:lnTo>
                  <a:lnTo>
                    <a:pt x="0" y="1725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7" name="Gráfico 1344">
              <a:extLst>
                <a:ext uri="{FF2B5EF4-FFF2-40B4-BE49-F238E27FC236}">
                  <a16:creationId xmlns:a16="http://schemas.microsoft.com/office/drawing/2014/main" id="{79E32AA9-4521-4C94-B404-BCC785975C84}"/>
                </a:ext>
              </a:extLst>
            </p:cNvPr>
            <p:cNvSpPr/>
            <p:nvPr/>
          </p:nvSpPr>
          <p:spPr>
            <a:xfrm>
              <a:off x="9389481" y="5894873"/>
              <a:ext cx="18629" cy="101430"/>
            </a:xfrm>
            <a:custGeom>
              <a:avLst/>
              <a:gdLst>
                <a:gd name="connsiteX0" fmla="*/ 0 w 18629"/>
                <a:gd name="connsiteY0" fmla="*/ 0 h 101430"/>
                <a:gd name="connsiteX1" fmla="*/ 18630 w 18629"/>
                <a:gd name="connsiteY1" fmla="*/ 0 h 101430"/>
                <a:gd name="connsiteX2" fmla="*/ 18630 w 18629"/>
                <a:gd name="connsiteY2" fmla="*/ 17595 h 101430"/>
                <a:gd name="connsiteX3" fmla="*/ 0 w 18629"/>
                <a:gd name="connsiteY3" fmla="*/ 17595 h 101430"/>
                <a:gd name="connsiteX4" fmla="*/ 0 w 18629"/>
                <a:gd name="connsiteY4" fmla="*/ 0 h 101430"/>
                <a:gd name="connsiteX5" fmla="*/ 0 w 18629"/>
                <a:gd name="connsiteY5" fmla="*/ 0 h 101430"/>
                <a:gd name="connsiteX6" fmla="*/ 0 w 18629"/>
                <a:gd name="connsiteY6" fmla="*/ 0 h 101430"/>
                <a:gd name="connsiteX7" fmla="*/ 0 w 18629"/>
                <a:gd name="connsiteY7" fmla="*/ 30533 h 101430"/>
                <a:gd name="connsiteX8" fmla="*/ 18630 w 18629"/>
                <a:gd name="connsiteY8" fmla="*/ 30533 h 101430"/>
                <a:gd name="connsiteX9" fmla="*/ 18630 w 18629"/>
                <a:gd name="connsiteY9" fmla="*/ 101431 h 101430"/>
                <a:gd name="connsiteX10" fmla="*/ 0 w 18629"/>
                <a:gd name="connsiteY10" fmla="*/ 101431 h 101430"/>
                <a:gd name="connsiteX11" fmla="*/ 0 w 18629"/>
                <a:gd name="connsiteY11" fmla="*/ 30533 h 101430"/>
                <a:gd name="connsiteX12" fmla="*/ 0 w 18629"/>
                <a:gd name="connsiteY12" fmla="*/ 30533 h 101430"/>
                <a:gd name="connsiteX13" fmla="*/ 0 w 18629"/>
                <a:gd name="connsiteY13" fmla="*/ 30533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29" h="101430">
                  <a:moveTo>
                    <a:pt x="0" y="0"/>
                  </a:moveTo>
                  <a:lnTo>
                    <a:pt x="18630" y="0"/>
                  </a:lnTo>
                  <a:lnTo>
                    <a:pt x="18630" y="17595"/>
                  </a:lnTo>
                  <a:lnTo>
                    <a:pt x="0" y="1759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0533"/>
                  </a:moveTo>
                  <a:lnTo>
                    <a:pt x="18630" y="30533"/>
                  </a:lnTo>
                  <a:lnTo>
                    <a:pt x="18630" y="101431"/>
                  </a:lnTo>
                  <a:lnTo>
                    <a:pt x="0" y="101431"/>
                  </a:lnTo>
                  <a:lnTo>
                    <a:pt x="0" y="30533"/>
                  </a:lnTo>
                  <a:lnTo>
                    <a:pt x="0" y="30533"/>
                  </a:lnTo>
                  <a:lnTo>
                    <a:pt x="0" y="305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8" name="Gráfico 1344">
              <a:extLst>
                <a:ext uri="{FF2B5EF4-FFF2-40B4-BE49-F238E27FC236}">
                  <a16:creationId xmlns:a16="http://schemas.microsoft.com/office/drawing/2014/main" id="{E205C0AF-B038-45F5-BBA2-1E6F63912DFC}"/>
                </a:ext>
              </a:extLst>
            </p:cNvPr>
            <p:cNvSpPr/>
            <p:nvPr/>
          </p:nvSpPr>
          <p:spPr>
            <a:xfrm>
              <a:off x="9422601" y="5923853"/>
              <a:ext cx="74520" cy="74520"/>
            </a:xfrm>
            <a:custGeom>
              <a:avLst/>
              <a:gdLst>
                <a:gd name="connsiteX0" fmla="*/ 37260 w 74520"/>
                <a:gd name="connsiteY0" fmla="*/ 0 h 74520"/>
                <a:gd name="connsiteX1" fmla="*/ 74521 w 74520"/>
                <a:gd name="connsiteY1" fmla="*/ 37605 h 74520"/>
                <a:gd name="connsiteX2" fmla="*/ 37260 w 74520"/>
                <a:gd name="connsiteY2" fmla="*/ 74521 h 74520"/>
                <a:gd name="connsiteX3" fmla="*/ 0 w 74520"/>
                <a:gd name="connsiteY3" fmla="*/ 37605 h 74520"/>
                <a:gd name="connsiteX4" fmla="*/ 37260 w 74520"/>
                <a:gd name="connsiteY4" fmla="*/ 0 h 74520"/>
                <a:gd name="connsiteX5" fmla="*/ 37260 w 74520"/>
                <a:gd name="connsiteY5" fmla="*/ 60203 h 74520"/>
                <a:gd name="connsiteX6" fmla="*/ 55201 w 74520"/>
                <a:gd name="connsiteY6" fmla="*/ 35535 h 74520"/>
                <a:gd name="connsiteX7" fmla="*/ 37260 w 74520"/>
                <a:gd name="connsiteY7" fmla="*/ 14317 h 74520"/>
                <a:gd name="connsiteX8" fmla="*/ 19320 w 74520"/>
                <a:gd name="connsiteY8" fmla="*/ 35535 h 74520"/>
                <a:gd name="connsiteX9" fmla="*/ 37260 w 74520"/>
                <a:gd name="connsiteY9" fmla="*/ 6020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0" y="0"/>
                  </a:moveTo>
                  <a:cubicBezTo>
                    <a:pt x="58306" y="0"/>
                    <a:pt x="74521" y="14317"/>
                    <a:pt x="74521" y="37605"/>
                  </a:cubicBezTo>
                  <a:cubicBezTo>
                    <a:pt x="74521" y="57961"/>
                    <a:pt x="60893" y="74521"/>
                    <a:pt x="37260" y="74521"/>
                  </a:cubicBezTo>
                  <a:cubicBezTo>
                    <a:pt x="13800" y="74521"/>
                    <a:pt x="0" y="58133"/>
                    <a:pt x="0" y="37605"/>
                  </a:cubicBezTo>
                  <a:cubicBezTo>
                    <a:pt x="173" y="14317"/>
                    <a:pt x="16388" y="0"/>
                    <a:pt x="37260" y="0"/>
                  </a:cubicBezTo>
                  <a:moveTo>
                    <a:pt x="37260" y="60203"/>
                  </a:moveTo>
                  <a:cubicBezTo>
                    <a:pt x="51578" y="60203"/>
                    <a:pt x="55201" y="47438"/>
                    <a:pt x="55201" y="35535"/>
                  </a:cubicBezTo>
                  <a:cubicBezTo>
                    <a:pt x="55201" y="24668"/>
                    <a:pt x="49508" y="14317"/>
                    <a:pt x="37260" y="14317"/>
                  </a:cubicBezTo>
                  <a:cubicBezTo>
                    <a:pt x="25358" y="14317"/>
                    <a:pt x="19320" y="25013"/>
                    <a:pt x="19320" y="35535"/>
                  </a:cubicBezTo>
                  <a:cubicBezTo>
                    <a:pt x="19665" y="47265"/>
                    <a:pt x="23288" y="60203"/>
                    <a:pt x="37260" y="602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79" name="Gráfico 1344">
              <a:extLst>
                <a:ext uri="{FF2B5EF4-FFF2-40B4-BE49-F238E27FC236}">
                  <a16:creationId xmlns:a16="http://schemas.microsoft.com/office/drawing/2014/main" id="{BCF90D6A-74B2-4238-90A4-D5080A5DC06C}"/>
                </a:ext>
              </a:extLst>
            </p:cNvPr>
            <p:cNvSpPr/>
            <p:nvPr/>
          </p:nvSpPr>
          <p:spPr>
            <a:xfrm>
              <a:off x="8905097" y="6045984"/>
              <a:ext cx="55890" cy="97290"/>
            </a:xfrm>
            <a:custGeom>
              <a:avLst/>
              <a:gdLst>
                <a:gd name="connsiteX0" fmla="*/ 0 w 55890"/>
                <a:gd name="connsiteY0" fmla="*/ 0 h 97290"/>
                <a:gd name="connsiteX1" fmla="*/ 18975 w 55890"/>
                <a:gd name="connsiteY1" fmla="*/ 0 h 97290"/>
                <a:gd name="connsiteX2" fmla="*/ 18975 w 55890"/>
                <a:gd name="connsiteY2" fmla="*/ 81938 h 97290"/>
                <a:gd name="connsiteX3" fmla="*/ 55890 w 55890"/>
                <a:gd name="connsiteY3" fmla="*/ 81938 h 97290"/>
                <a:gd name="connsiteX4" fmla="*/ 55890 w 55890"/>
                <a:gd name="connsiteY4" fmla="*/ 97291 h 97290"/>
                <a:gd name="connsiteX5" fmla="*/ 0 w 55890"/>
                <a:gd name="connsiteY5" fmla="*/ 97291 h 97290"/>
                <a:gd name="connsiteX6" fmla="*/ 0 w 55890"/>
                <a:gd name="connsiteY6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890" h="97290">
                  <a:moveTo>
                    <a:pt x="0" y="0"/>
                  </a:moveTo>
                  <a:lnTo>
                    <a:pt x="18975" y="0"/>
                  </a:lnTo>
                  <a:lnTo>
                    <a:pt x="18975" y="81938"/>
                  </a:lnTo>
                  <a:lnTo>
                    <a:pt x="55890" y="81938"/>
                  </a:lnTo>
                  <a:lnTo>
                    <a:pt x="55890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0" name="Gráfico 1344">
              <a:extLst>
                <a:ext uri="{FF2B5EF4-FFF2-40B4-BE49-F238E27FC236}">
                  <a16:creationId xmlns:a16="http://schemas.microsoft.com/office/drawing/2014/main" id="{C1E950CE-D124-42F8-A58A-772CDAEB5722}"/>
                </a:ext>
              </a:extLst>
            </p:cNvPr>
            <p:cNvSpPr/>
            <p:nvPr/>
          </p:nvSpPr>
          <p:spPr>
            <a:xfrm>
              <a:off x="8971165" y="6070824"/>
              <a:ext cx="66412" cy="72450"/>
            </a:xfrm>
            <a:custGeom>
              <a:avLst/>
              <a:gdLst>
                <a:gd name="connsiteX0" fmla="*/ 66413 w 66412"/>
                <a:gd name="connsiteY0" fmla="*/ 70726 h 72450"/>
                <a:gd name="connsiteX1" fmla="*/ 48645 w 66412"/>
                <a:gd name="connsiteY1" fmla="*/ 70726 h 72450"/>
                <a:gd name="connsiteX2" fmla="*/ 48645 w 66412"/>
                <a:gd name="connsiteY2" fmla="*/ 61238 h 72450"/>
                <a:gd name="connsiteX3" fmla="*/ 48473 w 66412"/>
                <a:gd name="connsiteY3" fmla="*/ 61238 h 72450"/>
                <a:gd name="connsiteX4" fmla="*/ 24668 w 66412"/>
                <a:gd name="connsiteY4" fmla="*/ 72451 h 72450"/>
                <a:gd name="connsiteX5" fmla="*/ 0 w 66412"/>
                <a:gd name="connsiteY5" fmla="*/ 44678 h 72450"/>
                <a:gd name="connsiteX6" fmla="*/ 0 w 66412"/>
                <a:gd name="connsiteY6" fmla="*/ 0 h 72450"/>
                <a:gd name="connsiteX7" fmla="*/ 18803 w 66412"/>
                <a:gd name="connsiteY7" fmla="*/ 0 h 72450"/>
                <a:gd name="connsiteX8" fmla="*/ 18803 w 66412"/>
                <a:gd name="connsiteY8" fmla="*/ 37778 h 72450"/>
                <a:gd name="connsiteX9" fmla="*/ 30877 w 66412"/>
                <a:gd name="connsiteY9" fmla="*/ 58133 h 72450"/>
                <a:gd name="connsiteX10" fmla="*/ 47438 w 66412"/>
                <a:gd name="connsiteY10" fmla="*/ 34673 h 72450"/>
                <a:gd name="connsiteX11" fmla="*/ 47438 w 66412"/>
                <a:gd name="connsiteY11" fmla="*/ 173 h 72450"/>
                <a:gd name="connsiteX12" fmla="*/ 66240 w 66412"/>
                <a:gd name="connsiteY12" fmla="*/ 173 h 72450"/>
                <a:gd name="connsiteX13" fmla="*/ 66240 w 66412"/>
                <a:gd name="connsiteY13" fmla="*/ 70726 h 72450"/>
                <a:gd name="connsiteX14" fmla="*/ 66413 w 66412"/>
                <a:gd name="connsiteY14" fmla="*/ 70726 h 72450"/>
                <a:gd name="connsiteX15" fmla="*/ 66413 w 66412"/>
                <a:gd name="connsiteY15" fmla="*/ 70726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2" h="72450">
                  <a:moveTo>
                    <a:pt x="66413" y="70726"/>
                  </a:moveTo>
                  <a:lnTo>
                    <a:pt x="48645" y="70726"/>
                  </a:lnTo>
                  <a:lnTo>
                    <a:pt x="48645" y="61238"/>
                  </a:lnTo>
                  <a:lnTo>
                    <a:pt x="48473" y="61238"/>
                  </a:lnTo>
                  <a:cubicBezTo>
                    <a:pt x="42608" y="67966"/>
                    <a:pt x="34672" y="72451"/>
                    <a:pt x="24668" y="72451"/>
                  </a:cubicBezTo>
                  <a:cubicBezTo>
                    <a:pt x="7590" y="72451"/>
                    <a:pt x="0" y="60548"/>
                    <a:pt x="0" y="44678"/>
                  </a:cubicBezTo>
                  <a:lnTo>
                    <a:pt x="0" y="0"/>
                  </a:lnTo>
                  <a:lnTo>
                    <a:pt x="18803" y="0"/>
                  </a:lnTo>
                  <a:lnTo>
                    <a:pt x="18803" y="37778"/>
                  </a:lnTo>
                  <a:cubicBezTo>
                    <a:pt x="18803" y="46403"/>
                    <a:pt x="18975" y="58133"/>
                    <a:pt x="30877" y="58133"/>
                  </a:cubicBezTo>
                  <a:cubicBezTo>
                    <a:pt x="44505" y="58133"/>
                    <a:pt x="47438" y="43471"/>
                    <a:pt x="47438" y="34673"/>
                  </a:cubicBezTo>
                  <a:lnTo>
                    <a:pt x="47438" y="173"/>
                  </a:lnTo>
                  <a:lnTo>
                    <a:pt x="66240" y="173"/>
                  </a:lnTo>
                  <a:lnTo>
                    <a:pt x="66240" y="70726"/>
                  </a:lnTo>
                  <a:lnTo>
                    <a:pt x="66413" y="70726"/>
                  </a:lnTo>
                  <a:lnTo>
                    <a:pt x="66413" y="7072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1" name="Gráfico 1344">
              <a:extLst>
                <a:ext uri="{FF2B5EF4-FFF2-40B4-BE49-F238E27FC236}">
                  <a16:creationId xmlns:a16="http://schemas.microsoft.com/office/drawing/2014/main" id="{23D731AF-08B3-4EF1-8E1D-A81312411DB5}"/>
                </a:ext>
              </a:extLst>
            </p:cNvPr>
            <p:cNvSpPr/>
            <p:nvPr/>
          </p:nvSpPr>
          <p:spPr>
            <a:xfrm>
              <a:off x="9056208" y="6039774"/>
              <a:ext cx="18629" cy="103500"/>
            </a:xfrm>
            <a:custGeom>
              <a:avLst/>
              <a:gdLst>
                <a:gd name="connsiteX0" fmla="*/ 0 w 18629"/>
                <a:gd name="connsiteY0" fmla="*/ 0 h 103500"/>
                <a:gd name="connsiteX1" fmla="*/ 18630 w 18629"/>
                <a:gd name="connsiteY1" fmla="*/ 0 h 103500"/>
                <a:gd name="connsiteX2" fmla="*/ 18630 w 18629"/>
                <a:gd name="connsiteY2" fmla="*/ 17940 h 103500"/>
                <a:gd name="connsiteX3" fmla="*/ 0 w 18629"/>
                <a:gd name="connsiteY3" fmla="*/ 17940 h 103500"/>
                <a:gd name="connsiteX4" fmla="*/ 0 w 18629"/>
                <a:gd name="connsiteY4" fmla="*/ 0 h 103500"/>
                <a:gd name="connsiteX5" fmla="*/ 0 w 18629"/>
                <a:gd name="connsiteY5" fmla="*/ 0 h 103500"/>
                <a:gd name="connsiteX6" fmla="*/ 0 w 18629"/>
                <a:gd name="connsiteY6" fmla="*/ 0 h 103500"/>
                <a:gd name="connsiteX7" fmla="*/ 0 w 18629"/>
                <a:gd name="connsiteY7" fmla="*/ 31223 h 103500"/>
                <a:gd name="connsiteX8" fmla="*/ 18630 w 18629"/>
                <a:gd name="connsiteY8" fmla="*/ 31223 h 103500"/>
                <a:gd name="connsiteX9" fmla="*/ 18630 w 18629"/>
                <a:gd name="connsiteY9" fmla="*/ 103501 h 103500"/>
                <a:gd name="connsiteX10" fmla="*/ 0 w 18629"/>
                <a:gd name="connsiteY10" fmla="*/ 103501 h 103500"/>
                <a:gd name="connsiteX11" fmla="*/ 0 w 18629"/>
                <a:gd name="connsiteY11" fmla="*/ 31223 h 103500"/>
                <a:gd name="connsiteX12" fmla="*/ 0 w 18629"/>
                <a:gd name="connsiteY12" fmla="*/ 31223 h 103500"/>
                <a:gd name="connsiteX13" fmla="*/ 0 w 18629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29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2" name="Gráfico 1344">
              <a:extLst>
                <a:ext uri="{FF2B5EF4-FFF2-40B4-BE49-F238E27FC236}">
                  <a16:creationId xmlns:a16="http://schemas.microsoft.com/office/drawing/2014/main" id="{77C52906-83F4-4FD5-A3CA-891F1FD79AB6}"/>
                </a:ext>
              </a:extLst>
            </p:cNvPr>
            <p:cNvSpPr/>
            <p:nvPr/>
          </p:nvSpPr>
          <p:spPr>
            <a:xfrm>
              <a:off x="9091398" y="6070824"/>
              <a:ext cx="57960" cy="72450"/>
            </a:xfrm>
            <a:custGeom>
              <a:avLst/>
              <a:gdLst>
                <a:gd name="connsiteX0" fmla="*/ 1380 w 57960"/>
                <a:gd name="connsiteY0" fmla="*/ 0 h 72450"/>
                <a:gd name="connsiteX1" fmla="*/ 56753 w 57960"/>
                <a:gd name="connsiteY1" fmla="*/ 0 h 72450"/>
                <a:gd name="connsiteX2" fmla="*/ 56753 w 57960"/>
                <a:gd name="connsiteY2" fmla="*/ 15698 h 72450"/>
                <a:gd name="connsiteX3" fmla="*/ 21907 w 57960"/>
                <a:gd name="connsiteY3" fmla="*/ 57961 h 72450"/>
                <a:gd name="connsiteX4" fmla="*/ 57960 w 57960"/>
                <a:gd name="connsiteY4" fmla="*/ 57961 h 72450"/>
                <a:gd name="connsiteX5" fmla="*/ 57960 w 57960"/>
                <a:gd name="connsiteY5" fmla="*/ 72451 h 72450"/>
                <a:gd name="connsiteX6" fmla="*/ 0 w 57960"/>
                <a:gd name="connsiteY6" fmla="*/ 72451 h 72450"/>
                <a:gd name="connsiteX7" fmla="*/ 0 w 57960"/>
                <a:gd name="connsiteY7" fmla="*/ 57271 h 72450"/>
                <a:gd name="connsiteX8" fmla="*/ 35363 w 57960"/>
                <a:gd name="connsiteY8" fmla="*/ 14835 h 72450"/>
                <a:gd name="connsiteX9" fmla="*/ 1380 w 57960"/>
                <a:gd name="connsiteY9" fmla="*/ 14835 h 72450"/>
                <a:gd name="connsiteX10" fmla="*/ 1380 w 57960"/>
                <a:gd name="connsiteY10" fmla="*/ 0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60" h="72450">
                  <a:moveTo>
                    <a:pt x="1380" y="0"/>
                  </a:moveTo>
                  <a:lnTo>
                    <a:pt x="56753" y="0"/>
                  </a:lnTo>
                  <a:lnTo>
                    <a:pt x="56753" y="15698"/>
                  </a:lnTo>
                  <a:lnTo>
                    <a:pt x="21907" y="57961"/>
                  </a:lnTo>
                  <a:lnTo>
                    <a:pt x="57960" y="57961"/>
                  </a:lnTo>
                  <a:lnTo>
                    <a:pt x="57960" y="72451"/>
                  </a:lnTo>
                  <a:lnTo>
                    <a:pt x="0" y="72451"/>
                  </a:lnTo>
                  <a:lnTo>
                    <a:pt x="0" y="57271"/>
                  </a:lnTo>
                  <a:lnTo>
                    <a:pt x="35363" y="14835"/>
                  </a:lnTo>
                  <a:lnTo>
                    <a:pt x="1380" y="14835"/>
                  </a:lnTo>
                  <a:lnTo>
                    <a:pt x="138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3" name="Gráfico 1344">
              <a:extLst>
                <a:ext uri="{FF2B5EF4-FFF2-40B4-BE49-F238E27FC236}">
                  <a16:creationId xmlns:a16="http://schemas.microsoft.com/office/drawing/2014/main" id="{3751C0D7-5B7B-481F-AFFB-5BF117BA6A8D}"/>
                </a:ext>
              </a:extLst>
            </p:cNvPr>
            <p:cNvSpPr/>
            <p:nvPr/>
          </p:nvSpPr>
          <p:spPr>
            <a:xfrm>
              <a:off x="9194899" y="6045984"/>
              <a:ext cx="97290" cy="97290"/>
            </a:xfrm>
            <a:custGeom>
              <a:avLst/>
              <a:gdLst>
                <a:gd name="connsiteX0" fmla="*/ 37605 w 97290"/>
                <a:gd name="connsiteY0" fmla="*/ 0 h 97290"/>
                <a:gd name="connsiteX1" fmla="*/ 59340 w 97290"/>
                <a:gd name="connsiteY1" fmla="*/ 0 h 97290"/>
                <a:gd name="connsiteX2" fmla="*/ 97290 w 97290"/>
                <a:gd name="connsiteY2" fmla="*/ 97291 h 97290"/>
                <a:gd name="connsiteX3" fmla="*/ 76073 w 97290"/>
                <a:gd name="connsiteY3" fmla="*/ 97291 h 97290"/>
                <a:gd name="connsiteX4" fmla="*/ 67793 w 97290"/>
                <a:gd name="connsiteY4" fmla="*/ 75038 h 97290"/>
                <a:gd name="connsiteX5" fmla="*/ 28635 w 97290"/>
                <a:gd name="connsiteY5" fmla="*/ 75038 h 97290"/>
                <a:gd name="connsiteX6" fmla="*/ 20010 w 97290"/>
                <a:gd name="connsiteY6" fmla="*/ 97291 h 97290"/>
                <a:gd name="connsiteX7" fmla="*/ 0 w 97290"/>
                <a:gd name="connsiteY7" fmla="*/ 97291 h 97290"/>
                <a:gd name="connsiteX8" fmla="*/ 37605 w 97290"/>
                <a:gd name="connsiteY8" fmla="*/ 0 h 97290"/>
                <a:gd name="connsiteX9" fmla="*/ 37605 w 97290"/>
                <a:gd name="connsiteY9" fmla="*/ 0 h 97290"/>
                <a:gd name="connsiteX10" fmla="*/ 37605 w 97290"/>
                <a:gd name="connsiteY10" fmla="*/ 0 h 97290"/>
                <a:gd name="connsiteX11" fmla="*/ 48300 w 97290"/>
                <a:gd name="connsiteY11" fmla="*/ 19493 h 97290"/>
                <a:gd name="connsiteX12" fmla="*/ 47955 w 97290"/>
                <a:gd name="connsiteY12" fmla="*/ 19493 h 97290"/>
                <a:gd name="connsiteX13" fmla="*/ 34155 w 97290"/>
                <a:gd name="connsiteY13" fmla="*/ 59686 h 97290"/>
                <a:gd name="connsiteX14" fmla="*/ 62273 w 97290"/>
                <a:gd name="connsiteY14" fmla="*/ 59686 h 97290"/>
                <a:gd name="connsiteX15" fmla="*/ 48300 w 97290"/>
                <a:gd name="connsiteY15" fmla="*/ 19493 h 97290"/>
                <a:gd name="connsiteX16" fmla="*/ 48300 w 97290"/>
                <a:gd name="connsiteY16" fmla="*/ 19493 h 97290"/>
                <a:gd name="connsiteX17" fmla="*/ 48300 w 97290"/>
                <a:gd name="connsiteY17" fmla="*/ 19493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7290" h="97290">
                  <a:moveTo>
                    <a:pt x="37605" y="0"/>
                  </a:moveTo>
                  <a:lnTo>
                    <a:pt x="59340" y="0"/>
                  </a:lnTo>
                  <a:lnTo>
                    <a:pt x="97290" y="97291"/>
                  </a:lnTo>
                  <a:lnTo>
                    <a:pt x="76073" y="97291"/>
                  </a:lnTo>
                  <a:lnTo>
                    <a:pt x="67793" y="75038"/>
                  </a:lnTo>
                  <a:lnTo>
                    <a:pt x="28635" y="75038"/>
                  </a:lnTo>
                  <a:lnTo>
                    <a:pt x="20010" y="97291"/>
                  </a:lnTo>
                  <a:lnTo>
                    <a:pt x="0" y="97291"/>
                  </a:lnTo>
                  <a:lnTo>
                    <a:pt x="37605" y="0"/>
                  </a:lnTo>
                  <a:lnTo>
                    <a:pt x="37605" y="0"/>
                  </a:lnTo>
                  <a:lnTo>
                    <a:pt x="37605" y="0"/>
                  </a:lnTo>
                  <a:close/>
                  <a:moveTo>
                    <a:pt x="48300" y="19493"/>
                  </a:moveTo>
                  <a:lnTo>
                    <a:pt x="47955" y="19493"/>
                  </a:lnTo>
                  <a:lnTo>
                    <a:pt x="34155" y="59686"/>
                  </a:lnTo>
                  <a:lnTo>
                    <a:pt x="62273" y="59686"/>
                  </a:lnTo>
                  <a:lnTo>
                    <a:pt x="48300" y="19493"/>
                  </a:lnTo>
                  <a:lnTo>
                    <a:pt x="48300" y="19493"/>
                  </a:lnTo>
                  <a:lnTo>
                    <a:pt x="48300" y="1949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4" name="Gráfico 1344">
              <a:extLst>
                <a:ext uri="{FF2B5EF4-FFF2-40B4-BE49-F238E27FC236}">
                  <a16:creationId xmlns:a16="http://schemas.microsoft.com/office/drawing/2014/main" id="{CEB5D882-7300-4DEF-9D86-C6BFBE6E8998}"/>
                </a:ext>
              </a:extLst>
            </p:cNvPr>
            <p:cNvSpPr/>
            <p:nvPr/>
          </p:nvSpPr>
          <p:spPr>
            <a:xfrm>
              <a:off x="9302540" y="6068754"/>
              <a:ext cx="66413" cy="74520"/>
            </a:xfrm>
            <a:custGeom>
              <a:avLst/>
              <a:gdLst>
                <a:gd name="connsiteX0" fmla="*/ 0 w 66413"/>
                <a:gd name="connsiteY0" fmla="*/ 1725 h 74520"/>
                <a:gd name="connsiteX1" fmla="*/ 17768 w 66413"/>
                <a:gd name="connsiteY1" fmla="*/ 1725 h 74520"/>
                <a:gd name="connsiteX2" fmla="*/ 17768 w 66413"/>
                <a:gd name="connsiteY2" fmla="*/ 11558 h 74520"/>
                <a:gd name="connsiteX3" fmla="*/ 17940 w 66413"/>
                <a:gd name="connsiteY3" fmla="*/ 11558 h 74520"/>
                <a:gd name="connsiteX4" fmla="*/ 41745 w 66413"/>
                <a:gd name="connsiteY4" fmla="*/ 0 h 74520"/>
                <a:gd name="connsiteX5" fmla="*/ 66413 w 66413"/>
                <a:gd name="connsiteY5" fmla="*/ 28463 h 74520"/>
                <a:gd name="connsiteX6" fmla="*/ 66413 w 66413"/>
                <a:gd name="connsiteY6" fmla="*/ 74521 h 74520"/>
                <a:gd name="connsiteX7" fmla="*/ 47611 w 66413"/>
                <a:gd name="connsiteY7" fmla="*/ 74521 h 74520"/>
                <a:gd name="connsiteX8" fmla="*/ 47611 w 66413"/>
                <a:gd name="connsiteY8" fmla="*/ 35708 h 74520"/>
                <a:gd name="connsiteX9" fmla="*/ 35363 w 66413"/>
                <a:gd name="connsiteY9" fmla="*/ 14490 h 74520"/>
                <a:gd name="connsiteX10" fmla="*/ 18975 w 66413"/>
                <a:gd name="connsiteY10" fmla="*/ 38641 h 74520"/>
                <a:gd name="connsiteX11" fmla="*/ 18975 w 66413"/>
                <a:gd name="connsiteY11" fmla="*/ 74521 h 74520"/>
                <a:gd name="connsiteX12" fmla="*/ 173 w 66413"/>
                <a:gd name="connsiteY12" fmla="*/ 74521 h 74520"/>
                <a:gd name="connsiteX13" fmla="*/ 173 w 66413"/>
                <a:gd name="connsiteY13" fmla="*/ 1725 h 74520"/>
                <a:gd name="connsiteX14" fmla="*/ 0 w 66413"/>
                <a:gd name="connsiteY14" fmla="*/ 1725 h 74520"/>
                <a:gd name="connsiteX15" fmla="*/ 0 w 66413"/>
                <a:gd name="connsiteY15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3" h="74520">
                  <a:moveTo>
                    <a:pt x="0" y="1725"/>
                  </a:moveTo>
                  <a:lnTo>
                    <a:pt x="17768" y="1725"/>
                  </a:lnTo>
                  <a:lnTo>
                    <a:pt x="17768" y="11558"/>
                  </a:lnTo>
                  <a:lnTo>
                    <a:pt x="17940" y="11558"/>
                  </a:lnTo>
                  <a:cubicBezTo>
                    <a:pt x="23805" y="3278"/>
                    <a:pt x="31740" y="0"/>
                    <a:pt x="41745" y="0"/>
                  </a:cubicBezTo>
                  <a:cubicBezTo>
                    <a:pt x="58823" y="0"/>
                    <a:pt x="66413" y="12248"/>
                    <a:pt x="66413" y="28463"/>
                  </a:cubicBezTo>
                  <a:lnTo>
                    <a:pt x="66413" y="74521"/>
                  </a:lnTo>
                  <a:lnTo>
                    <a:pt x="47611" y="74521"/>
                  </a:lnTo>
                  <a:lnTo>
                    <a:pt x="47611" y="35708"/>
                  </a:lnTo>
                  <a:cubicBezTo>
                    <a:pt x="47611" y="26738"/>
                    <a:pt x="47438" y="14490"/>
                    <a:pt x="35363" y="14490"/>
                  </a:cubicBezTo>
                  <a:cubicBezTo>
                    <a:pt x="21735" y="14490"/>
                    <a:pt x="18975" y="29325"/>
                    <a:pt x="18975" y="38641"/>
                  </a:cubicBezTo>
                  <a:lnTo>
                    <a:pt x="18975" y="74521"/>
                  </a:lnTo>
                  <a:lnTo>
                    <a:pt x="173" y="74521"/>
                  </a:lnTo>
                  <a:lnTo>
                    <a:pt x="173" y="1725"/>
                  </a:lnTo>
                  <a:lnTo>
                    <a:pt x="0" y="1725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5" name="Gráfico 1344">
              <a:extLst>
                <a:ext uri="{FF2B5EF4-FFF2-40B4-BE49-F238E27FC236}">
                  <a16:creationId xmlns:a16="http://schemas.microsoft.com/office/drawing/2014/main" id="{40397D5B-2BD8-4097-86B3-24E3B712F385}"/>
                </a:ext>
              </a:extLst>
            </p:cNvPr>
            <p:cNvSpPr/>
            <p:nvPr/>
          </p:nvSpPr>
          <p:spPr>
            <a:xfrm>
              <a:off x="9379130" y="6050124"/>
              <a:ext cx="49507" cy="95393"/>
            </a:xfrm>
            <a:custGeom>
              <a:avLst/>
              <a:gdLst>
                <a:gd name="connsiteX0" fmla="*/ 13627 w 49507"/>
                <a:gd name="connsiteY0" fmla="*/ 34500 h 95393"/>
                <a:gd name="connsiteX1" fmla="*/ 0 w 49507"/>
                <a:gd name="connsiteY1" fmla="*/ 34500 h 95393"/>
                <a:gd name="connsiteX2" fmla="*/ 0 w 49507"/>
                <a:gd name="connsiteY2" fmla="*/ 20528 h 95393"/>
                <a:gd name="connsiteX3" fmla="*/ 13627 w 49507"/>
                <a:gd name="connsiteY3" fmla="*/ 20528 h 95393"/>
                <a:gd name="connsiteX4" fmla="*/ 13627 w 49507"/>
                <a:gd name="connsiteY4" fmla="*/ 6038 h 95393"/>
                <a:gd name="connsiteX5" fmla="*/ 32085 w 49507"/>
                <a:gd name="connsiteY5" fmla="*/ 0 h 95393"/>
                <a:gd name="connsiteX6" fmla="*/ 32085 w 49507"/>
                <a:gd name="connsiteY6" fmla="*/ 20700 h 95393"/>
                <a:gd name="connsiteX7" fmla="*/ 48473 w 49507"/>
                <a:gd name="connsiteY7" fmla="*/ 20700 h 95393"/>
                <a:gd name="connsiteX8" fmla="*/ 48473 w 49507"/>
                <a:gd name="connsiteY8" fmla="*/ 34672 h 95393"/>
                <a:gd name="connsiteX9" fmla="*/ 32085 w 49507"/>
                <a:gd name="connsiteY9" fmla="*/ 34672 h 95393"/>
                <a:gd name="connsiteX10" fmla="*/ 32085 w 49507"/>
                <a:gd name="connsiteY10" fmla="*/ 68655 h 95393"/>
                <a:gd name="connsiteX11" fmla="*/ 40710 w 49507"/>
                <a:gd name="connsiteY11" fmla="*/ 80558 h 95393"/>
                <a:gd name="connsiteX12" fmla="*/ 49163 w 49507"/>
                <a:gd name="connsiteY12" fmla="*/ 78661 h 95393"/>
                <a:gd name="connsiteX13" fmla="*/ 49508 w 49507"/>
                <a:gd name="connsiteY13" fmla="*/ 93668 h 95393"/>
                <a:gd name="connsiteX14" fmla="*/ 35880 w 49507"/>
                <a:gd name="connsiteY14" fmla="*/ 95393 h 95393"/>
                <a:gd name="connsiteX15" fmla="*/ 13455 w 49507"/>
                <a:gd name="connsiteY15" fmla="*/ 71933 h 95393"/>
                <a:gd name="connsiteX16" fmla="*/ 13455 w 49507"/>
                <a:gd name="connsiteY16" fmla="*/ 34500 h 95393"/>
                <a:gd name="connsiteX17" fmla="*/ 13627 w 49507"/>
                <a:gd name="connsiteY17" fmla="*/ 34500 h 95393"/>
                <a:gd name="connsiteX18" fmla="*/ 13627 w 49507"/>
                <a:gd name="connsiteY18" fmla="*/ 34500 h 9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507" h="95393">
                  <a:moveTo>
                    <a:pt x="13627" y="34500"/>
                  </a:moveTo>
                  <a:lnTo>
                    <a:pt x="0" y="34500"/>
                  </a:lnTo>
                  <a:lnTo>
                    <a:pt x="0" y="20528"/>
                  </a:lnTo>
                  <a:lnTo>
                    <a:pt x="13627" y="20528"/>
                  </a:lnTo>
                  <a:lnTo>
                    <a:pt x="13627" y="6038"/>
                  </a:lnTo>
                  <a:lnTo>
                    <a:pt x="32085" y="0"/>
                  </a:lnTo>
                  <a:lnTo>
                    <a:pt x="32085" y="20700"/>
                  </a:lnTo>
                  <a:lnTo>
                    <a:pt x="48473" y="20700"/>
                  </a:lnTo>
                  <a:lnTo>
                    <a:pt x="48473" y="34672"/>
                  </a:lnTo>
                  <a:lnTo>
                    <a:pt x="32085" y="34672"/>
                  </a:lnTo>
                  <a:lnTo>
                    <a:pt x="32085" y="68655"/>
                  </a:lnTo>
                  <a:cubicBezTo>
                    <a:pt x="32085" y="74693"/>
                    <a:pt x="33810" y="80558"/>
                    <a:pt x="40710" y="80558"/>
                  </a:cubicBezTo>
                  <a:cubicBezTo>
                    <a:pt x="44160" y="80558"/>
                    <a:pt x="47093" y="79868"/>
                    <a:pt x="49163" y="78661"/>
                  </a:cubicBezTo>
                  <a:lnTo>
                    <a:pt x="49508" y="93668"/>
                  </a:lnTo>
                  <a:cubicBezTo>
                    <a:pt x="45713" y="94703"/>
                    <a:pt x="41400" y="95393"/>
                    <a:pt x="35880" y="95393"/>
                  </a:cubicBezTo>
                  <a:cubicBezTo>
                    <a:pt x="21390" y="95393"/>
                    <a:pt x="13455" y="86251"/>
                    <a:pt x="13455" y="71933"/>
                  </a:cubicBezTo>
                  <a:lnTo>
                    <a:pt x="13455" y="34500"/>
                  </a:lnTo>
                  <a:lnTo>
                    <a:pt x="13627" y="34500"/>
                  </a:lnTo>
                  <a:lnTo>
                    <a:pt x="13627" y="3450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6" name="Gráfico 1344">
              <a:extLst>
                <a:ext uri="{FF2B5EF4-FFF2-40B4-BE49-F238E27FC236}">
                  <a16:creationId xmlns:a16="http://schemas.microsoft.com/office/drawing/2014/main" id="{AAAB0C41-E4EA-4178-B800-D1D3556E2D44}"/>
                </a:ext>
              </a:extLst>
            </p:cNvPr>
            <p:cNvSpPr/>
            <p:nvPr/>
          </p:nvSpPr>
          <p:spPr>
            <a:xfrm>
              <a:off x="9437091" y="6068754"/>
              <a:ext cx="74520" cy="76590"/>
            </a:xfrm>
            <a:custGeom>
              <a:avLst/>
              <a:gdLst>
                <a:gd name="connsiteX0" fmla="*/ 37260 w 74520"/>
                <a:gd name="connsiteY0" fmla="*/ 0 h 76590"/>
                <a:gd name="connsiteX1" fmla="*/ 74521 w 74520"/>
                <a:gd name="connsiteY1" fmla="*/ 38813 h 76590"/>
                <a:gd name="connsiteX2" fmla="*/ 37260 w 74520"/>
                <a:gd name="connsiteY2" fmla="*/ 76591 h 76590"/>
                <a:gd name="connsiteX3" fmla="*/ 0 w 74520"/>
                <a:gd name="connsiteY3" fmla="*/ 38813 h 76590"/>
                <a:gd name="connsiteX4" fmla="*/ 37260 w 74520"/>
                <a:gd name="connsiteY4" fmla="*/ 0 h 76590"/>
                <a:gd name="connsiteX5" fmla="*/ 37260 w 74520"/>
                <a:gd name="connsiteY5" fmla="*/ 61756 h 76590"/>
                <a:gd name="connsiteX6" fmla="*/ 55201 w 74520"/>
                <a:gd name="connsiteY6" fmla="*/ 36398 h 76590"/>
                <a:gd name="connsiteX7" fmla="*/ 37260 w 74520"/>
                <a:gd name="connsiteY7" fmla="*/ 14490 h 76590"/>
                <a:gd name="connsiteX8" fmla="*/ 19320 w 74520"/>
                <a:gd name="connsiteY8" fmla="*/ 36398 h 76590"/>
                <a:gd name="connsiteX9" fmla="*/ 37260 w 74520"/>
                <a:gd name="connsiteY9" fmla="*/ 61756 h 7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6590">
                  <a:moveTo>
                    <a:pt x="37260" y="0"/>
                  </a:moveTo>
                  <a:cubicBezTo>
                    <a:pt x="58306" y="0"/>
                    <a:pt x="74521" y="14663"/>
                    <a:pt x="74521" y="38813"/>
                  </a:cubicBezTo>
                  <a:cubicBezTo>
                    <a:pt x="74521" y="59858"/>
                    <a:pt x="60893" y="76591"/>
                    <a:pt x="37260" y="76591"/>
                  </a:cubicBezTo>
                  <a:cubicBezTo>
                    <a:pt x="13800" y="76591"/>
                    <a:pt x="0" y="59686"/>
                    <a:pt x="0" y="38813"/>
                  </a:cubicBezTo>
                  <a:cubicBezTo>
                    <a:pt x="173" y="14490"/>
                    <a:pt x="16215" y="0"/>
                    <a:pt x="37260" y="0"/>
                  </a:cubicBezTo>
                  <a:moveTo>
                    <a:pt x="37260" y="61756"/>
                  </a:moveTo>
                  <a:cubicBezTo>
                    <a:pt x="51578" y="61756"/>
                    <a:pt x="55201" y="48645"/>
                    <a:pt x="55201" y="36398"/>
                  </a:cubicBezTo>
                  <a:cubicBezTo>
                    <a:pt x="55201" y="25186"/>
                    <a:pt x="49508" y="14490"/>
                    <a:pt x="37260" y="14490"/>
                  </a:cubicBezTo>
                  <a:cubicBezTo>
                    <a:pt x="25186" y="14490"/>
                    <a:pt x="19320" y="25358"/>
                    <a:pt x="19320" y="36398"/>
                  </a:cubicBezTo>
                  <a:cubicBezTo>
                    <a:pt x="19320" y="48301"/>
                    <a:pt x="23288" y="61756"/>
                    <a:pt x="37260" y="61756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7" name="Gráfico 1344">
              <a:extLst>
                <a:ext uri="{FF2B5EF4-FFF2-40B4-BE49-F238E27FC236}">
                  <a16:creationId xmlns:a16="http://schemas.microsoft.com/office/drawing/2014/main" id="{E8DE14CD-AEA0-4BBE-93D6-646AA608CD77}"/>
                </a:ext>
              </a:extLst>
            </p:cNvPr>
            <p:cNvSpPr/>
            <p:nvPr/>
          </p:nvSpPr>
          <p:spPr>
            <a:xfrm>
              <a:off x="9526101" y="6068754"/>
              <a:ext cx="64170" cy="74520"/>
            </a:xfrm>
            <a:custGeom>
              <a:avLst/>
              <a:gdLst>
                <a:gd name="connsiteX0" fmla="*/ 0 w 64170"/>
                <a:gd name="connsiteY0" fmla="*/ 1725 h 74520"/>
                <a:gd name="connsiteX1" fmla="*/ 17423 w 64170"/>
                <a:gd name="connsiteY1" fmla="*/ 1725 h 74520"/>
                <a:gd name="connsiteX2" fmla="*/ 17423 w 64170"/>
                <a:gd name="connsiteY2" fmla="*/ 11558 h 74520"/>
                <a:gd name="connsiteX3" fmla="*/ 17595 w 64170"/>
                <a:gd name="connsiteY3" fmla="*/ 11558 h 74520"/>
                <a:gd name="connsiteX4" fmla="*/ 40538 w 64170"/>
                <a:gd name="connsiteY4" fmla="*/ 0 h 74520"/>
                <a:gd name="connsiteX5" fmla="*/ 64170 w 64170"/>
                <a:gd name="connsiteY5" fmla="*/ 28463 h 74520"/>
                <a:gd name="connsiteX6" fmla="*/ 64170 w 64170"/>
                <a:gd name="connsiteY6" fmla="*/ 74521 h 74520"/>
                <a:gd name="connsiteX7" fmla="*/ 46058 w 64170"/>
                <a:gd name="connsiteY7" fmla="*/ 74521 h 74520"/>
                <a:gd name="connsiteX8" fmla="*/ 46058 w 64170"/>
                <a:gd name="connsiteY8" fmla="*/ 35708 h 74520"/>
                <a:gd name="connsiteX9" fmla="*/ 34328 w 64170"/>
                <a:gd name="connsiteY9" fmla="*/ 14490 h 74520"/>
                <a:gd name="connsiteX10" fmla="*/ 18285 w 64170"/>
                <a:gd name="connsiteY10" fmla="*/ 38641 h 74520"/>
                <a:gd name="connsiteX11" fmla="*/ 18285 w 64170"/>
                <a:gd name="connsiteY11" fmla="*/ 74521 h 74520"/>
                <a:gd name="connsiteX12" fmla="*/ 173 w 64170"/>
                <a:gd name="connsiteY12" fmla="*/ 74521 h 74520"/>
                <a:gd name="connsiteX13" fmla="*/ 173 w 64170"/>
                <a:gd name="connsiteY13" fmla="*/ 1725 h 74520"/>
                <a:gd name="connsiteX14" fmla="*/ 0 w 64170"/>
                <a:gd name="connsiteY14" fmla="*/ 1725 h 74520"/>
                <a:gd name="connsiteX15" fmla="*/ 0 w 64170"/>
                <a:gd name="connsiteY15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170" h="74520">
                  <a:moveTo>
                    <a:pt x="0" y="1725"/>
                  </a:moveTo>
                  <a:lnTo>
                    <a:pt x="17423" y="1725"/>
                  </a:lnTo>
                  <a:lnTo>
                    <a:pt x="17423" y="11558"/>
                  </a:lnTo>
                  <a:lnTo>
                    <a:pt x="17595" y="11558"/>
                  </a:lnTo>
                  <a:cubicBezTo>
                    <a:pt x="23288" y="3278"/>
                    <a:pt x="31051" y="0"/>
                    <a:pt x="40538" y="0"/>
                  </a:cubicBezTo>
                  <a:cubicBezTo>
                    <a:pt x="57098" y="0"/>
                    <a:pt x="64170" y="12248"/>
                    <a:pt x="64170" y="28463"/>
                  </a:cubicBezTo>
                  <a:lnTo>
                    <a:pt x="64170" y="74521"/>
                  </a:lnTo>
                  <a:lnTo>
                    <a:pt x="46058" y="74521"/>
                  </a:lnTo>
                  <a:lnTo>
                    <a:pt x="46058" y="35708"/>
                  </a:lnTo>
                  <a:cubicBezTo>
                    <a:pt x="46058" y="26738"/>
                    <a:pt x="45885" y="14490"/>
                    <a:pt x="34328" y="14490"/>
                  </a:cubicBezTo>
                  <a:cubicBezTo>
                    <a:pt x="21218" y="14490"/>
                    <a:pt x="18285" y="29325"/>
                    <a:pt x="18285" y="38641"/>
                  </a:cubicBezTo>
                  <a:lnTo>
                    <a:pt x="18285" y="74521"/>
                  </a:lnTo>
                  <a:lnTo>
                    <a:pt x="173" y="74521"/>
                  </a:lnTo>
                  <a:lnTo>
                    <a:pt x="173" y="1725"/>
                  </a:lnTo>
                  <a:lnTo>
                    <a:pt x="0" y="1725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8" name="Gráfico 1344">
              <a:extLst>
                <a:ext uri="{FF2B5EF4-FFF2-40B4-BE49-F238E27FC236}">
                  <a16:creationId xmlns:a16="http://schemas.microsoft.com/office/drawing/2014/main" id="{4AF41632-7161-4903-A194-76BF4A8397EE}"/>
                </a:ext>
              </a:extLst>
            </p:cNvPr>
            <p:cNvSpPr/>
            <p:nvPr/>
          </p:nvSpPr>
          <p:spPr>
            <a:xfrm>
              <a:off x="9610972" y="6039774"/>
              <a:ext cx="18629" cy="103500"/>
            </a:xfrm>
            <a:custGeom>
              <a:avLst/>
              <a:gdLst>
                <a:gd name="connsiteX0" fmla="*/ 0 w 18629"/>
                <a:gd name="connsiteY0" fmla="*/ 0 h 103500"/>
                <a:gd name="connsiteX1" fmla="*/ 18630 w 18629"/>
                <a:gd name="connsiteY1" fmla="*/ 0 h 103500"/>
                <a:gd name="connsiteX2" fmla="*/ 18630 w 18629"/>
                <a:gd name="connsiteY2" fmla="*/ 17940 h 103500"/>
                <a:gd name="connsiteX3" fmla="*/ 0 w 18629"/>
                <a:gd name="connsiteY3" fmla="*/ 17940 h 103500"/>
                <a:gd name="connsiteX4" fmla="*/ 0 w 18629"/>
                <a:gd name="connsiteY4" fmla="*/ 0 h 103500"/>
                <a:gd name="connsiteX5" fmla="*/ 0 w 18629"/>
                <a:gd name="connsiteY5" fmla="*/ 0 h 103500"/>
                <a:gd name="connsiteX6" fmla="*/ 0 w 18629"/>
                <a:gd name="connsiteY6" fmla="*/ 0 h 103500"/>
                <a:gd name="connsiteX7" fmla="*/ 0 w 18629"/>
                <a:gd name="connsiteY7" fmla="*/ 31223 h 103500"/>
                <a:gd name="connsiteX8" fmla="*/ 18630 w 18629"/>
                <a:gd name="connsiteY8" fmla="*/ 31223 h 103500"/>
                <a:gd name="connsiteX9" fmla="*/ 18630 w 18629"/>
                <a:gd name="connsiteY9" fmla="*/ 103501 h 103500"/>
                <a:gd name="connsiteX10" fmla="*/ 0 w 18629"/>
                <a:gd name="connsiteY10" fmla="*/ 103501 h 103500"/>
                <a:gd name="connsiteX11" fmla="*/ 0 w 18629"/>
                <a:gd name="connsiteY11" fmla="*/ 31223 h 103500"/>
                <a:gd name="connsiteX12" fmla="*/ 0 w 18629"/>
                <a:gd name="connsiteY12" fmla="*/ 31223 h 103500"/>
                <a:gd name="connsiteX13" fmla="*/ 0 w 18629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29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89" name="Gráfico 1344">
              <a:extLst>
                <a:ext uri="{FF2B5EF4-FFF2-40B4-BE49-F238E27FC236}">
                  <a16:creationId xmlns:a16="http://schemas.microsoft.com/office/drawing/2014/main" id="{AA7B70C1-A0F9-433B-976F-22BF74EA0B6D}"/>
                </a:ext>
              </a:extLst>
            </p:cNvPr>
            <p:cNvSpPr/>
            <p:nvPr/>
          </p:nvSpPr>
          <p:spPr>
            <a:xfrm>
              <a:off x="9644092" y="6068754"/>
              <a:ext cx="74520" cy="76590"/>
            </a:xfrm>
            <a:custGeom>
              <a:avLst/>
              <a:gdLst>
                <a:gd name="connsiteX0" fmla="*/ 37260 w 74520"/>
                <a:gd name="connsiteY0" fmla="*/ 0 h 76590"/>
                <a:gd name="connsiteX1" fmla="*/ 74521 w 74520"/>
                <a:gd name="connsiteY1" fmla="*/ 38813 h 76590"/>
                <a:gd name="connsiteX2" fmla="*/ 37260 w 74520"/>
                <a:gd name="connsiteY2" fmla="*/ 76591 h 76590"/>
                <a:gd name="connsiteX3" fmla="*/ 0 w 74520"/>
                <a:gd name="connsiteY3" fmla="*/ 38813 h 76590"/>
                <a:gd name="connsiteX4" fmla="*/ 37260 w 74520"/>
                <a:gd name="connsiteY4" fmla="*/ 0 h 76590"/>
                <a:gd name="connsiteX5" fmla="*/ 37260 w 74520"/>
                <a:gd name="connsiteY5" fmla="*/ 61756 h 76590"/>
                <a:gd name="connsiteX6" fmla="*/ 55201 w 74520"/>
                <a:gd name="connsiteY6" fmla="*/ 36398 h 76590"/>
                <a:gd name="connsiteX7" fmla="*/ 37260 w 74520"/>
                <a:gd name="connsiteY7" fmla="*/ 14490 h 76590"/>
                <a:gd name="connsiteX8" fmla="*/ 19320 w 74520"/>
                <a:gd name="connsiteY8" fmla="*/ 36398 h 76590"/>
                <a:gd name="connsiteX9" fmla="*/ 37260 w 74520"/>
                <a:gd name="connsiteY9" fmla="*/ 61756 h 7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6590">
                  <a:moveTo>
                    <a:pt x="37260" y="0"/>
                  </a:moveTo>
                  <a:cubicBezTo>
                    <a:pt x="58306" y="0"/>
                    <a:pt x="74521" y="14663"/>
                    <a:pt x="74521" y="38813"/>
                  </a:cubicBezTo>
                  <a:cubicBezTo>
                    <a:pt x="74521" y="59858"/>
                    <a:pt x="60893" y="76591"/>
                    <a:pt x="37260" y="76591"/>
                  </a:cubicBezTo>
                  <a:cubicBezTo>
                    <a:pt x="13800" y="76591"/>
                    <a:pt x="0" y="59686"/>
                    <a:pt x="0" y="38813"/>
                  </a:cubicBezTo>
                  <a:cubicBezTo>
                    <a:pt x="173" y="14490"/>
                    <a:pt x="16388" y="0"/>
                    <a:pt x="37260" y="0"/>
                  </a:cubicBezTo>
                  <a:moveTo>
                    <a:pt x="37260" y="61756"/>
                  </a:moveTo>
                  <a:cubicBezTo>
                    <a:pt x="51578" y="61756"/>
                    <a:pt x="55201" y="48645"/>
                    <a:pt x="55201" y="36398"/>
                  </a:cubicBezTo>
                  <a:cubicBezTo>
                    <a:pt x="55201" y="25186"/>
                    <a:pt x="49508" y="14490"/>
                    <a:pt x="37260" y="14490"/>
                  </a:cubicBezTo>
                  <a:cubicBezTo>
                    <a:pt x="25358" y="14490"/>
                    <a:pt x="19320" y="25358"/>
                    <a:pt x="19320" y="36398"/>
                  </a:cubicBezTo>
                  <a:cubicBezTo>
                    <a:pt x="19320" y="48301"/>
                    <a:pt x="23288" y="61756"/>
                    <a:pt x="37260" y="61756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0" name="Gráfico 1344">
              <a:extLst>
                <a:ext uri="{FF2B5EF4-FFF2-40B4-BE49-F238E27FC236}">
                  <a16:creationId xmlns:a16="http://schemas.microsoft.com/office/drawing/2014/main" id="{9E88DA64-5625-4C9D-B1EF-D384188FBE22}"/>
                </a:ext>
              </a:extLst>
            </p:cNvPr>
            <p:cNvSpPr/>
            <p:nvPr/>
          </p:nvSpPr>
          <p:spPr>
            <a:xfrm>
              <a:off x="9772433" y="6045984"/>
              <a:ext cx="109711" cy="97290"/>
            </a:xfrm>
            <a:custGeom>
              <a:avLst/>
              <a:gdLst>
                <a:gd name="connsiteX0" fmla="*/ 0 w 109711"/>
                <a:gd name="connsiteY0" fmla="*/ 0 h 97290"/>
                <a:gd name="connsiteX1" fmla="*/ 31395 w 109711"/>
                <a:gd name="connsiteY1" fmla="*/ 0 h 97290"/>
                <a:gd name="connsiteX2" fmla="*/ 54683 w 109711"/>
                <a:gd name="connsiteY2" fmla="*/ 73831 h 97290"/>
                <a:gd name="connsiteX3" fmla="*/ 55028 w 109711"/>
                <a:gd name="connsiteY3" fmla="*/ 73831 h 97290"/>
                <a:gd name="connsiteX4" fmla="*/ 78316 w 109711"/>
                <a:gd name="connsiteY4" fmla="*/ 0 h 97290"/>
                <a:gd name="connsiteX5" fmla="*/ 109711 w 109711"/>
                <a:gd name="connsiteY5" fmla="*/ 0 h 97290"/>
                <a:gd name="connsiteX6" fmla="*/ 109711 w 109711"/>
                <a:gd name="connsiteY6" fmla="*/ 97291 h 97290"/>
                <a:gd name="connsiteX7" fmla="*/ 90908 w 109711"/>
                <a:gd name="connsiteY7" fmla="*/ 97291 h 97290"/>
                <a:gd name="connsiteX8" fmla="*/ 90908 w 109711"/>
                <a:gd name="connsiteY8" fmla="*/ 17078 h 97290"/>
                <a:gd name="connsiteX9" fmla="*/ 90736 w 109711"/>
                <a:gd name="connsiteY9" fmla="*/ 17078 h 97290"/>
                <a:gd name="connsiteX10" fmla="*/ 64343 w 109711"/>
                <a:gd name="connsiteY10" fmla="*/ 97291 h 97290"/>
                <a:gd name="connsiteX11" fmla="*/ 45368 w 109711"/>
                <a:gd name="connsiteY11" fmla="*/ 97291 h 97290"/>
                <a:gd name="connsiteX12" fmla="*/ 18975 w 109711"/>
                <a:gd name="connsiteY12" fmla="*/ 17078 h 97290"/>
                <a:gd name="connsiteX13" fmla="*/ 18803 w 109711"/>
                <a:gd name="connsiteY13" fmla="*/ 17250 h 97290"/>
                <a:gd name="connsiteX14" fmla="*/ 18803 w 109711"/>
                <a:gd name="connsiteY14" fmla="*/ 97291 h 97290"/>
                <a:gd name="connsiteX15" fmla="*/ 0 w 109711"/>
                <a:gd name="connsiteY15" fmla="*/ 97291 h 97290"/>
                <a:gd name="connsiteX16" fmla="*/ 0 w 109711"/>
                <a:gd name="connsiteY16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711" h="97290">
                  <a:moveTo>
                    <a:pt x="0" y="0"/>
                  </a:moveTo>
                  <a:lnTo>
                    <a:pt x="31395" y="0"/>
                  </a:lnTo>
                  <a:lnTo>
                    <a:pt x="54683" y="73831"/>
                  </a:lnTo>
                  <a:lnTo>
                    <a:pt x="55028" y="73831"/>
                  </a:lnTo>
                  <a:lnTo>
                    <a:pt x="78316" y="0"/>
                  </a:lnTo>
                  <a:lnTo>
                    <a:pt x="109711" y="0"/>
                  </a:lnTo>
                  <a:lnTo>
                    <a:pt x="109711" y="97291"/>
                  </a:lnTo>
                  <a:lnTo>
                    <a:pt x="90908" y="97291"/>
                  </a:lnTo>
                  <a:lnTo>
                    <a:pt x="90908" y="17078"/>
                  </a:lnTo>
                  <a:lnTo>
                    <a:pt x="90736" y="17078"/>
                  </a:lnTo>
                  <a:lnTo>
                    <a:pt x="64343" y="97291"/>
                  </a:lnTo>
                  <a:lnTo>
                    <a:pt x="45368" y="97291"/>
                  </a:lnTo>
                  <a:lnTo>
                    <a:pt x="18975" y="17078"/>
                  </a:lnTo>
                  <a:lnTo>
                    <a:pt x="18803" y="17250"/>
                  </a:lnTo>
                  <a:lnTo>
                    <a:pt x="18803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1" name="Gráfico 1344">
              <a:extLst>
                <a:ext uri="{FF2B5EF4-FFF2-40B4-BE49-F238E27FC236}">
                  <a16:creationId xmlns:a16="http://schemas.microsoft.com/office/drawing/2014/main" id="{6239A557-3A0A-42E8-ADFD-C58B6AF840B4}"/>
                </a:ext>
              </a:extLst>
            </p:cNvPr>
            <p:cNvSpPr/>
            <p:nvPr/>
          </p:nvSpPr>
          <p:spPr>
            <a:xfrm>
              <a:off x="9896634" y="6068754"/>
              <a:ext cx="68310" cy="76590"/>
            </a:xfrm>
            <a:custGeom>
              <a:avLst/>
              <a:gdLst>
                <a:gd name="connsiteX0" fmla="*/ 63136 w 68310"/>
                <a:gd name="connsiteY0" fmla="*/ 70726 h 76590"/>
                <a:gd name="connsiteX1" fmla="*/ 38123 w 68310"/>
                <a:gd name="connsiteY1" fmla="*/ 76591 h 76590"/>
                <a:gd name="connsiteX2" fmla="*/ 0 w 68310"/>
                <a:gd name="connsiteY2" fmla="*/ 38813 h 76590"/>
                <a:gd name="connsiteX3" fmla="*/ 33637 w 68310"/>
                <a:gd name="connsiteY3" fmla="*/ 0 h 76590"/>
                <a:gd name="connsiteX4" fmla="*/ 68310 w 68310"/>
                <a:gd name="connsiteY4" fmla="*/ 44160 h 76590"/>
                <a:gd name="connsiteX5" fmla="*/ 18112 w 68310"/>
                <a:gd name="connsiteY5" fmla="*/ 44160 h 76590"/>
                <a:gd name="connsiteX6" fmla="*/ 38813 w 68310"/>
                <a:gd name="connsiteY6" fmla="*/ 62618 h 76590"/>
                <a:gd name="connsiteX7" fmla="*/ 62963 w 68310"/>
                <a:gd name="connsiteY7" fmla="*/ 55373 h 76590"/>
                <a:gd name="connsiteX8" fmla="*/ 62963 w 68310"/>
                <a:gd name="connsiteY8" fmla="*/ 70726 h 76590"/>
                <a:gd name="connsiteX9" fmla="*/ 63136 w 68310"/>
                <a:gd name="connsiteY9" fmla="*/ 70726 h 76590"/>
                <a:gd name="connsiteX10" fmla="*/ 63136 w 68310"/>
                <a:gd name="connsiteY10" fmla="*/ 70726 h 76590"/>
                <a:gd name="connsiteX11" fmla="*/ 50543 w 68310"/>
                <a:gd name="connsiteY11" fmla="*/ 31051 h 76590"/>
                <a:gd name="connsiteX12" fmla="*/ 35018 w 68310"/>
                <a:gd name="connsiteY12" fmla="*/ 13973 h 76590"/>
                <a:gd name="connsiteX13" fmla="*/ 18285 w 68310"/>
                <a:gd name="connsiteY13" fmla="*/ 31051 h 76590"/>
                <a:gd name="connsiteX14" fmla="*/ 50543 w 68310"/>
                <a:gd name="connsiteY14" fmla="*/ 31051 h 76590"/>
                <a:gd name="connsiteX15" fmla="*/ 50543 w 68310"/>
                <a:gd name="connsiteY15" fmla="*/ 31051 h 76590"/>
                <a:gd name="connsiteX16" fmla="*/ 50543 w 68310"/>
                <a:gd name="connsiteY16" fmla="*/ 31051 h 7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310" h="76590">
                  <a:moveTo>
                    <a:pt x="63136" y="70726"/>
                  </a:moveTo>
                  <a:cubicBezTo>
                    <a:pt x="56235" y="74521"/>
                    <a:pt x="48300" y="76591"/>
                    <a:pt x="38123" y="76591"/>
                  </a:cubicBezTo>
                  <a:cubicBezTo>
                    <a:pt x="14145" y="76591"/>
                    <a:pt x="0" y="62618"/>
                    <a:pt x="0" y="38813"/>
                  </a:cubicBezTo>
                  <a:cubicBezTo>
                    <a:pt x="0" y="17595"/>
                    <a:pt x="11040" y="0"/>
                    <a:pt x="33637" y="0"/>
                  </a:cubicBezTo>
                  <a:cubicBezTo>
                    <a:pt x="60548" y="0"/>
                    <a:pt x="68310" y="18630"/>
                    <a:pt x="68310" y="44160"/>
                  </a:cubicBezTo>
                  <a:lnTo>
                    <a:pt x="18112" y="44160"/>
                  </a:lnTo>
                  <a:cubicBezTo>
                    <a:pt x="18975" y="56063"/>
                    <a:pt x="27255" y="62618"/>
                    <a:pt x="38813" y="62618"/>
                  </a:cubicBezTo>
                  <a:cubicBezTo>
                    <a:pt x="47955" y="62618"/>
                    <a:pt x="56063" y="59340"/>
                    <a:pt x="62963" y="55373"/>
                  </a:cubicBezTo>
                  <a:lnTo>
                    <a:pt x="62963" y="70726"/>
                  </a:lnTo>
                  <a:lnTo>
                    <a:pt x="63136" y="70726"/>
                  </a:lnTo>
                  <a:lnTo>
                    <a:pt x="63136" y="70726"/>
                  </a:lnTo>
                  <a:close/>
                  <a:moveTo>
                    <a:pt x="50543" y="31051"/>
                  </a:moveTo>
                  <a:cubicBezTo>
                    <a:pt x="50025" y="21908"/>
                    <a:pt x="45713" y="13973"/>
                    <a:pt x="35018" y="13973"/>
                  </a:cubicBezTo>
                  <a:cubicBezTo>
                    <a:pt x="24323" y="13973"/>
                    <a:pt x="19147" y="21391"/>
                    <a:pt x="18285" y="31051"/>
                  </a:cubicBezTo>
                  <a:lnTo>
                    <a:pt x="50543" y="31051"/>
                  </a:lnTo>
                  <a:lnTo>
                    <a:pt x="50543" y="31051"/>
                  </a:lnTo>
                  <a:lnTo>
                    <a:pt x="50543" y="31051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2" name="Gráfico 1344">
              <a:extLst>
                <a:ext uri="{FF2B5EF4-FFF2-40B4-BE49-F238E27FC236}">
                  <a16:creationId xmlns:a16="http://schemas.microsoft.com/office/drawing/2014/main" id="{EE2BAC55-02B2-4EB3-A801-7F80CBA3C928}"/>
                </a:ext>
              </a:extLst>
            </p:cNvPr>
            <p:cNvSpPr/>
            <p:nvPr/>
          </p:nvSpPr>
          <p:spPr>
            <a:xfrm>
              <a:off x="9975295" y="6070652"/>
              <a:ext cx="51750" cy="74692"/>
            </a:xfrm>
            <a:custGeom>
              <a:avLst/>
              <a:gdLst>
                <a:gd name="connsiteX0" fmla="*/ 47093 w 51750"/>
                <a:gd name="connsiteY0" fmla="*/ 16560 h 74692"/>
                <a:gd name="connsiteX1" fmla="*/ 30360 w 51750"/>
                <a:gd name="connsiteY1" fmla="*/ 13627 h 74692"/>
                <a:gd name="connsiteX2" fmla="*/ 19493 w 51750"/>
                <a:gd name="connsiteY2" fmla="*/ 21563 h 74692"/>
                <a:gd name="connsiteX3" fmla="*/ 51750 w 51750"/>
                <a:gd name="connsiteY3" fmla="*/ 51405 h 74692"/>
                <a:gd name="connsiteX4" fmla="*/ 21735 w 51750"/>
                <a:gd name="connsiteY4" fmla="*/ 74693 h 74692"/>
                <a:gd name="connsiteX5" fmla="*/ 517 w 51750"/>
                <a:gd name="connsiteY5" fmla="*/ 71761 h 74692"/>
                <a:gd name="connsiteX6" fmla="*/ 1552 w 51750"/>
                <a:gd name="connsiteY6" fmla="*/ 56580 h 74692"/>
                <a:gd name="connsiteX7" fmla="*/ 20010 w 51750"/>
                <a:gd name="connsiteY7" fmla="*/ 61238 h 74692"/>
                <a:gd name="connsiteX8" fmla="*/ 32258 w 51750"/>
                <a:gd name="connsiteY8" fmla="*/ 52440 h 74692"/>
                <a:gd name="connsiteX9" fmla="*/ 0 w 51750"/>
                <a:gd name="connsiteY9" fmla="*/ 22252 h 74692"/>
                <a:gd name="connsiteX10" fmla="*/ 27945 w 51750"/>
                <a:gd name="connsiteY10" fmla="*/ 0 h 74692"/>
                <a:gd name="connsiteX11" fmla="*/ 48300 w 51750"/>
                <a:gd name="connsiteY11" fmla="*/ 2587 h 74692"/>
                <a:gd name="connsiteX12" fmla="*/ 47093 w 51750"/>
                <a:gd name="connsiteY12" fmla="*/ 16560 h 74692"/>
                <a:gd name="connsiteX13" fmla="*/ 47093 w 51750"/>
                <a:gd name="connsiteY13" fmla="*/ 16560 h 74692"/>
                <a:gd name="connsiteX14" fmla="*/ 47093 w 51750"/>
                <a:gd name="connsiteY14" fmla="*/ 16560 h 7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750" h="74692">
                  <a:moveTo>
                    <a:pt x="47093" y="16560"/>
                  </a:moveTo>
                  <a:cubicBezTo>
                    <a:pt x="41400" y="14663"/>
                    <a:pt x="37260" y="13627"/>
                    <a:pt x="30360" y="13627"/>
                  </a:cubicBezTo>
                  <a:cubicBezTo>
                    <a:pt x="25358" y="13627"/>
                    <a:pt x="19493" y="15352"/>
                    <a:pt x="19493" y="21563"/>
                  </a:cubicBezTo>
                  <a:cubicBezTo>
                    <a:pt x="19493" y="32948"/>
                    <a:pt x="51750" y="25703"/>
                    <a:pt x="51750" y="51405"/>
                  </a:cubicBezTo>
                  <a:cubicBezTo>
                    <a:pt x="51750" y="68138"/>
                    <a:pt x="36915" y="74693"/>
                    <a:pt x="21735" y="74693"/>
                  </a:cubicBezTo>
                  <a:cubicBezTo>
                    <a:pt x="14663" y="74693"/>
                    <a:pt x="7417" y="73485"/>
                    <a:pt x="517" y="71761"/>
                  </a:cubicBezTo>
                  <a:lnTo>
                    <a:pt x="1552" y="56580"/>
                  </a:lnTo>
                  <a:cubicBezTo>
                    <a:pt x="7590" y="59513"/>
                    <a:pt x="13455" y="61238"/>
                    <a:pt x="20010" y="61238"/>
                  </a:cubicBezTo>
                  <a:cubicBezTo>
                    <a:pt x="24668" y="61238"/>
                    <a:pt x="32258" y="59513"/>
                    <a:pt x="32258" y="52440"/>
                  </a:cubicBezTo>
                  <a:cubicBezTo>
                    <a:pt x="32258" y="38640"/>
                    <a:pt x="0" y="48127"/>
                    <a:pt x="0" y="22252"/>
                  </a:cubicBezTo>
                  <a:cubicBezTo>
                    <a:pt x="0" y="6900"/>
                    <a:pt x="13455" y="0"/>
                    <a:pt x="27945" y="0"/>
                  </a:cubicBezTo>
                  <a:cubicBezTo>
                    <a:pt x="36743" y="0"/>
                    <a:pt x="42262" y="1552"/>
                    <a:pt x="48300" y="2587"/>
                  </a:cubicBezTo>
                  <a:lnTo>
                    <a:pt x="47093" y="16560"/>
                  </a:lnTo>
                  <a:lnTo>
                    <a:pt x="47093" y="16560"/>
                  </a:lnTo>
                  <a:lnTo>
                    <a:pt x="47093" y="165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3" name="Gráfico 1344">
              <a:extLst>
                <a:ext uri="{FF2B5EF4-FFF2-40B4-BE49-F238E27FC236}">
                  <a16:creationId xmlns:a16="http://schemas.microsoft.com/office/drawing/2014/main" id="{E22F4F0A-D0F8-4DBE-93D5-44BDC9336D48}"/>
                </a:ext>
              </a:extLst>
            </p:cNvPr>
            <p:cNvSpPr/>
            <p:nvPr/>
          </p:nvSpPr>
          <p:spPr>
            <a:xfrm>
              <a:off x="10035325" y="6068927"/>
              <a:ext cx="70380" cy="103500"/>
            </a:xfrm>
            <a:custGeom>
              <a:avLst/>
              <a:gdLst>
                <a:gd name="connsiteX0" fmla="*/ 51750 w 70380"/>
                <a:gd name="connsiteY0" fmla="*/ 65550 h 103500"/>
                <a:gd name="connsiteX1" fmla="*/ 51578 w 70380"/>
                <a:gd name="connsiteY1" fmla="*/ 65550 h 103500"/>
                <a:gd name="connsiteX2" fmla="*/ 30533 w 70380"/>
                <a:gd name="connsiteY2" fmla="*/ 75556 h 103500"/>
                <a:gd name="connsiteX3" fmla="*/ 0 w 70380"/>
                <a:gd name="connsiteY3" fmla="*/ 37605 h 103500"/>
                <a:gd name="connsiteX4" fmla="*/ 30533 w 70380"/>
                <a:gd name="connsiteY4" fmla="*/ 0 h 103500"/>
                <a:gd name="connsiteX5" fmla="*/ 52441 w 70380"/>
                <a:gd name="connsiteY5" fmla="*/ 11903 h 103500"/>
                <a:gd name="connsiteX6" fmla="*/ 52613 w 70380"/>
                <a:gd name="connsiteY6" fmla="*/ 11903 h 103500"/>
                <a:gd name="connsiteX7" fmla="*/ 52613 w 70380"/>
                <a:gd name="connsiteY7" fmla="*/ 1725 h 103500"/>
                <a:gd name="connsiteX8" fmla="*/ 70381 w 70380"/>
                <a:gd name="connsiteY8" fmla="*/ 1725 h 103500"/>
                <a:gd name="connsiteX9" fmla="*/ 70381 w 70380"/>
                <a:gd name="connsiteY9" fmla="*/ 103501 h 103500"/>
                <a:gd name="connsiteX10" fmla="*/ 51750 w 70380"/>
                <a:gd name="connsiteY10" fmla="*/ 103501 h 103500"/>
                <a:gd name="connsiteX11" fmla="*/ 51750 w 70380"/>
                <a:gd name="connsiteY11" fmla="*/ 65550 h 103500"/>
                <a:gd name="connsiteX12" fmla="*/ 51750 w 70380"/>
                <a:gd name="connsiteY12" fmla="*/ 65550 h 103500"/>
                <a:gd name="connsiteX13" fmla="*/ 51750 w 70380"/>
                <a:gd name="connsiteY13" fmla="*/ 65550 h 103500"/>
                <a:gd name="connsiteX14" fmla="*/ 19493 w 70380"/>
                <a:gd name="connsiteY14" fmla="*/ 37432 h 103500"/>
                <a:gd name="connsiteX15" fmla="*/ 35190 w 70380"/>
                <a:gd name="connsiteY15" fmla="*/ 61066 h 103500"/>
                <a:gd name="connsiteX16" fmla="*/ 51578 w 70380"/>
                <a:gd name="connsiteY16" fmla="*/ 37432 h 103500"/>
                <a:gd name="connsiteX17" fmla="*/ 34846 w 70380"/>
                <a:gd name="connsiteY17" fmla="*/ 14317 h 103500"/>
                <a:gd name="connsiteX18" fmla="*/ 19493 w 70380"/>
                <a:gd name="connsiteY18" fmla="*/ 37432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380" h="103500">
                  <a:moveTo>
                    <a:pt x="51750" y="65550"/>
                  </a:moveTo>
                  <a:lnTo>
                    <a:pt x="51578" y="65550"/>
                  </a:lnTo>
                  <a:cubicBezTo>
                    <a:pt x="45196" y="73486"/>
                    <a:pt x="38468" y="75556"/>
                    <a:pt x="30533" y="75556"/>
                  </a:cubicBezTo>
                  <a:cubicBezTo>
                    <a:pt x="8280" y="75556"/>
                    <a:pt x="0" y="57443"/>
                    <a:pt x="0" y="37605"/>
                  </a:cubicBezTo>
                  <a:cubicBezTo>
                    <a:pt x="0" y="17768"/>
                    <a:pt x="8108" y="0"/>
                    <a:pt x="30533" y="0"/>
                  </a:cubicBezTo>
                  <a:cubicBezTo>
                    <a:pt x="41055" y="0"/>
                    <a:pt x="47956" y="4485"/>
                    <a:pt x="52441" y="11903"/>
                  </a:cubicBezTo>
                  <a:lnTo>
                    <a:pt x="52613" y="11903"/>
                  </a:lnTo>
                  <a:lnTo>
                    <a:pt x="52613" y="1725"/>
                  </a:lnTo>
                  <a:lnTo>
                    <a:pt x="70381" y="1725"/>
                  </a:lnTo>
                  <a:lnTo>
                    <a:pt x="70381" y="103501"/>
                  </a:lnTo>
                  <a:lnTo>
                    <a:pt x="51750" y="103501"/>
                  </a:lnTo>
                  <a:lnTo>
                    <a:pt x="51750" y="65550"/>
                  </a:lnTo>
                  <a:lnTo>
                    <a:pt x="51750" y="65550"/>
                  </a:lnTo>
                  <a:lnTo>
                    <a:pt x="51750" y="65550"/>
                  </a:lnTo>
                  <a:close/>
                  <a:moveTo>
                    <a:pt x="19493" y="37432"/>
                  </a:moveTo>
                  <a:cubicBezTo>
                    <a:pt x="19493" y="47438"/>
                    <a:pt x="22943" y="61066"/>
                    <a:pt x="35190" y="61066"/>
                  </a:cubicBezTo>
                  <a:cubicBezTo>
                    <a:pt x="47611" y="61066"/>
                    <a:pt x="51578" y="47955"/>
                    <a:pt x="51578" y="37432"/>
                  </a:cubicBezTo>
                  <a:cubicBezTo>
                    <a:pt x="51578" y="27255"/>
                    <a:pt x="46920" y="14317"/>
                    <a:pt x="34846" y="14317"/>
                  </a:cubicBezTo>
                  <a:cubicBezTo>
                    <a:pt x="22770" y="14490"/>
                    <a:pt x="19493" y="27945"/>
                    <a:pt x="19493" y="37432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4" name="Gráfico 1344">
              <a:extLst>
                <a:ext uri="{FF2B5EF4-FFF2-40B4-BE49-F238E27FC236}">
                  <a16:creationId xmlns:a16="http://schemas.microsoft.com/office/drawing/2014/main" id="{89318B4D-3D46-43B8-98C5-329ED1558222}"/>
                </a:ext>
              </a:extLst>
            </p:cNvPr>
            <p:cNvSpPr/>
            <p:nvPr/>
          </p:nvSpPr>
          <p:spPr>
            <a:xfrm>
              <a:off x="10124508" y="6070824"/>
              <a:ext cx="66067" cy="72450"/>
            </a:xfrm>
            <a:custGeom>
              <a:avLst/>
              <a:gdLst>
                <a:gd name="connsiteX0" fmla="*/ 66068 w 66067"/>
                <a:gd name="connsiteY0" fmla="*/ 70726 h 72450"/>
                <a:gd name="connsiteX1" fmla="*/ 48300 w 66067"/>
                <a:gd name="connsiteY1" fmla="*/ 70726 h 72450"/>
                <a:gd name="connsiteX2" fmla="*/ 48300 w 66067"/>
                <a:gd name="connsiteY2" fmla="*/ 61238 h 72450"/>
                <a:gd name="connsiteX3" fmla="*/ 48128 w 66067"/>
                <a:gd name="connsiteY3" fmla="*/ 61238 h 72450"/>
                <a:gd name="connsiteX4" fmla="*/ 24495 w 66067"/>
                <a:gd name="connsiteY4" fmla="*/ 72451 h 72450"/>
                <a:gd name="connsiteX5" fmla="*/ 0 w 66067"/>
                <a:gd name="connsiteY5" fmla="*/ 44678 h 72450"/>
                <a:gd name="connsiteX6" fmla="*/ 0 w 66067"/>
                <a:gd name="connsiteY6" fmla="*/ 0 h 72450"/>
                <a:gd name="connsiteX7" fmla="*/ 18630 w 66067"/>
                <a:gd name="connsiteY7" fmla="*/ 0 h 72450"/>
                <a:gd name="connsiteX8" fmla="*/ 18630 w 66067"/>
                <a:gd name="connsiteY8" fmla="*/ 37778 h 72450"/>
                <a:gd name="connsiteX9" fmla="*/ 30878 w 66067"/>
                <a:gd name="connsiteY9" fmla="*/ 58133 h 72450"/>
                <a:gd name="connsiteX10" fmla="*/ 47438 w 66067"/>
                <a:gd name="connsiteY10" fmla="*/ 34673 h 72450"/>
                <a:gd name="connsiteX11" fmla="*/ 47438 w 66067"/>
                <a:gd name="connsiteY11" fmla="*/ 173 h 72450"/>
                <a:gd name="connsiteX12" fmla="*/ 66068 w 66067"/>
                <a:gd name="connsiteY12" fmla="*/ 173 h 72450"/>
                <a:gd name="connsiteX13" fmla="*/ 66068 w 66067"/>
                <a:gd name="connsiteY13" fmla="*/ 70726 h 72450"/>
                <a:gd name="connsiteX14" fmla="*/ 66068 w 66067"/>
                <a:gd name="connsiteY14" fmla="*/ 70726 h 72450"/>
                <a:gd name="connsiteX15" fmla="*/ 66068 w 66067"/>
                <a:gd name="connsiteY15" fmla="*/ 70726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067" h="72450">
                  <a:moveTo>
                    <a:pt x="66068" y="70726"/>
                  </a:moveTo>
                  <a:lnTo>
                    <a:pt x="48300" y="70726"/>
                  </a:lnTo>
                  <a:lnTo>
                    <a:pt x="48300" y="61238"/>
                  </a:lnTo>
                  <a:lnTo>
                    <a:pt x="48128" y="61238"/>
                  </a:lnTo>
                  <a:cubicBezTo>
                    <a:pt x="42263" y="67966"/>
                    <a:pt x="34328" y="72451"/>
                    <a:pt x="24495" y="72451"/>
                  </a:cubicBezTo>
                  <a:cubicBezTo>
                    <a:pt x="7590" y="72451"/>
                    <a:pt x="0" y="60548"/>
                    <a:pt x="0" y="44678"/>
                  </a:cubicBezTo>
                  <a:lnTo>
                    <a:pt x="0" y="0"/>
                  </a:lnTo>
                  <a:lnTo>
                    <a:pt x="18630" y="0"/>
                  </a:lnTo>
                  <a:lnTo>
                    <a:pt x="18630" y="37778"/>
                  </a:lnTo>
                  <a:cubicBezTo>
                    <a:pt x="18630" y="46403"/>
                    <a:pt x="18803" y="58133"/>
                    <a:pt x="30878" y="58133"/>
                  </a:cubicBezTo>
                  <a:cubicBezTo>
                    <a:pt x="44505" y="58133"/>
                    <a:pt x="47438" y="43471"/>
                    <a:pt x="47438" y="34673"/>
                  </a:cubicBezTo>
                  <a:lnTo>
                    <a:pt x="47438" y="173"/>
                  </a:lnTo>
                  <a:lnTo>
                    <a:pt x="66068" y="173"/>
                  </a:lnTo>
                  <a:lnTo>
                    <a:pt x="66068" y="70726"/>
                  </a:lnTo>
                  <a:lnTo>
                    <a:pt x="66068" y="70726"/>
                  </a:lnTo>
                  <a:lnTo>
                    <a:pt x="66068" y="7072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5" name="Gráfico 1344">
              <a:extLst>
                <a:ext uri="{FF2B5EF4-FFF2-40B4-BE49-F238E27FC236}">
                  <a16:creationId xmlns:a16="http://schemas.microsoft.com/office/drawing/2014/main" id="{2BFFD9B2-8450-4210-8988-54155F39DF48}"/>
                </a:ext>
              </a:extLst>
            </p:cNvPr>
            <p:cNvSpPr/>
            <p:nvPr/>
          </p:nvSpPr>
          <p:spPr>
            <a:xfrm>
              <a:off x="10211276" y="6039774"/>
              <a:ext cx="16559" cy="103500"/>
            </a:xfrm>
            <a:custGeom>
              <a:avLst/>
              <a:gdLst>
                <a:gd name="connsiteX0" fmla="*/ 0 w 16559"/>
                <a:gd name="connsiteY0" fmla="*/ 0 h 103500"/>
                <a:gd name="connsiteX1" fmla="*/ 16560 w 16559"/>
                <a:gd name="connsiteY1" fmla="*/ 0 h 103500"/>
                <a:gd name="connsiteX2" fmla="*/ 16560 w 16559"/>
                <a:gd name="connsiteY2" fmla="*/ 17940 h 103500"/>
                <a:gd name="connsiteX3" fmla="*/ 0 w 16559"/>
                <a:gd name="connsiteY3" fmla="*/ 17940 h 103500"/>
                <a:gd name="connsiteX4" fmla="*/ 0 w 16559"/>
                <a:gd name="connsiteY4" fmla="*/ 0 h 103500"/>
                <a:gd name="connsiteX5" fmla="*/ 0 w 16559"/>
                <a:gd name="connsiteY5" fmla="*/ 0 h 103500"/>
                <a:gd name="connsiteX6" fmla="*/ 0 w 16559"/>
                <a:gd name="connsiteY6" fmla="*/ 0 h 103500"/>
                <a:gd name="connsiteX7" fmla="*/ 0 w 16559"/>
                <a:gd name="connsiteY7" fmla="*/ 31223 h 103500"/>
                <a:gd name="connsiteX8" fmla="*/ 16560 w 16559"/>
                <a:gd name="connsiteY8" fmla="*/ 31223 h 103500"/>
                <a:gd name="connsiteX9" fmla="*/ 16560 w 16559"/>
                <a:gd name="connsiteY9" fmla="*/ 103501 h 103500"/>
                <a:gd name="connsiteX10" fmla="*/ 0 w 16559"/>
                <a:gd name="connsiteY10" fmla="*/ 103501 h 103500"/>
                <a:gd name="connsiteX11" fmla="*/ 0 w 16559"/>
                <a:gd name="connsiteY11" fmla="*/ 31223 h 103500"/>
                <a:gd name="connsiteX12" fmla="*/ 0 w 16559"/>
                <a:gd name="connsiteY12" fmla="*/ 31223 h 103500"/>
                <a:gd name="connsiteX13" fmla="*/ 0 w 16559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59" h="103500">
                  <a:moveTo>
                    <a:pt x="0" y="0"/>
                  </a:moveTo>
                  <a:lnTo>
                    <a:pt x="16560" y="0"/>
                  </a:lnTo>
                  <a:lnTo>
                    <a:pt x="1656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6560" y="31223"/>
                  </a:lnTo>
                  <a:lnTo>
                    <a:pt x="1656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6" name="Gráfico 1344">
              <a:extLst>
                <a:ext uri="{FF2B5EF4-FFF2-40B4-BE49-F238E27FC236}">
                  <a16:creationId xmlns:a16="http://schemas.microsoft.com/office/drawing/2014/main" id="{9E601087-7FEA-4C15-930C-DE26AC9E4DD3}"/>
                </a:ext>
              </a:extLst>
            </p:cNvPr>
            <p:cNvSpPr/>
            <p:nvPr/>
          </p:nvSpPr>
          <p:spPr>
            <a:xfrm>
              <a:off x="10240256" y="6050124"/>
              <a:ext cx="49680" cy="95393"/>
            </a:xfrm>
            <a:custGeom>
              <a:avLst/>
              <a:gdLst>
                <a:gd name="connsiteX0" fmla="*/ 13455 w 49680"/>
                <a:gd name="connsiteY0" fmla="*/ 34500 h 95393"/>
                <a:gd name="connsiteX1" fmla="*/ 0 w 49680"/>
                <a:gd name="connsiteY1" fmla="*/ 34500 h 95393"/>
                <a:gd name="connsiteX2" fmla="*/ 0 w 49680"/>
                <a:gd name="connsiteY2" fmla="*/ 20528 h 95393"/>
                <a:gd name="connsiteX3" fmla="*/ 13455 w 49680"/>
                <a:gd name="connsiteY3" fmla="*/ 20528 h 95393"/>
                <a:gd name="connsiteX4" fmla="*/ 13455 w 49680"/>
                <a:gd name="connsiteY4" fmla="*/ 6038 h 95393"/>
                <a:gd name="connsiteX5" fmla="*/ 31913 w 49680"/>
                <a:gd name="connsiteY5" fmla="*/ 0 h 95393"/>
                <a:gd name="connsiteX6" fmla="*/ 31913 w 49680"/>
                <a:gd name="connsiteY6" fmla="*/ 20700 h 95393"/>
                <a:gd name="connsiteX7" fmla="*/ 48128 w 49680"/>
                <a:gd name="connsiteY7" fmla="*/ 20700 h 95393"/>
                <a:gd name="connsiteX8" fmla="*/ 48128 w 49680"/>
                <a:gd name="connsiteY8" fmla="*/ 34672 h 95393"/>
                <a:gd name="connsiteX9" fmla="*/ 31913 w 49680"/>
                <a:gd name="connsiteY9" fmla="*/ 34672 h 95393"/>
                <a:gd name="connsiteX10" fmla="*/ 31913 w 49680"/>
                <a:gd name="connsiteY10" fmla="*/ 68655 h 95393"/>
                <a:gd name="connsiteX11" fmla="*/ 40538 w 49680"/>
                <a:gd name="connsiteY11" fmla="*/ 80558 h 95393"/>
                <a:gd name="connsiteX12" fmla="*/ 48990 w 49680"/>
                <a:gd name="connsiteY12" fmla="*/ 78661 h 95393"/>
                <a:gd name="connsiteX13" fmla="*/ 49680 w 49680"/>
                <a:gd name="connsiteY13" fmla="*/ 93668 h 95393"/>
                <a:gd name="connsiteX14" fmla="*/ 36225 w 49680"/>
                <a:gd name="connsiteY14" fmla="*/ 95393 h 95393"/>
                <a:gd name="connsiteX15" fmla="*/ 13800 w 49680"/>
                <a:gd name="connsiteY15" fmla="*/ 71933 h 95393"/>
                <a:gd name="connsiteX16" fmla="*/ 13800 w 49680"/>
                <a:gd name="connsiteY16" fmla="*/ 34672 h 95393"/>
                <a:gd name="connsiteX17" fmla="*/ 13455 w 49680"/>
                <a:gd name="connsiteY17" fmla="*/ 34672 h 95393"/>
                <a:gd name="connsiteX18" fmla="*/ 13455 w 49680"/>
                <a:gd name="connsiteY18" fmla="*/ 34500 h 9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680" h="95393">
                  <a:moveTo>
                    <a:pt x="13455" y="34500"/>
                  </a:moveTo>
                  <a:lnTo>
                    <a:pt x="0" y="34500"/>
                  </a:lnTo>
                  <a:lnTo>
                    <a:pt x="0" y="20528"/>
                  </a:lnTo>
                  <a:lnTo>
                    <a:pt x="13455" y="20528"/>
                  </a:lnTo>
                  <a:lnTo>
                    <a:pt x="13455" y="6038"/>
                  </a:lnTo>
                  <a:lnTo>
                    <a:pt x="31913" y="0"/>
                  </a:lnTo>
                  <a:lnTo>
                    <a:pt x="31913" y="20700"/>
                  </a:lnTo>
                  <a:lnTo>
                    <a:pt x="48128" y="20700"/>
                  </a:lnTo>
                  <a:lnTo>
                    <a:pt x="48128" y="34672"/>
                  </a:lnTo>
                  <a:lnTo>
                    <a:pt x="31913" y="34672"/>
                  </a:lnTo>
                  <a:lnTo>
                    <a:pt x="31913" y="68655"/>
                  </a:lnTo>
                  <a:cubicBezTo>
                    <a:pt x="31913" y="74693"/>
                    <a:pt x="33638" y="80558"/>
                    <a:pt x="40538" y="80558"/>
                  </a:cubicBezTo>
                  <a:cubicBezTo>
                    <a:pt x="43988" y="80558"/>
                    <a:pt x="46920" y="79868"/>
                    <a:pt x="48990" y="78661"/>
                  </a:cubicBezTo>
                  <a:lnTo>
                    <a:pt x="49680" y="93668"/>
                  </a:lnTo>
                  <a:cubicBezTo>
                    <a:pt x="45885" y="94703"/>
                    <a:pt x="41573" y="95393"/>
                    <a:pt x="36225" y="95393"/>
                  </a:cubicBezTo>
                  <a:cubicBezTo>
                    <a:pt x="21908" y="95393"/>
                    <a:pt x="13800" y="86251"/>
                    <a:pt x="13800" y="71933"/>
                  </a:cubicBezTo>
                  <a:lnTo>
                    <a:pt x="13800" y="34672"/>
                  </a:lnTo>
                  <a:lnTo>
                    <a:pt x="13455" y="34672"/>
                  </a:lnTo>
                  <a:lnTo>
                    <a:pt x="13455" y="3450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797" name="Gráfico 1344">
              <a:extLst>
                <a:ext uri="{FF2B5EF4-FFF2-40B4-BE49-F238E27FC236}">
                  <a16:creationId xmlns:a16="http://schemas.microsoft.com/office/drawing/2014/main" id="{9904E6FE-611E-49D3-8031-A5B094602E9F}"/>
                </a:ext>
              </a:extLst>
            </p:cNvPr>
            <p:cNvSpPr/>
            <p:nvPr/>
          </p:nvSpPr>
          <p:spPr>
            <a:xfrm>
              <a:off x="10298044" y="6068754"/>
              <a:ext cx="64170" cy="76935"/>
            </a:xfrm>
            <a:custGeom>
              <a:avLst/>
              <a:gdLst>
                <a:gd name="connsiteX0" fmla="*/ 7763 w 64170"/>
                <a:gd name="connsiteY0" fmla="*/ 5520 h 76935"/>
                <a:gd name="connsiteX1" fmla="*/ 32430 w 64170"/>
                <a:gd name="connsiteY1" fmla="*/ 0 h 76935"/>
                <a:gd name="connsiteX2" fmla="*/ 62963 w 64170"/>
                <a:gd name="connsiteY2" fmla="*/ 30878 h 76935"/>
                <a:gd name="connsiteX3" fmla="*/ 62963 w 64170"/>
                <a:gd name="connsiteY3" fmla="*/ 40365 h 76935"/>
                <a:gd name="connsiteX4" fmla="*/ 63308 w 64170"/>
                <a:gd name="connsiteY4" fmla="*/ 58823 h 76935"/>
                <a:gd name="connsiteX5" fmla="*/ 64170 w 64170"/>
                <a:gd name="connsiteY5" fmla="*/ 75038 h 76935"/>
                <a:gd name="connsiteX6" fmla="*/ 47783 w 64170"/>
                <a:gd name="connsiteY6" fmla="*/ 75038 h 76935"/>
                <a:gd name="connsiteX7" fmla="*/ 46920 w 64170"/>
                <a:gd name="connsiteY7" fmla="*/ 64170 h 76935"/>
                <a:gd name="connsiteX8" fmla="*/ 46748 w 64170"/>
                <a:gd name="connsiteY8" fmla="*/ 64170 h 76935"/>
                <a:gd name="connsiteX9" fmla="*/ 24840 w 64170"/>
                <a:gd name="connsiteY9" fmla="*/ 76936 h 76935"/>
                <a:gd name="connsiteX10" fmla="*/ 0 w 64170"/>
                <a:gd name="connsiteY10" fmla="*/ 55201 h 76935"/>
                <a:gd name="connsiteX11" fmla="*/ 12075 w 64170"/>
                <a:gd name="connsiteY11" fmla="*/ 34155 h 76935"/>
                <a:gd name="connsiteX12" fmla="*/ 35881 w 64170"/>
                <a:gd name="connsiteY12" fmla="*/ 29843 h 76935"/>
                <a:gd name="connsiteX13" fmla="*/ 46058 w 64170"/>
                <a:gd name="connsiteY13" fmla="*/ 29843 h 76935"/>
                <a:gd name="connsiteX14" fmla="*/ 30188 w 64170"/>
                <a:gd name="connsiteY14" fmla="*/ 14145 h 76935"/>
                <a:gd name="connsiteX15" fmla="*/ 8280 w 64170"/>
                <a:gd name="connsiteY15" fmla="*/ 22080 h 76935"/>
                <a:gd name="connsiteX16" fmla="*/ 7763 w 64170"/>
                <a:gd name="connsiteY16" fmla="*/ 5520 h 76935"/>
                <a:gd name="connsiteX17" fmla="*/ 7763 w 64170"/>
                <a:gd name="connsiteY17" fmla="*/ 5520 h 76935"/>
                <a:gd name="connsiteX18" fmla="*/ 7763 w 64170"/>
                <a:gd name="connsiteY18" fmla="*/ 5520 h 76935"/>
                <a:gd name="connsiteX19" fmla="*/ 29325 w 64170"/>
                <a:gd name="connsiteY19" fmla="*/ 62445 h 76935"/>
                <a:gd name="connsiteX20" fmla="*/ 42263 w 64170"/>
                <a:gd name="connsiteY20" fmla="*/ 56063 h 76935"/>
                <a:gd name="connsiteX21" fmla="*/ 46058 w 64170"/>
                <a:gd name="connsiteY21" fmla="*/ 40883 h 76935"/>
                <a:gd name="connsiteX22" fmla="*/ 37950 w 64170"/>
                <a:gd name="connsiteY22" fmla="*/ 40883 h 76935"/>
                <a:gd name="connsiteX23" fmla="*/ 17423 w 64170"/>
                <a:gd name="connsiteY23" fmla="*/ 53648 h 76935"/>
                <a:gd name="connsiteX24" fmla="*/ 29325 w 64170"/>
                <a:gd name="connsiteY24" fmla="*/ 62445 h 76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6935">
                  <a:moveTo>
                    <a:pt x="7763" y="5520"/>
                  </a:moveTo>
                  <a:cubicBezTo>
                    <a:pt x="15008" y="2070"/>
                    <a:pt x="24495" y="0"/>
                    <a:pt x="32430" y="0"/>
                  </a:cubicBezTo>
                  <a:cubicBezTo>
                    <a:pt x="54166" y="0"/>
                    <a:pt x="62963" y="9143"/>
                    <a:pt x="62963" y="30878"/>
                  </a:cubicBezTo>
                  <a:lnTo>
                    <a:pt x="62963" y="40365"/>
                  </a:lnTo>
                  <a:cubicBezTo>
                    <a:pt x="62963" y="47611"/>
                    <a:pt x="63136" y="53303"/>
                    <a:pt x="63308" y="58823"/>
                  </a:cubicBezTo>
                  <a:cubicBezTo>
                    <a:pt x="63308" y="64343"/>
                    <a:pt x="63653" y="69346"/>
                    <a:pt x="64170" y="75038"/>
                  </a:cubicBezTo>
                  <a:lnTo>
                    <a:pt x="47783" y="75038"/>
                  </a:lnTo>
                  <a:cubicBezTo>
                    <a:pt x="47093" y="71243"/>
                    <a:pt x="47093" y="66586"/>
                    <a:pt x="46920" y="64170"/>
                  </a:cubicBezTo>
                  <a:lnTo>
                    <a:pt x="46748" y="64170"/>
                  </a:lnTo>
                  <a:cubicBezTo>
                    <a:pt x="42435" y="72278"/>
                    <a:pt x="33120" y="76936"/>
                    <a:pt x="24840" y="76936"/>
                  </a:cubicBezTo>
                  <a:cubicBezTo>
                    <a:pt x="12247" y="76936"/>
                    <a:pt x="0" y="69001"/>
                    <a:pt x="0" y="55201"/>
                  </a:cubicBezTo>
                  <a:cubicBezTo>
                    <a:pt x="0" y="44333"/>
                    <a:pt x="5175" y="37950"/>
                    <a:pt x="12075" y="34155"/>
                  </a:cubicBezTo>
                  <a:cubicBezTo>
                    <a:pt x="19148" y="30705"/>
                    <a:pt x="28290" y="29843"/>
                    <a:pt x="35881" y="29843"/>
                  </a:cubicBezTo>
                  <a:lnTo>
                    <a:pt x="46058" y="29843"/>
                  </a:lnTo>
                  <a:cubicBezTo>
                    <a:pt x="46058" y="17940"/>
                    <a:pt x="40883" y="14145"/>
                    <a:pt x="30188" y="14145"/>
                  </a:cubicBezTo>
                  <a:cubicBezTo>
                    <a:pt x="22253" y="14145"/>
                    <a:pt x="14490" y="17250"/>
                    <a:pt x="8280" y="22080"/>
                  </a:cubicBezTo>
                  <a:lnTo>
                    <a:pt x="7763" y="5520"/>
                  </a:lnTo>
                  <a:lnTo>
                    <a:pt x="7763" y="5520"/>
                  </a:lnTo>
                  <a:lnTo>
                    <a:pt x="7763" y="5520"/>
                  </a:lnTo>
                  <a:close/>
                  <a:moveTo>
                    <a:pt x="29325" y="62445"/>
                  </a:moveTo>
                  <a:cubicBezTo>
                    <a:pt x="35018" y="62445"/>
                    <a:pt x="39330" y="60031"/>
                    <a:pt x="42263" y="56063"/>
                  </a:cubicBezTo>
                  <a:cubicBezTo>
                    <a:pt x="45195" y="51923"/>
                    <a:pt x="46058" y="46576"/>
                    <a:pt x="46058" y="40883"/>
                  </a:cubicBezTo>
                  <a:lnTo>
                    <a:pt x="37950" y="40883"/>
                  </a:lnTo>
                  <a:cubicBezTo>
                    <a:pt x="29670" y="40883"/>
                    <a:pt x="17423" y="42263"/>
                    <a:pt x="17423" y="53648"/>
                  </a:cubicBezTo>
                  <a:cubicBezTo>
                    <a:pt x="17595" y="59686"/>
                    <a:pt x="22770" y="62445"/>
                    <a:pt x="29325" y="62445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798" name="Agrupar 797">
            <a:extLst>
              <a:ext uri="{FF2B5EF4-FFF2-40B4-BE49-F238E27FC236}">
                <a16:creationId xmlns:a16="http://schemas.microsoft.com/office/drawing/2014/main" id="{D1E768CA-3932-49CD-B295-24B0CCE0D689}"/>
              </a:ext>
            </a:extLst>
          </p:cNvPr>
          <p:cNvGrpSpPr/>
          <p:nvPr/>
        </p:nvGrpSpPr>
        <p:grpSpPr>
          <a:xfrm>
            <a:off x="10774289" y="3172803"/>
            <a:ext cx="1186118" cy="256854"/>
            <a:chOff x="10606649" y="3172803"/>
            <a:chExt cx="1186118" cy="256854"/>
          </a:xfrm>
        </p:grpSpPr>
        <p:sp>
          <p:nvSpPr>
            <p:cNvPr id="799" name="Gráfico 1344">
              <a:extLst>
                <a:ext uri="{FF2B5EF4-FFF2-40B4-BE49-F238E27FC236}">
                  <a16:creationId xmlns:a16="http://schemas.microsoft.com/office/drawing/2014/main" id="{2C7B3463-AFD6-48B4-8CCB-501619675427}"/>
                </a:ext>
              </a:extLst>
            </p:cNvPr>
            <p:cNvSpPr/>
            <p:nvPr/>
          </p:nvSpPr>
          <p:spPr>
            <a:xfrm>
              <a:off x="10606649" y="3181083"/>
              <a:ext cx="74520" cy="97290"/>
            </a:xfrm>
            <a:custGeom>
              <a:avLst/>
              <a:gdLst>
                <a:gd name="connsiteX0" fmla="*/ 27600 w 74520"/>
                <a:gd name="connsiteY0" fmla="*/ 15180 h 97290"/>
                <a:gd name="connsiteX1" fmla="*/ 0 w 74520"/>
                <a:gd name="connsiteY1" fmla="*/ 15180 h 97290"/>
                <a:gd name="connsiteX2" fmla="*/ 0 w 74520"/>
                <a:gd name="connsiteY2" fmla="*/ 0 h 97290"/>
                <a:gd name="connsiteX3" fmla="*/ 74520 w 74520"/>
                <a:gd name="connsiteY3" fmla="*/ 0 h 97290"/>
                <a:gd name="connsiteX4" fmla="*/ 74520 w 74520"/>
                <a:gd name="connsiteY4" fmla="*/ 15180 h 97290"/>
                <a:gd name="connsiteX5" fmla="*/ 46920 w 74520"/>
                <a:gd name="connsiteY5" fmla="*/ 15180 h 97290"/>
                <a:gd name="connsiteX6" fmla="*/ 46920 w 74520"/>
                <a:gd name="connsiteY6" fmla="*/ 97291 h 97290"/>
                <a:gd name="connsiteX7" fmla="*/ 27600 w 74520"/>
                <a:gd name="connsiteY7" fmla="*/ 97291 h 97290"/>
                <a:gd name="connsiteX8" fmla="*/ 27600 w 74520"/>
                <a:gd name="connsiteY8" fmla="*/ 1518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7290">
                  <a:moveTo>
                    <a:pt x="27600" y="15180"/>
                  </a:moveTo>
                  <a:lnTo>
                    <a:pt x="0" y="15180"/>
                  </a:lnTo>
                  <a:lnTo>
                    <a:pt x="0" y="0"/>
                  </a:lnTo>
                  <a:lnTo>
                    <a:pt x="74520" y="0"/>
                  </a:lnTo>
                  <a:lnTo>
                    <a:pt x="74520" y="15180"/>
                  </a:lnTo>
                  <a:lnTo>
                    <a:pt x="46920" y="15180"/>
                  </a:lnTo>
                  <a:lnTo>
                    <a:pt x="46920" y="97291"/>
                  </a:lnTo>
                  <a:lnTo>
                    <a:pt x="27600" y="97291"/>
                  </a:lnTo>
                  <a:lnTo>
                    <a:pt x="27600" y="1518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0" name="Gráfico 1344">
              <a:extLst>
                <a:ext uri="{FF2B5EF4-FFF2-40B4-BE49-F238E27FC236}">
                  <a16:creationId xmlns:a16="http://schemas.microsoft.com/office/drawing/2014/main" id="{BCA335AE-5F72-463A-9327-859CA6E33A90}"/>
                </a:ext>
              </a:extLst>
            </p:cNvPr>
            <p:cNvSpPr/>
            <p:nvPr/>
          </p:nvSpPr>
          <p:spPr>
            <a:xfrm>
              <a:off x="10672717" y="3203853"/>
              <a:ext cx="66240" cy="74520"/>
            </a:xfrm>
            <a:custGeom>
              <a:avLst/>
              <a:gdLst>
                <a:gd name="connsiteX0" fmla="*/ 61066 w 66240"/>
                <a:gd name="connsiteY0" fmla="*/ 68828 h 74520"/>
                <a:gd name="connsiteX1" fmla="*/ 36743 w 66240"/>
                <a:gd name="connsiteY1" fmla="*/ 74520 h 74520"/>
                <a:gd name="connsiteX2" fmla="*/ 0 w 66240"/>
                <a:gd name="connsiteY2" fmla="*/ 37605 h 74520"/>
                <a:gd name="connsiteX3" fmla="*/ 32775 w 66240"/>
                <a:gd name="connsiteY3" fmla="*/ 0 h 74520"/>
                <a:gd name="connsiteX4" fmla="*/ 66240 w 66240"/>
                <a:gd name="connsiteY4" fmla="*/ 42953 h 74520"/>
                <a:gd name="connsiteX5" fmla="*/ 17595 w 66240"/>
                <a:gd name="connsiteY5" fmla="*/ 42953 h 74520"/>
                <a:gd name="connsiteX6" fmla="*/ 37605 w 66240"/>
                <a:gd name="connsiteY6" fmla="*/ 60893 h 74520"/>
                <a:gd name="connsiteX7" fmla="*/ 61066 w 66240"/>
                <a:gd name="connsiteY7" fmla="*/ 53648 h 74520"/>
                <a:gd name="connsiteX8" fmla="*/ 61066 w 66240"/>
                <a:gd name="connsiteY8" fmla="*/ 68828 h 74520"/>
                <a:gd name="connsiteX9" fmla="*/ 61066 w 66240"/>
                <a:gd name="connsiteY9" fmla="*/ 68828 h 74520"/>
                <a:gd name="connsiteX10" fmla="*/ 61066 w 66240"/>
                <a:gd name="connsiteY10" fmla="*/ 68828 h 74520"/>
                <a:gd name="connsiteX11" fmla="*/ 48645 w 66240"/>
                <a:gd name="connsiteY11" fmla="*/ 30188 h 74520"/>
                <a:gd name="connsiteX12" fmla="*/ 33638 w 66240"/>
                <a:gd name="connsiteY12" fmla="*/ 13282 h 74520"/>
                <a:gd name="connsiteX13" fmla="*/ 17423 w 66240"/>
                <a:gd name="connsiteY13" fmla="*/ 30188 h 74520"/>
                <a:gd name="connsiteX14" fmla="*/ 48645 w 66240"/>
                <a:gd name="connsiteY14" fmla="*/ 30188 h 74520"/>
                <a:gd name="connsiteX15" fmla="*/ 48645 w 66240"/>
                <a:gd name="connsiteY15" fmla="*/ 30188 h 74520"/>
                <a:gd name="connsiteX16" fmla="*/ 48645 w 66240"/>
                <a:gd name="connsiteY16" fmla="*/ 30188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40" h="74520">
                  <a:moveTo>
                    <a:pt x="61066" y="68828"/>
                  </a:moveTo>
                  <a:cubicBezTo>
                    <a:pt x="54338" y="72450"/>
                    <a:pt x="46748" y="74520"/>
                    <a:pt x="36743" y="74520"/>
                  </a:cubicBezTo>
                  <a:cubicBezTo>
                    <a:pt x="13455" y="74520"/>
                    <a:pt x="0" y="60893"/>
                    <a:pt x="0" y="37605"/>
                  </a:cubicBezTo>
                  <a:cubicBezTo>
                    <a:pt x="0" y="16905"/>
                    <a:pt x="10695" y="0"/>
                    <a:pt x="32775" y="0"/>
                  </a:cubicBezTo>
                  <a:cubicBezTo>
                    <a:pt x="58996" y="0"/>
                    <a:pt x="66240" y="18112"/>
                    <a:pt x="66240" y="42953"/>
                  </a:cubicBezTo>
                  <a:lnTo>
                    <a:pt x="17595" y="42953"/>
                  </a:lnTo>
                  <a:cubicBezTo>
                    <a:pt x="18458" y="54510"/>
                    <a:pt x="26393" y="60893"/>
                    <a:pt x="37605" y="60893"/>
                  </a:cubicBezTo>
                  <a:cubicBezTo>
                    <a:pt x="46403" y="60893"/>
                    <a:pt x="54338" y="57443"/>
                    <a:pt x="61066" y="53648"/>
                  </a:cubicBezTo>
                  <a:lnTo>
                    <a:pt x="61066" y="68828"/>
                  </a:lnTo>
                  <a:lnTo>
                    <a:pt x="61066" y="68828"/>
                  </a:lnTo>
                  <a:lnTo>
                    <a:pt x="61066" y="68828"/>
                  </a:lnTo>
                  <a:close/>
                  <a:moveTo>
                    <a:pt x="48645" y="30188"/>
                  </a:moveTo>
                  <a:cubicBezTo>
                    <a:pt x="48300" y="21218"/>
                    <a:pt x="43988" y="13282"/>
                    <a:pt x="33638" y="13282"/>
                  </a:cubicBezTo>
                  <a:cubicBezTo>
                    <a:pt x="23288" y="13282"/>
                    <a:pt x="18285" y="20527"/>
                    <a:pt x="17423" y="30188"/>
                  </a:cubicBezTo>
                  <a:lnTo>
                    <a:pt x="48645" y="30188"/>
                  </a:lnTo>
                  <a:lnTo>
                    <a:pt x="48645" y="30188"/>
                  </a:lnTo>
                  <a:lnTo>
                    <a:pt x="48645" y="301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1" name="Gráfico 1344">
              <a:extLst>
                <a:ext uri="{FF2B5EF4-FFF2-40B4-BE49-F238E27FC236}">
                  <a16:creationId xmlns:a16="http://schemas.microsoft.com/office/drawing/2014/main" id="{E4A7DD25-16AE-4B63-BD49-4DE99EFA834D}"/>
                </a:ext>
              </a:extLst>
            </p:cNvPr>
            <p:cNvSpPr/>
            <p:nvPr/>
          </p:nvSpPr>
          <p:spPr>
            <a:xfrm>
              <a:off x="10753620" y="3203853"/>
              <a:ext cx="41228" cy="74520"/>
            </a:xfrm>
            <a:custGeom>
              <a:avLst/>
              <a:gdLst>
                <a:gd name="connsiteX0" fmla="*/ 0 w 41228"/>
                <a:gd name="connsiteY0" fmla="*/ 1725 h 74520"/>
                <a:gd name="connsiteX1" fmla="*/ 16215 w 41228"/>
                <a:gd name="connsiteY1" fmla="*/ 1725 h 74520"/>
                <a:gd name="connsiteX2" fmla="*/ 16215 w 41228"/>
                <a:gd name="connsiteY2" fmla="*/ 18285 h 74520"/>
                <a:gd name="connsiteX3" fmla="*/ 16388 w 41228"/>
                <a:gd name="connsiteY3" fmla="*/ 18285 h 74520"/>
                <a:gd name="connsiteX4" fmla="*/ 35535 w 41228"/>
                <a:gd name="connsiteY4" fmla="*/ 0 h 74520"/>
                <a:gd name="connsiteX5" fmla="*/ 41228 w 41228"/>
                <a:gd name="connsiteY5" fmla="*/ 690 h 74520"/>
                <a:gd name="connsiteX6" fmla="*/ 41228 w 41228"/>
                <a:gd name="connsiteY6" fmla="*/ 19838 h 74520"/>
                <a:gd name="connsiteX7" fmla="*/ 32948 w 41228"/>
                <a:gd name="connsiteY7" fmla="*/ 18285 h 74520"/>
                <a:gd name="connsiteX8" fmla="*/ 18112 w 41228"/>
                <a:gd name="connsiteY8" fmla="*/ 47783 h 74520"/>
                <a:gd name="connsiteX9" fmla="*/ 18112 w 41228"/>
                <a:gd name="connsiteY9" fmla="*/ 74520 h 74520"/>
                <a:gd name="connsiteX10" fmla="*/ 0 w 41228"/>
                <a:gd name="connsiteY10" fmla="*/ 74520 h 74520"/>
                <a:gd name="connsiteX11" fmla="*/ 0 w 41228"/>
                <a:gd name="connsiteY11" fmla="*/ 1725 h 74520"/>
                <a:gd name="connsiteX12" fmla="*/ 0 w 41228"/>
                <a:gd name="connsiteY12" fmla="*/ 1725 h 74520"/>
                <a:gd name="connsiteX13" fmla="*/ 0 w 41228"/>
                <a:gd name="connsiteY13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228" h="74520">
                  <a:moveTo>
                    <a:pt x="0" y="1725"/>
                  </a:moveTo>
                  <a:lnTo>
                    <a:pt x="16215" y="1725"/>
                  </a:lnTo>
                  <a:lnTo>
                    <a:pt x="16215" y="18285"/>
                  </a:lnTo>
                  <a:lnTo>
                    <a:pt x="16388" y="18285"/>
                  </a:lnTo>
                  <a:cubicBezTo>
                    <a:pt x="17250" y="11558"/>
                    <a:pt x="24668" y="0"/>
                    <a:pt x="35535" y="0"/>
                  </a:cubicBezTo>
                  <a:cubicBezTo>
                    <a:pt x="37433" y="0"/>
                    <a:pt x="39330" y="0"/>
                    <a:pt x="41228" y="690"/>
                  </a:cubicBezTo>
                  <a:lnTo>
                    <a:pt x="41228" y="19838"/>
                  </a:lnTo>
                  <a:cubicBezTo>
                    <a:pt x="39503" y="18803"/>
                    <a:pt x="36398" y="18285"/>
                    <a:pt x="32948" y="18285"/>
                  </a:cubicBezTo>
                  <a:cubicBezTo>
                    <a:pt x="18112" y="18285"/>
                    <a:pt x="18112" y="37433"/>
                    <a:pt x="18112" y="47783"/>
                  </a:cubicBezTo>
                  <a:lnTo>
                    <a:pt x="18112" y="74520"/>
                  </a:lnTo>
                  <a:lnTo>
                    <a:pt x="0" y="74520"/>
                  </a:lnTo>
                  <a:lnTo>
                    <a:pt x="0" y="1725"/>
                  </a:lnTo>
                  <a:lnTo>
                    <a:pt x="0" y="1725"/>
                  </a:lnTo>
                  <a:lnTo>
                    <a:pt x="0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2" name="Gráfico 1344">
              <a:extLst>
                <a:ext uri="{FF2B5EF4-FFF2-40B4-BE49-F238E27FC236}">
                  <a16:creationId xmlns:a16="http://schemas.microsoft.com/office/drawing/2014/main" id="{BE64C891-A3AB-4630-B310-2FA1C99BA429}"/>
                </a:ext>
              </a:extLst>
            </p:cNvPr>
            <p:cNvSpPr/>
            <p:nvPr/>
          </p:nvSpPr>
          <p:spPr>
            <a:xfrm>
              <a:off x="10807441" y="3203853"/>
              <a:ext cx="103500" cy="74520"/>
            </a:xfrm>
            <a:custGeom>
              <a:avLst/>
              <a:gdLst>
                <a:gd name="connsiteX0" fmla="*/ 0 w 103500"/>
                <a:gd name="connsiteY0" fmla="*/ 1552 h 74520"/>
                <a:gd name="connsiteX1" fmla="*/ 17077 w 103500"/>
                <a:gd name="connsiteY1" fmla="*/ 1552 h 74520"/>
                <a:gd name="connsiteX2" fmla="*/ 17077 w 103500"/>
                <a:gd name="connsiteY2" fmla="*/ 11730 h 74520"/>
                <a:gd name="connsiteX3" fmla="*/ 17250 w 103500"/>
                <a:gd name="connsiteY3" fmla="*/ 11730 h 74520"/>
                <a:gd name="connsiteX4" fmla="*/ 38123 w 103500"/>
                <a:gd name="connsiteY4" fmla="*/ 0 h 74520"/>
                <a:gd name="connsiteX5" fmla="*/ 58996 w 103500"/>
                <a:gd name="connsiteY5" fmla="*/ 12938 h 74520"/>
                <a:gd name="connsiteX6" fmla="*/ 81076 w 103500"/>
                <a:gd name="connsiteY6" fmla="*/ 0 h 74520"/>
                <a:gd name="connsiteX7" fmla="*/ 103501 w 103500"/>
                <a:gd name="connsiteY7" fmla="*/ 28463 h 74520"/>
                <a:gd name="connsiteX8" fmla="*/ 103501 w 103500"/>
                <a:gd name="connsiteY8" fmla="*/ 74520 h 74520"/>
                <a:gd name="connsiteX9" fmla="*/ 85216 w 103500"/>
                <a:gd name="connsiteY9" fmla="*/ 74520 h 74520"/>
                <a:gd name="connsiteX10" fmla="*/ 85216 w 103500"/>
                <a:gd name="connsiteY10" fmla="*/ 31223 h 74520"/>
                <a:gd name="connsiteX11" fmla="*/ 74693 w 103500"/>
                <a:gd name="connsiteY11" fmla="*/ 14835 h 74520"/>
                <a:gd name="connsiteX12" fmla="*/ 61066 w 103500"/>
                <a:gd name="connsiteY12" fmla="*/ 39158 h 74520"/>
                <a:gd name="connsiteX13" fmla="*/ 61066 w 103500"/>
                <a:gd name="connsiteY13" fmla="*/ 74520 h 74520"/>
                <a:gd name="connsiteX14" fmla="*/ 42781 w 103500"/>
                <a:gd name="connsiteY14" fmla="*/ 74520 h 74520"/>
                <a:gd name="connsiteX15" fmla="*/ 42781 w 103500"/>
                <a:gd name="connsiteY15" fmla="*/ 31223 h 74520"/>
                <a:gd name="connsiteX16" fmla="*/ 32258 w 103500"/>
                <a:gd name="connsiteY16" fmla="*/ 14835 h 74520"/>
                <a:gd name="connsiteX17" fmla="*/ 18630 w 103500"/>
                <a:gd name="connsiteY17" fmla="*/ 39158 h 74520"/>
                <a:gd name="connsiteX18" fmla="*/ 18630 w 103500"/>
                <a:gd name="connsiteY18" fmla="*/ 74520 h 74520"/>
                <a:gd name="connsiteX19" fmla="*/ 345 w 103500"/>
                <a:gd name="connsiteY19" fmla="*/ 74520 h 74520"/>
                <a:gd name="connsiteX20" fmla="*/ 345 w 103500"/>
                <a:gd name="connsiteY20" fmla="*/ 1552 h 74520"/>
                <a:gd name="connsiteX21" fmla="*/ 0 w 103500"/>
                <a:gd name="connsiteY21" fmla="*/ 1552 h 74520"/>
                <a:gd name="connsiteX22" fmla="*/ 0 w 103500"/>
                <a:gd name="connsiteY22" fmla="*/ 1552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3500" h="74520">
                  <a:moveTo>
                    <a:pt x="0" y="1552"/>
                  </a:moveTo>
                  <a:lnTo>
                    <a:pt x="17077" y="1552"/>
                  </a:lnTo>
                  <a:lnTo>
                    <a:pt x="17077" y="11730"/>
                  </a:lnTo>
                  <a:lnTo>
                    <a:pt x="17250" y="11730"/>
                  </a:lnTo>
                  <a:cubicBezTo>
                    <a:pt x="22943" y="2760"/>
                    <a:pt x="31395" y="0"/>
                    <a:pt x="38123" y="0"/>
                  </a:cubicBezTo>
                  <a:cubicBezTo>
                    <a:pt x="47955" y="0"/>
                    <a:pt x="55028" y="3967"/>
                    <a:pt x="58996" y="12938"/>
                  </a:cubicBezTo>
                  <a:cubicBezTo>
                    <a:pt x="63136" y="4140"/>
                    <a:pt x="72451" y="0"/>
                    <a:pt x="81076" y="0"/>
                  </a:cubicBezTo>
                  <a:cubicBezTo>
                    <a:pt x="98326" y="0"/>
                    <a:pt x="103501" y="12420"/>
                    <a:pt x="103501" y="28463"/>
                  </a:cubicBezTo>
                  <a:lnTo>
                    <a:pt x="103501" y="74520"/>
                  </a:lnTo>
                  <a:lnTo>
                    <a:pt x="85216" y="74520"/>
                  </a:lnTo>
                  <a:lnTo>
                    <a:pt x="85216" y="31223"/>
                  </a:lnTo>
                  <a:cubicBezTo>
                    <a:pt x="85216" y="24495"/>
                    <a:pt x="85216" y="14835"/>
                    <a:pt x="74693" y="14835"/>
                  </a:cubicBezTo>
                  <a:cubicBezTo>
                    <a:pt x="62445" y="14835"/>
                    <a:pt x="61066" y="29843"/>
                    <a:pt x="61066" y="39158"/>
                  </a:cubicBezTo>
                  <a:lnTo>
                    <a:pt x="61066" y="74520"/>
                  </a:lnTo>
                  <a:lnTo>
                    <a:pt x="42781" y="74520"/>
                  </a:lnTo>
                  <a:lnTo>
                    <a:pt x="42781" y="31223"/>
                  </a:lnTo>
                  <a:cubicBezTo>
                    <a:pt x="42781" y="24495"/>
                    <a:pt x="42781" y="14835"/>
                    <a:pt x="32258" y="14835"/>
                  </a:cubicBezTo>
                  <a:cubicBezTo>
                    <a:pt x="20010" y="14835"/>
                    <a:pt x="18630" y="29843"/>
                    <a:pt x="18630" y="39158"/>
                  </a:cubicBezTo>
                  <a:lnTo>
                    <a:pt x="18630" y="74520"/>
                  </a:lnTo>
                  <a:lnTo>
                    <a:pt x="345" y="74520"/>
                  </a:lnTo>
                  <a:lnTo>
                    <a:pt x="345" y="1552"/>
                  </a:lnTo>
                  <a:lnTo>
                    <a:pt x="0" y="1552"/>
                  </a:lnTo>
                  <a:lnTo>
                    <a:pt x="0" y="155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3" name="Gráfico 1344">
              <a:extLst>
                <a:ext uri="{FF2B5EF4-FFF2-40B4-BE49-F238E27FC236}">
                  <a16:creationId xmlns:a16="http://schemas.microsoft.com/office/drawing/2014/main" id="{2140246A-6F7B-4AC4-BF10-90683AF3A5F4}"/>
                </a:ext>
              </a:extLst>
            </p:cNvPr>
            <p:cNvSpPr/>
            <p:nvPr/>
          </p:nvSpPr>
          <p:spPr>
            <a:xfrm>
              <a:off x="10931642" y="3174873"/>
              <a:ext cx="18629" cy="103500"/>
            </a:xfrm>
            <a:custGeom>
              <a:avLst/>
              <a:gdLst>
                <a:gd name="connsiteX0" fmla="*/ 0 w 18629"/>
                <a:gd name="connsiteY0" fmla="*/ 0 h 103500"/>
                <a:gd name="connsiteX1" fmla="*/ 18630 w 18629"/>
                <a:gd name="connsiteY1" fmla="*/ 0 h 103500"/>
                <a:gd name="connsiteX2" fmla="*/ 18630 w 18629"/>
                <a:gd name="connsiteY2" fmla="*/ 17940 h 103500"/>
                <a:gd name="connsiteX3" fmla="*/ 0 w 18629"/>
                <a:gd name="connsiteY3" fmla="*/ 17940 h 103500"/>
                <a:gd name="connsiteX4" fmla="*/ 0 w 18629"/>
                <a:gd name="connsiteY4" fmla="*/ 0 h 103500"/>
                <a:gd name="connsiteX5" fmla="*/ 0 w 18629"/>
                <a:gd name="connsiteY5" fmla="*/ 0 h 103500"/>
                <a:gd name="connsiteX6" fmla="*/ 0 w 18629"/>
                <a:gd name="connsiteY6" fmla="*/ 0 h 103500"/>
                <a:gd name="connsiteX7" fmla="*/ 0 w 18629"/>
                <a:gd name="connsiteY7" fmla="*/ 31223 h 103500"/>
                <a:gd name="connsiteX8" fmla="*/ 18630 w 18629"/>
                <a:gd name="connsiteY8" fmla="*/ 31223 h 103500"/>
                <a:gd name="connsiteX9" fmla="*/ 18630 w 18629"/>
                <a:gd name="connsiteY9" fmla="*/ 103501 h 103500"/>
                <a:gd name="connsiteX10" fmla="*/ 0 w 18629"/>
                <a:gd name="connsiteY10" fmla="*/ 103501 h 103500"/>
                <a:gd name="connsiteX11" fmla="*/ 0 w 18629"/>
                <a:gd name="connsiteY11" fmla="*/ 31223 h 103500"/>
                <a:gd name="connsiteX12" fmla="*/ 0 w 18629"/>
                <a:gd name="connsiteY12" fmla="*/ 31223 h 103500"/>
                <a:gd name="connsiteX13" fmla="*/ 0 w 18629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29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4" name="Gráfico 1344">
              <a:extLst>
                <a:ext uri="{FF2B5EF4-FFF2-40B4-BE49-F238E27FC236}">
                  <a16:creationId xmlns:a16="http://schemas.microsoft.com/office/drawing/2014/main" id="{9B6E7AB5-E193-4917-9D75-7E45957FE481}"/>
                </a:ext>
              </a:extLst>
            </p:cNvPr>
            <p:cNvSpPr/>
            <p:nvPr/>
          </p:nvSpPr>
          <p:spPr>
            <a:xfrm>
              <a:off x="10968902" y="3203853"/>
              <a:ext cx="63997" cy="74520"/>
            </a:xfrm>
            <a:custGeom>
              <a:avLst/>
              <a:gdLst>
                <a:gd name="connsiteX0" fmla="*/ 172 w 63997"/>
                <a:gd name="connsiteY0" fmla="*/ 1725 h 74520"/>
                <a:gd name="connsiteX1" fmla="*/ 17250 w 63997"/>
                <a:gd name="connsiteY1" fmla="*/ 1725 h 74520"/>
                <a:gd name="connsiteX2" fmla="*/ 17250 w 63997"/>
                <a:gd name="connsiteY2" fmla="*/ 11558 h 74520"/>
                <a:gd name="connsiteX3" fmla="*/ 17422 w 63997"/>
                <a:gd name="connsiteY3" fmla="*/ 11558 h 74520"/>
                <a:gd name="connsiteX4" fmla="*/ 40365 w 63997"/>
                <a:gd name="connsiteY4" fmla="*/ 0 h 74520"/>
                <a:gd name="connsiteX5" fmla="*/ 63998 w 63997"/>
                <a:gd name="connsiteY5" fmla="*/ 28463 h 74520"/>
                <a:gd name="connsiteX6" fmla="*/ 63998 w 63997"/>
                <a:gd name="connsiteY6" fmla="*/ 74520 h 74520"/>
                <a:gd name="connsiteX7" fmla="*/ 45885 w 63997"/>
                <a:gd name="connsiteY7" fmla="*/ 74520 h 74520"/>
                <a:gd name="connsiteX8" fmla="*/ 45885 w 63997"/>
                <a:gd name="connsiteY8" fmla="*/ 35535 h 74520"/>
                <a:gd name="connsiteX9" fmla="*/ 34155 w 63997"/>
                <a:gd name="connsiteY9" fmla="*/ 14662 h 74520"/>
                <a:gd name="connsiteX10" fmla="*/ 18112 w 63997"/>
                <a:gd name="connsiteY10" fmla="*/ 38813 h 74520"/>
                <a:gd name="connsiteX11" fmla="*/ 18112 w 63997"/>
                <a:gd name="connsiteY11" fmla="*/ 74520 h 74520"/>
                <a:gd name="connsiteX12" fmla="*/ 0 w 63997"/>
                <a:gd name="connsiteY12" fmla="*/ 74520 h 74520"/>
                <a:gd name="connsiteX13" fmla="*/ 0 w 63997"/>
                <a:gd name="connsiteY13" fmla="*/ 1725 h 74520"/>
                <a:gd name="connsiteX14" fmla="*/ 172 w 63997"/>
                <a:gd name="connsiteY14" fmla="*/ 1725 h 74520"/>
                <a:gd name="connsiteX15" fmla="*/ 172 w 63997"/>
                <a:gd name="connsiteY15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997" h="74520">
                  <a:moveTo>
                    <a:pt x="172" y="1725"/>
                  </a:moveTo>
                  <a:lnTo>
                    <a:pt x="17250" y="1725"/>
                  </a:lnTo>
                  <a:lnTo>
                    <a:pt x="17250" y="11558"/>
                  </a:lnTo>
                  <a:lnTo>
                    <a:pt x="17422" y="11558"/>
                  </a:lnTo>
                  <a:cubicBezTo>
                    <a:pt x="23115" y="3277"/>
                    <a:pt x="30877" y="0"/>
                    <a:pt x="40365" y="0"/>
                  </a:cubicBezTo>
                  <a:cubicBezTo>
                    <a:pt x="56925" y="0"/>
                    <a:pt x="63998" y="12247"/>
                    <a:pt x="63998" y="28463"/>
                  </a:cubicBezTo>
                  <a:lnTo>
                    <a:pt x="63998" y="74520"/>
                  </a:lnTo>
                  <a:lnTo>
                    <a:pt x="45885" y="74520"/>
                  </a:lnTo>
                  <a:lnTo>
                    <a:pt x="45885" y="35535"/>
                  </a:lnTo>
                  <a:cubicBezTo>
                    <a:pt x="45885" y="26565"/>
                    <a:pt x="45713" y="14662"/>
                    <a:pt x="34155" y="14662"/>
                  </a:cubicBezTo>
                  <a:cubicBezTo>
                    <a:pt x="21045" y="14662"/>
                    <a:pt x="18112" y="29498"/>
                    <a:pt x="18112" y="38813"/>
                  </a:cubicBezTo>
                  <a:lnTo>
                    <a:pt x="18112" y="74520"/>
                  </a:lnTo>
                  <a:lnTo>
                    <a:pt x="0" y="74520"/>
                  </a:lnTo>
                  <a:lnTo>
                    <a:pt x="0" y="1725"/>
                  </a:lnTo>
                  <a:lnTo>
                    <a:pt x="172" y="1725"/>
                  </a:lnTo>
                  <a:lnTo>
                    <a:pt x="172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5" name="Gráfico 1344">
              <a:extLst>
                <a:ext uri="{FF2B5EF4-FFF2-40B4-BE49-F238E27FC236}">
                  <a16:creationId xmlns:a16="http://schemas.microsoft.com/office/drawing/2014/main" id="{6F224ED6-5DC6-4618-8990-C4AB76DA1057}"/>
                </a:ext>
              </a:extLst>
            </p:cNvPr>
            <p:cNvSpPr/>
            <p:nvPr/>
          </p:nvSpPr>
          <p:spPr>
            <a:xfrm>
              <a:off x="11047390" y="3203853"/>
              <a:ext cx="66240" cy="76417"/>
            </a:xfrm>
            <a:custGeom>
              <a:avLst/>
              <a:gdLst>
                <a:gd name="connsiteX0" fmla="*/ 8280 w 66240"/>
                <a:gd name="connsiteY0" fmla="*/ 5520 h 76417"/>
                <a:gd name="connsiteX1" fmla="*/ 33638 w 66240"/>
                <a:gd name="connsiteY1" fmla="*/ 0 h 76417"/>
                <a:gd name="connsiteX2" fmla="*/ 65205 w 66240"/>
                <a:gd name="connsiteY2" fmla="*/ 30705 h 76417"/>
                <a:gd name="connsiteX3" fmla="*/ 65205 w 66240"/>
                <a:gd name="connsiteY3" fmla="*/ 40020 h 76417"/>
                <a:gd name="connsiteX4" fmla="*/ 65378 w 66240"/>
                <a:gd name="connsiteY4" fmla="*/ 58305 h 76417"/>
                <a:gd name="connsiteX5" fmla="*/ 66240 w 66240"/>
                <a:gd name="connsiteY5" fmla="*/ 74693 h 76417"/>
                <a:gd name="connsiteX6" fmla="*/ 49336 w 66240"/>
                <a:gd name="connsiteY6" fmla="*/ 74693 h 76417"/>
                <a:gd name="connsiteX7" fmla="*/ 48473 w 66240"/>
                <a:gd name="connsiteY7" fmla="*/ 63825 h 76417"/>
                <a:gd name="connsiteX8" fmla="*/ 48300 w 66240"/>
                <a:gd name="connsiteY8" fmla="*/ 63825 h 76417"/>
                <a:gd name="connsiteX9" fmla="*/ 25703 w 66240"/>
                <a:gd name="connsiteY9" fmla="*/ 76418 h 76417"/>
                <a:gd name="connsiteX10" fmla="*/ 0 w 66240"/>
                <a:gd name="connsiteY10" fmla="*/ 54855 h 76417"/>
                <a:gd name="connsiteX11" fmla="*/ 12420 w 66240"/>
                <a:gd name="connsiteY11" fmla="*/ 34155 h 76417"/>
                <a:gd name="connsiteX12" fmla="*/ 36916 w 66240"/>
                <a:gd name="connsiteY12" fmla="*/ 29843 h 76417"/>
                <a:gd name="connsiteX13" fmla="*/ 47438 w 66240"/>
                <a:gd name="connsiteY13" fmla="*/ 29843 h 76417"/>
                <a:gd name="connsiteX14" fmla="*/ 31050 w 66240"/>
                <a:gd name="connsiteY14" fmla="*/ 14145 h 76417"/>
                <a:gd name="connsiteX15" fmla="*/ 8452 w 66240"/>
                <a:gd name="connsiteY15" fmla="*/ 22080 h 76417"/>
                <a:gd name="connsiteX16" fmla="*/ 8280 w 66240"/>
                <a:gd name="connsiteY16" fmla="*/ 5520 h 76417"/>
                <a:gd name="connsiteX17" fmla="*/ 8280 w 66240"/>
                <a:gd name="connsiteY17" fmla="*/ 5520 h 76417"/>
                <a:gd name="connsiteX18" fmla="*/ 8280 w 66240"/>
                <a:gd name="connsiteY18" fmla="*/ 5520 h 76417"/>
                <a:gd name="connsiteX19" fmla="*/ 30705 w 66240"/>
                <a:gd name="connsiteY19" fmla="*/ 62445 h 76417"/>
                <a:gd name="connsiteX20" fmla="*/ 44160 w 66240"/>
                <a:gd name="connsiteY20" fmla="*/ 55890 h 76417"/>
                <a:gd name="connsiteX21" fmla="*/ 48128 w 66240"/>
                <a:gd name="connsiteY21" fmla="*/ 41055 h 76417"/>
                <a:gd name="connsiteX22" fmla="*/ 39848 w 66240"/>
                <a:gd name="connsiteY22" fmla="*/ 41055 h 76417"/>
                <a:gd name="connsiteX23" fmla="*/ 18803 w 66240"/>
                <a:gd name="connsiteY23" fmla="*/ 53648 h 76417"/>
                <a:gd name="connsiteX24" fmla="*/ 30705 w 66240"/>
                <a:gd name="connsiteY24" fmla="*/ 62445 h 7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240" h="76417">
                  <a:moveTo>
                    <a:pt x="8280" y="5520"/>
                  </a:moveTo>
                  <a:cubicBezTo>
                    <a:pt x="15698" y="2242"/>
                    <a:pt x="25530" y="0"/>
                    <a:pt x="33638" y="0"/>
                  </a:cubicBezTo>
                  <a:cubicBezTo>
                    <a:pt x="56063" y="0"/>
                    <a:pt x="65205" y="9143"/>
                    <a:pt x="65205" y="30705"/>
                  </a:cubicBezTo>
                  <a:lnTo>
                    <a:pt x="65205" y="40020"/>
                  </a:lnTo>
                  <a:cubicBezTo>
                    <a:pt x="65205" y="47438"/>
                    <a:pt x="65378" y="52958"/>
                    <a:pt x="65378" y="58305"/>
                  </a:cubicBezTo>
                  <a:cubicBezTo>
                    <a:pt x="65550" y="63825"/>
                    <a:pt x="65896" y="69001"/>
                    <a:pt x="66240" y="74693"/>
                  </a:cubicBezTo>
                  <a:lnTo>
                    <a:pt x="49336" y="74693"/>
                  </a:lnTo>
                  <a:cubicBezTo>
                    <a:pt x="48645" y="70725"/>
                    <a:pt x="48645" y="65895"/>
                    <a:pt x="48473" y="63825"/>
                  </a:cubicBezTo>
                  <a:lnTo>
                    <a:pt x="48300" y="63825"/>
                  </a:lnTo>
                  <a:cubicBezTo>
                    <a:pt x="43988" y="71933"/>
                    <a:pt x="34328" y="76418"/>
                    <a:pt x="25703" y="76418"/>
                  </a:cubicBezTo>
                  <a:cubicBezTo>
                    <a:pt x="12765" y="76418"/>
                    <a:pt x="0" y="68483"/>
                    <a:pt x="0" y="54855"/>
                  </a:cubicBezTo>
                  <a:cubicBezTo>
                    <a:pt x="0" y="43988"/>
                    <a:pt x="5347" y="37605"/>
                    <a:pt x="12420" y="34155"/>
                  </a:cubicBezTo>
                  <a:cubicBezTo>
                    <a:pt x="19665" y="30705"/>
                    <a:pt x="29153" y="29843"/>
                    <a:pt x="36916" y="29843"/>
                  </a:cubicBezTo>
                  <a:lnTo>
                    <a:pt x="47438" y="29843"/>
                  </a:lnTo>
                  <a:cubicBezTo>
                    <a:pt x="47438" y="18112"/>
                    <a:pt x="42090" y="14145"/>
                    <a:pt x="31050" y="14145"/>
                  </a:cubicBezTo>
                  <a:cubicBezTo>
                    <a:pt x="22942" y="14145"/>
                    <a:pt x="14835" y="17250"/>
                    <a:pt x="8452" y="22080"/>
                  </a:cubicBezTo>
                  <a:lnTo>
                    <a:pt x="8280" y="5520"/>
                  </a:lnTo>
                  <a:lnTo>
                    <a:pt x="8280" y="5520"/>
                  </a:lnTo>
                  <a:lnTo>
                    <a:pt x="8280" y="5520"/>
                  </a:lnTo>
                  <a:close/>
                  <a:moveTo>
                    <a:pt x="30705" y="62445"/>
                  </a:moveTo>
                  <a:cubicBezTo>
                    <a:pt x="36570" y="62445"/>
                    <a:pt x="41055" y="59858"/>
                    <a:pt x="44160" y="55890"/>
                  </a:cubicBezTo>
                  <a:cubicBezTo>
                    <a:pt x="47265" y="51750"/>
                    <a:pt x="48128" y="46575"/>
                    <a:pt x="48128" y="41055"/>
                  </a:cubicBezTo>
                  <a:lnTo>
                    <a:pt x="39848" y="41055"/>
                  </a:lnTo>
                  <a:cubicBezTo>
                    <a:pt x="31223" y="41055"/>
                    <a:pt x="18803" y="42435"/>
                    <a:pt x="18803" y="53648"/>
                  </a:cubicBezTo>
                  <a:cubicBezTo>
                    <a:pt x="18630" y="59858"/>
                    <a:pt x="23805" y="62445"/>
                    <a:pt x="30705" y="62445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6" name="Gráfico 1344">
              <a:extLst>
                <a:ext uri="{FF2B5EF4-FFF2-40B4-BE49-F238E27FC236}">
                  <a16:creationId xmlns:a16="http://schemas.microsoft.com/office/drawing/2014/main" id="{9FDD2CD9-1DFF-4DF8-A0BC-9B47FF70EACE}"/>
                </a:ext>
              </a:extLst>
            </p:cNvPr>
            <p:cNvSpPr/>
            <p:nvPr/>
          </p:nvSpPr>
          <p:spPr>
            <a:xfrm>
              <a:off x="11130363" y="3172803"/>
              <a:ext cx="18630" cy="105570"/>
            </a:xfrm>
            <a:custGeom>
              <a:avLst/>
              <a:gdLst>
                <a:gd name="connsiteX0" fmla="*/ 0 w 18630"/>
                <a:gd name="connsiteY0" fmla="*/ 0 h 105570"/>
                <a:gd name="connsiteX1" fmla="*/ 18630 w 18630"/>
                <a:gd name="connsiteY1" fmla="*/ 0 h 105570"/>
                <a:gd name="connsiteX2" fmla="*/ 18630 w 18630"/>
                <a:gd name="connsiteY2" fmla="*/ 105571 h 105570"/>
                <a:gd name="connsiteX3" fmla="*/ 0 w 18630"/>
                <a:gd name="connsiteY3" fmla="*/ 105571 h 105570"/>
                <a:gd name="connsiteX4" fmla="*/ 0 w 18630"/>
                <a:gd name="connsiteY4" fmla="*/ 0 h 10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30" h="105570">
                  <a:moveTo>
                    <a:pt x="0" y="0"/>
                  </a:moveTo>
                  <a:lnTo>
                    <a:pt x="18630" y="0"/>
                  </a:lnTo>
                  <a:lnTo>
                    <a:pt x="18630" y="105571"/>
                  </a:lnTo>
                  <a:lnTo>
                    <a:pt x="0" y="1055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7" name="Gráfico 1344">
              <a:extLst>
                <a:ext uri="{FF2B5EF4-FFF2-40B4-BE49-F238E27FC236}">
                  <a16:creationId xmlns:a16="http://schemas.microsoft.com/office/drawing/2014/main" id="{0673E7DE-ED0C-4991-832B-3344E40362E3}"/>
                </a:ext>
              </a:extLst>
            </p:cNvPr>
            <p:cNvSpPr/>
            <p:nvPr/>
          </p:nvSpPr>
          <p:spPr>
            <a:xfrm>
              <a:off x="11209024" y="3181083"/>
              <a:ext cx="107640" cy="97290"/>
            </a:xfrm>
            <a:custGeom>
              <a:avLst/>
              <a:gdLst>
                <a:gd name="connsiteX0" fmla="*/ 0 w 107640"/>
                <a:gd name="connsiteY0" fmla="*/ 0 h 97290"/>
                <a:gd name="connsiteX1" fmla="*/ 30705 w 107640"/>
                <a:gd name="connsiteY1" fmla="*/ 0 h 97290"/>
                <a:gd name="connsiteX2" fmla="*/ 53648 w 107640"/>
                <a:gd name="connsiteY2" fmla="*/ 73658 h 97290"/>
                <a:gd name="connsiteX3" fmla="*/ 53993 w 107640"/>
                <a:gd name="connsiteY3" fmla="*/ 73658 h 97290"/>
                <a:gd name="connsiteX4" fmla="*/ 76935 w 107640"/>
                <a:gd name="connsiteY4" fmla="*/ 0 h 97290"/>
                <a:gd name="connsiteX5" fmla="*/ 107641 w 107640"/>
                <a:gd name="connsiteY5" fmla="*/ 0 h 97290"/>
                <a:gd name="connsiteX6" fmla="*/ 107641 w 107640"/>
                <a:gd name="connsiteY6" fmla="*/ 97291 h 97290"/>
                <a:gd name="connsiteX7" fmla="*/ 89183 w 107640"/>
                <a:gd name="connsiteY7" fmla="*/ 97291 h 97290"/>
                <a:gd name="connsiteX8" fmla="*/ 89183 w 107640"/>
                <a:gd name="connsiteY8" fmla="*/ 16905 h 97290"/>
                <a:gd name="connsiteX9" fmla="*/ 89010 w 107640"/>
                <a:gd name="connsiteY9" fmla="*/ 16905 h 97290"/>
                <a:gd name="connsiteX10" fmla="*/ 63135 w 107640"/>
                <a:gd name="connsiteY10" fmla="*/ 97291 h 97290"/>
                <a:gd name="connsiteX11" fmla="*/ 44505 w 107640"/>
                <a:gd name="connsiteY11" fmla="*/ 97291 h 97290"/>
                <a:gd name="connsiteX12" fmla="*/ 18629 w 107640"/>
                <a:gd name="connsiteY12" fmla="*/ 16905 h 97290"/>
                <a:gd name="connsiteX13" fmla="*/ 18457 w 107640"/>
                <a:gd name="connsiteY13" fmla="*/ 17423 h 97290"/>
                <a:gd name="connsiteX14" fmla="*/ 18457 w 107640"/>
                <a:gd name="connsiteY14" fmla="*/ 97291 h 97290"/>
                <a:gd name="connsiteX15" fmla="*/ 0 w 107640"/>
                <a:gd name="connsiteY15" fmla="*/ 97291 h 97290"/>
                <a:gd name="connsiteX16" fmla="*/ 0 w 107640"/>
                <a:gd name="connsiteY16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7640" h="97290">
                  <a:moveTo>
                    <a:pt x="0" y="0"/>
                  </a:moveTo>
                  <a:lnTo>
                    <a:pt x="30705" y="0"/>
                  </a:lnTo>
                  <a:lnTo>
                    <a:pt x="53648" y="73658"/>
                  </a:lnTo>
                  <a:lnTo>
                    <a:pt x="53993" y="73658"/>
                  </a:lnTo>
                  <a:lnTo>
                    <a:pt x="76935" y="0"/>
                  </a:lnTo>
                  <a:lnTo>
                    <a:pt x="107641" y="0"/>
                  </a:lnTo>
                  <a:lnTo>
                    <a:pt x="107641" y="97291"/>
                  </a:lnTo>
                  <a:lnTo>
                    <a:pt x="89183" y="97291"/>
                  </a:lnTo>
                  <a:lnTo>
                    <a:pt x="89183" y="16905"/>
                  </a:lnTo>
                  <a:lnTo>
                    <a:pt x="89010" y="16905"/>
                  </a:lnTo>
                  <a:lnTo>
                    <a:pt x="63135" y="97291"/>
                  </a:lnTo>
                  <a:lnTo>
                    <a:pt x="44505" y="97291"/>
                  </a:lnTo>
                  <a:lnTo>
                    <a:pt x="18629" y="16905"/>
                  </a:lnTo>
                  <a:lnTo>
                    <a:pt x="18457" y="17423"/>
                  </a:lnTo>
                  <a:lnTo>
                    <a:pt x="18457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8" name="Gráfico 1344">
              <a:extLst>
                <a:ext uri="{FF2B5EF4-FFF2-40B4-BE49-F238E27FC236}">
                  <a16:creationId xmlns:a16="http://schemas.microsoft.com/office/drawing/2014/main" id="{F09C8B76-0711-4533-BCB4-ACB108C6D3A8}"/>
                </a:ext>
              </a:extLst>
            </p:cNvPr>
            <p:cNvSpPr/>
            <p:nvPr/>
          </p:nvSpPr>
          <p:spPr>
            <a:xfrm>
              <a:off x="11333052" y="3203853"/>
              <a:ext cx="64169" cy="76417"/>
            </a:xfrm>
            <a:custGeom>
              <a:avLst/>
              <a:gdLst>
                <a:gd name="connsiteX0" fmla="*/ 7590 w 64169"/>
                <a:gd name="connsiteY0" fmla="*/ 5520 h 76417"/>
                <a:gd name="connsiteX1" fmla="*/ 32258 w 64169"/>
                <a:gd name="connsiteY1" fmla="*/ 0 h 76417"/>
                <a:gd name="connsiteX2" fmla="*/ 62962 w 64169"/>
                <a:gd name="connsiteY2" fmla="*/ 30705 h 76417"/>
                <a:gd name="connsiteX3" fmla="*/ 62962 w 64169"/>
                <a:gd name="connsiteY3" fmla="*/ 40020 h 76417"/>
                <a:gd name="connsiteX4" fmla="*/ 63308 w 64169"/>
                <a:gd name="connsiteY4" fmla="*/ 58305 h 76417"/>
                <a:gd name="connsiteX5" fmla="*/ 64170 w 64169"/>
                <a:gd name="connsiteY5" fmla="*/ 74693 h 76417"/>
                <a:gd name="connsiteX6" fmla="*/ 47955 w 64169"/>
                <a:gd name="connsiteY6" fmla="*/ 74693 h 76417"/>
                <a:gd name="connsiteX7" fmla="*/ 47093 w 64169"/>
                <a:gd name="connsiteY7" fmla="*/ 63825 h 76417"/>
                <a:gd name="connsiteX8" fmla="*/ 46920 w 64169"/>
                <a:gd name="connsiteY8" fmla="*/ 63825 h 76417"/>
                <a:gd name="connsiteX9" fmla="*/ 25012 w 64169"/>
                <a:gd name="connsiteY9" fmla="*/ 76418 h 76417"/>
                <a:gd name="connsiteX10" fmla="*/ 0 w 64169"/>
                <a:gd name="connsiteY10" fmla="*/ 54855 h 76417"/>
                <a:gd name="connsiteX11" fmla="*/ 12074 w 64169"/>
                <a:gd name="connsiteY11" fmla="*/ 34155 h 76417"/>
                <a:gd name="connsiteX12" fmla="*/ 35880 w 64169"/>
                <a:gd name="connsiteY12" fmla="*/ 29843 h 76417"/>
                <a:gd name="connsiteX13" fmla="*/ 46058 w 64169"/>
                <a:gd name="connsiteY13" fmla="*/ 29843 h 76417"/>
                <a:gd name="connsiteX14" fmla="*/ 30015 w 64169"/>
                <a:gd name="connsiteY14" fmla="*/ 14145 h 76417"/>
                <a:gd name="connsiteX15" fmla="*/ 8107 w 64169"/>
                <a:gd name="connsiteY15" fmla="*/ 22080 h 76417"/>
                <a:gd name="connsiteX16" fmla="*/ 7590 w 64169"/>
                <a:gd name="connsiteY16" fmla="*/ 5520 h 76417"/>
                <a:gd name="connsiteX17" fmla="*/ 7590 w 64169"/>
                <a:gd name="connsiteY17" fmla="*/ 5520 h 76417"/>
                <a:gd name="connsiteX18" fmla="*/ 7590 w 64169"/>
                <a:gd name="connsiteY18" fmla="*/ 5520 h 76417"/>
                <a:gd name="connsiteX19" fmla="*/ 29324 w 64169"/>
                <a:gd name="connsiteY19" fmla="*/ 62445 h 76417"/>
                <a:gd name="connsiteX20" fmla="*/ 42262 w 64169"/>
                <a:gd name="connsiteY20" fmla="*/ 55890 h 76417"/>
                <a:gd name="connsiteX21" fmla="*/ 46058 w 64169"/>
                <a:gd name="connsiteY21" fmla="*/ 41055 h 76417"/>
                <a:gd name="connsiteX22" fmla="*/ 37949 w 64169"/>
                <a:gd name="connsiteY22" fmla="*/ 41055 h 76417"/>
                <a:gd name="connsiteX23" fmla="*/ 17422 w 64169"/>
                <a:gd name="connsiteY23" fmla="*/ 53648 h 76417"/>
                <a:gd name="connsiteX24" fmla="*/ 29324 w 64169"/>
                <a:gd name="connsiteY24" fmla="*/ 62445 h 7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69" h="76417">
                  <a:moveTo>
                    <a:pt x="7590" y="5520"/>
                  </a:moveTo>
                  <a:cubicBezTo>
                    <a:pt x="14835" y="2242"/>
                    <a:pt x="24495" y="0"/>
                    <a:pt x="32258" y="0"/>
                  </a:cubicBezTo>
                  <a:cubicBezTo>
                    <a:pt x="53992" y="0"/>
                    <a:pt x="62962" y="9143"/>
                    <a:pt x="62962" y="30705"/>
                  </a:cubicBezTo>
                  <a:lnTo>
                    <a:pt x="62962" y="40020"/>
                  </a:lnTo>
                  <a:cubicBezTo>
                    <a:pt x="62962" y="47438"/>
                    <a:pt x="63135" y="52958"/>
                    <a:pt x="63308" y="58305"/>
                  </a:cubicBezTo>
                  <a:cubicBezTo>
                    <a:pt x="63480" y="63825"/>
                    <a:pt x="63653" y="69001"/>
                    <a:pt x="64170" y="74693"/>
                  </a:cubicBezTo>
                  <a:lnTo>
                    <a:pt x="47955" y="74693"/>
                  </a:lnTo>
                  <a:cubicBezTo>
                    <a:pt x="47265" y="70725"/>
                    <a:pt x="47265" y="65895"/>
                    <a:pt x="47093" y="63825"/>
                  </a:cubicBezTo>
                  <a:lnTo>
                    <a:pt x="46920" y="63825"/>
                  </a:lnTo>
                  <a:cubicBezTo>
                    <a:pt x="42607" y="71933"/>
                    <a:pt x="33293" y="76418"/>
                    <a:pt x="25012" y="76418"/>
                  </a:cubicBezTo>
                  <a:cubicBezTo>
                    <a:pt x="12420" y="76418"/>
                    <a:pt x="0" y="68483"/>
                    <a:pt x="0" y="54855"/>
                  </a:cubicBezTo>
                  <a:cubicBezTo>
                    <a:pt x="0" y="43988"/>
                    <a:pt x="5175" y="37605"/>
                    <a:pt x="12074" y="34155"/>
                  </a:cubicBezTo>
                  <a:cubicBezTo>
                    <a:pt x="19147" y="30705"/>
                    <a:pt x="28289" y="29843"/>
                    <a:pt x="35880" y="29843"/>
                  </a:cubicBezTo>
                  <a:lnTo>
                    <a:pt x="46058" y="29843"/>
                  </a:lnTo>
                  <a:cubicBezTo>
                    <a:pt x="46058" y="18112"/>
                    <a:pt x="40883" y="14145"/>
                    <a:pt x="30015" y="14145"/>
                  </a:cubicBezTo>
                  <a:cubicBezTo>
                    <a:pt x="22080" y="14145"/>
                    <a:pt x="14317" y="17250"/>
                    <a:pt x="8107" y="22080"/>
                  </a:cubicBezTo>
                  <a:lnTo>
                    <a:pt x="7590" y="5520"/>
                  </a:lnTo>
                  <a:lnTo>
                    <a:pt x="7590" y="5520"/>
                  </a:lnTo>
                  <a:lnTo>
                    <a:pt x="7590" y="5520"/>
                  </a:lnTo>
                  <a:close/>
                  <a:moveTo>
                    <a:pt x="29324" y="62445"/>
                  </a:moveTo>
                  <a:cubicBezTo>
                    <a:pt x="35017" y="62445"/>
                    <a:pt x="39330" y="59858"/>
                    <a:pt x="42262" y="55890"/>
                  </a:cubicBezTo>
                  <a:cubicBezTo>
                    <a:pt x="45195" y="51750"/>
                    <a:pt x="46058" y="46575"/>
                    <a:pt x="46058" y="41055"/>
                  </a:cubicBezTo>
                  <a:lnTo>
                    <a:pt x="37949" y="41055"/>
                  </a:lnTo>
                  <a:cubicBezTo>
                    <a:pt x="29670" y="41055"/>
                    <a:pt x="17422" y="42435"/>
                    <a:pt x="17422" y="53648"/>
                  </a:cubicBezTo>
                  <a:cubicBezTo>
                    <a:pt x="17594" y="59858"/>
                    <a:pt x="22769" y="62445"/>
                    <a:pt x="29324" y="62445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09" name="Gráfico 1344">
              <a:extLst>
                <a:ext uri="{FF2B5EF4-FFF2-40B4-BE49-F238E27FC236}">
                  <a16:creationId xmlns:a16="http://schemas.microsoft.com/office/drawing/2014/main" id="{540A5A82-5373-4658-B4F9-A4F6973AAD66}"/>
                </a:ext>
              </a:extLst>
            </p:cNvPr>
            <p:cNvSpPr/>
            <p:nvPr/>
          </p:nvSpPr>
          <p:spPr>
            <a:xfrm>
              <a:off x="11413783" y="3203853"/>
              <a:ext cx="43469" cy="74520"/>
            </a:xfrm>
            <a:custGeom>
              <a:avLst/>
              <a:gdLst>
                <a:gd name="connsiteX0" fmla="*/ 344 w 43469"/>
                <a:gd name="connsiteY0" fmla="*/ 1725 h 74520"/>
                <a:gd name="connsiteX1" fmla="*/ 17250 w 43469"/>
                <a:gd name="connsiteY1" fmla="*/ 1725 h 74520"/>
                <a:gd name="connsiteX2" fmla="*/ 17250 w 43469"/>
                <a:gd name="connsiteY2" fmla="*/ 18285 h 74520"/>
                <a:gd name="connsiteX3" fmla="*/ 17423 w 43469"/>
                <a:gd name="connsiteY3" fmla="*/ 18285 h 74520"/>
                <a:gd name="connsiteX4" fmla="*/ 37432 w 43469"/>
                <a:gd name="connsiteY4" fmla="*/ 0 h 74520"/>
                <a:gd name="connsiteX5" fmla="*/ 43470 w 43469"/>
                <a:gd name="connsiteY5" fmla="*/ 690 h 74520"/>
                <a:gd name="connsiteX6" fmla="*/ 43470 w 43469"/>
                <a:gd name="connsiteY6" fmla="*/ 19838 h 74520"/>
                <a:gd name="connsiteX7" fmla="*/ 34845 w 43469"/>
                <a:gd name="connsiteY7" fmla="*/ 18285 h 74520"/>
                <a:gd name="connsiteX8" fmla="*/ 19147 w 43469"/>
                <a:gd name="connsiteY8" fmla="*/ 47783 h 74520"/>
                <a:gd name="connsiteX9" fmla="*/ 19147 w 43469"/>
                <a:gd name="connsiteY9" fmla="*/ 74520 h 74520"/>
                <a:gd name="connsiteX10" fmla="*/ 0 w 43469"/>
                <a:gd name="connsiteY10" fmla="*/ 74520 h 74520"/>
                <a:gd name="connsiteX11" fmla="*/ 0 w 43469"/>
                <a:gd name="connsiteY11" fmla="*/ 1725 h 74520"/>
                <a:gd name="connsiteX12" fmla="*/ 344 w 43469"/>
                <a:gd name="connsiteY12" fmla="*/ 1725 h 74520"/>
                <a:gd name="connsiteX13" fmla="*/ 344 w 43469"/>
                <a:gd name="connsiteY13" fmla="*/ 1725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69" h="74520">
                  <a:moveTo>
                    <a:pt x="344" y="1725"/>
                  </a:moveTo>
                  <a:lnTo>
                    <a:pt x="17250" y="1725"/>
                  </a:lnTo>
                  <a:lnTo>
                    <a:pt x="17250" y="18285"/>
                  </a:lnTo>
                  <a:lnTo>
                    <a:pt x="17423" y="18285"/>
                  </a:lnTo>
                  <a:cubicBezTo>
                    <a:pt x="18285" y="11558"/>
                    <a:pt x="26048" y="0"/>
                    <a:pt x="37432" y="0"/>
                  </a:cubicBezTo>
                  <a:cubicBezTo>
                    <a:pt x="39157" y="0"/>
                    <a:pt x="41227" y="0"/>
                    <a:pt x="43470" y="690"/>
                  </a:cubicBezTo>
                  <a:lnTo>
                    <a:pt x="43470" y="19838"/>
                  </a:lnTo>
                  <a:cubicBezTo>
                    <a:pt x="41745" y="18803"/>
                    <a:pt x="38122" y="18285"/>
                    <a:pt x="34845" y="18285"/>
                  </a:cubicBezTo>
                  <a:cubicBezTo>
                    <a:pt x="19147" y="18285"/>
                    <a:pt x="19147" y="37433"/>
                    <a:pt x="19147" y="47783"/>
                  </a:cubicBezTo>
                  <a:lnTo>
                    <a:pt x="19147" y="74520"/>
                  </a:lnTo>
                  <a:lnTo>
                    <a:pt x="0" y="74520"/>
                  </a:lnTo>
                  <a:lnTo>
                    <a:pt x="0" y="1725"/>
                  </a:lnTo>
                  <a:lnTo>
                    <a:pt x="344" y="1725"/>
                  </a:lnTo>
                  <a:lnTo>
                    <a:pt x="344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0" name="Gráfico 1344">
              <a:extLst>
                <a:ext uri="{FF2B5EF4-FFF2-40B4-BE49-F238E27FC236}">
                  <a16:creationId xmlns:a16="http://schemas.microsoft.com/office/drawing/2014/main" id="{FE55E5A7-CF90-4264-B71D-6B2D76512E0F}"/>
                </a:ext>
              </a:extLst>
            </p:cNvPr>
            <p:cNvSpPr/>
            <p:nvPr/>
          </p:nvSpPr>
          <p:spPr>
            <a:xfrm>
              <a:off x="11467776" y="3176943"/>
              <a:ext cx="31050" cy="101430"/>
            </a:xfrm>
            <a:custGeom>
              <a:avLst/>
              <a:gdLst>
                <a:gd name="connsiteX0" fmla="*/ 11730 w 31050"/>
                <a:gd name="connsiteY0" fmla="*/ 0 h 101430"/>
                <a:gd name="connsiteX1" fmla="*/ 31050 w 31050"/>
                <a:gd name="connsiteY1" fmla="*/ 0 h 101430"/>
                <a:gd name="connsiteX2" fmla="*/ 11730 w 31050"/>
                <a:gd name="connsiteY2" fmla="*/ 20355 h 101430"/>
                <a:gd name="connsiteX3" fmla="*/ 0 w 31050"/>
                <a:gd name="connsiteY3" fmla="*/ 20355 h 101430"/>
                <a:gd name="connsiteX4" fmla="*/ 11730 w 31050"/>
                <a:gd name="connsiteY4" fmla="*/ 0 h 101430"/>
                <a:gd name="connsiteX5" fmla="*/ 11730 w 31050"/>
                <a:gd name="connsiteY5" fmla="*/ 0 h 101430"/>
                <a:gd name="connsiteX6" fmla="*/ 11730 w 31050"/>
                <a:gd name="connsiteY6" fmla="*/ 0 h 101430"/>
                <a:gd name="connsiteX7" fmla="*/ 862 w 31050"/>
                <a:gd name="connsiteY7" fmla="*/ 30015 h 101430"/>
                <a:gd name="connsiteX8" fmla="*/ 19837 w 31050"/>
                <a:gd name="connsiteY8" fmla="*/ 30015 h 101430"/>
                <a:gd name="connsiteX9" fmla="*/ 19837 w 31050"/>
                <a:gd name="connsiteY9" fmla="*/ 101431 h 101430"/>
                <a:gd name="connsiteX10" fmla="*/ 862 w 31050"/>
                <a:gd name="connsiteY10" fmla="*/ 101431 h 101430"/>
                <a:gd name="connsiteX11" fmla="*/ 862 w 31050"/>
                <a:gd name="connsiteY11" fmla="*/ 30015 h 101430"/>
                <a:gd name="connsiteX12" fmla="*/ 862 w 31050"/>
                <a:gd name="connsiteY12" fmla="*/ 30015 h 101430"/>
                <a:gd name="connsiteX13" fmla="*/ 862 w 31050"/>
                <a:gd name="connsiteY13" fmla="*/ 30015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50" h="101430">
                  <a:moveTo>
                    <a:pt x="11730" y="0"/>
                  </a:moveTo>
                  <a:lnTo>
                    <a:pt x="31050" y="0"/>
                  </a:lnTo>
                  <a:lnTo>
                    <a:pt x="11730" y="20355"/>
                  </a:lnTo>
                  <a:lnTo>
                    <a:pt x="0" y="20355"/>
                  </a:lnTo>
                  <a:lnTo>
                    <a:pt x="11730" y="0"/>
                  </a:lnTo>
                  <a:lnTo>
                    <a:pt x="11730" y="0"/>
                  </a:lnTo>
                  <a:lnTo>
                    <a:pt x="11730" y="0"/>
                  </a:lnTo>
                  <a:close/>
                  <a:moveTo>
                    <a:pt x="862" y="30015"/>
                  </a:moveTo>
                  <a:lnTo>
                    <a:pt x="19837" y="30015"/>
                  </a:lnTo>
                  <a:lnTo>
                    <a:pt x="19837" y="101431"/>
                  </a:lnTo>
                  <a:lnTo>
                    <a:pt x="862" y="101431"/>
                  </a:lnTo>
                  <a:lnTo>
                    <a:pt x="862" y="30015"/>
                  </a:lnTo>
                  <a:lnTo>
                    <a:pt x="862" y="30015"/>
                  </a:lnTo>
                  <a:lnTo>
                    <a:pt x="862" y="3001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1" name="Gráfico 1344">
              <a:extLst>
                <a:ext uri="{FF2B5EF4-FFF2-40B4-BE49-F238E27FC236}">
                  <a16:creationId xmlns:a16="http://schemas.microsoft.com/office/drawing/2014/main" id="{34CBE26C-E254-459D-9CD6-07250E11345B}"/>
                </a:ext>
              </a:extLst>
            </p:cNvPr>
            <p:cNvSpPr/>
            <p:nvPr/>
          </p:nvSpPr>
          <p:spPr>
            <a:xfrm>
              <a:off x="11498826" y="3185051"/>
              <a:ext cx="49680" cy="93150"/>
            </a:xfrm>
            <a:custGeom>
              <a:avLst/>
              <a:gdLst>
                <a:gd name="connsiteX0" fmla="*/ 13455 w 49680"/>
                <a:gd name="connsiteY0" fmla="*/ 33983 h 93150"/>
                <a:gd name="connsiteX1" fmla="*/ 0 w 49680"/>
                <a:gd name="connsiteY1" fmla="*/ 33983 h 93150"/>
                <a:gd name="connsiteX2" fmla="*/ 0 w 49680"/>
                <a:gd name="connsiteY2" fmla="*/ 20355 h 93150"/>
                <a:gd name="connsiteX3" fmla="*/ 13455 w 49680"/>
                <a:gd name="connsiteY3" fmla="*/ 20355 h 93150"/>
                <a:gd name="connsiteX4" fmla="*/ 13455 w 49680"/>
                <a:gd name="connsiteY4" fmla="*/ 6038 h 93150"/>
                <a:gd name="connsiteX5" fmla="*/ 31912 w 49680"/>
                <a:gd name="connsiteY5" fmla="*/ 0 h 93150"/>
                <a:gd name="connsiteX6" fmla="*/ 31912 w 49680"/>
                <a:gd name="connsiteY6" fmla="*/ 20183 h 93150"/>
                <a:gd name="connsiteX7" fmla="*/ 48127 w 49680"/>
                <a:gd name="connsiteY7" fmla="*/ 20183 h 93150"/>
                <a:gd name="connsiteX8" fmla="*/ 48127 w 49680"/>
                <a:gd name="connsiteY8" fmla="*/ 33810 h 93150"/>
                <a:gd name="connsiteX9" fmla="*/ 31912 w 49680"/>
                <a:gd name="connsiteY9" fmla="*/ 33810 h 93150"/>
                <a:gd name="connsiteX10" fmla="*/ 31912 w 49680"/>
                <a:gd name="connsiteY10" fmla="*/ 66931 h 93150"/>
                <a:gd name="connsiteX11" fmla="*/ 40537 w 49680"/>
                <a:gd name="connsiteY11" fmla="*/ 78661 h 93150"/>
                <a:gd name="connsiteX12" fmla="*/ 48990 w 49680"/>
                <a:gd name="connsiteY12" fmla="*/ 76763 h 93150"/>
                <a:gd name="connsiteX13" fmla="*/ 49680 w 49680"/>
                <a:gd name="connsiteY13" fmla="*/ 91426 h 93150"/>
                <a:gd name="connsiteX14" fmla="*/ 36225 w 49680"/>
                <a:gd name="connsiteY14" fmla="*/ 93151 h 93150"/>
                <a:gd name="connsiteX15" fmla="*/ 13800 w 49680"/>
                <a:gd name="connsiteY15" fmla="*/ 70208 h 93150"/>
                <a:gd name="connsiteX16" fmla="*/ 13800 w 49680"/>
                <a:gd name="connsiteY16" fmla="*/ 33810 h 93150"/>
                <a:gd name="connsiteX17" fmla="*/ 13455 w 49680"/>
                <a:gd name="connsiteY17" fmla="*/ 33810 h 93150"/>
                <a:gd name="connsiteX18" fmla="*/ 13455 w 49680"/>
                <a:gd name="connsiteY18" fmla="*/ 33983 h 9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680" h="93150">
                  <a:moveTo>
                    <a:pt x="13455" y="33983"/>
                  </a:moveTo>
                  <a:lnTo>
                    <a:pt x="0" y="33983"/>
                  </a:lnTo>
                  <a:lnTo>
                    <a:pt x="0" y="20355"/>
                  </a:lnTo>
                  <a:lnTo>
                    <a:pt x="13455" y="20355"/>
                  </a:lnTo>
                  <a:lnTo>
                    <a:pt x="13455" y="6038"/>
                  </a:lnTo>
                  <a:lnTo>
                    <a:pt x="31912" y="0"/>
                  </a:lnTo>
                  <a:lnTo>
                    <a:pt x="31912" y="20183"/>
                  </a:lnTo>
                  <a:lnTo>
                    <a:pt x="48127" y="20183"/>
                  </a:lnTo>
                  <a:lnTo>
                    <a:pt x="48127" y="33810"/>
                  </a:lnTo>
                  <a:lnTo>
                    <a:pt x="31912" y="33810"/>
                  </a:lnTo>
                  <a:lnTo>
                    <a:pt x="31912" y="66931"/>
                  </a:lnTo>
                  <a:cubicBezTo>
                    <a:pt x="31912" y="73141"/>
                    <a:pt x="33638" y="78661"/>
                    <a:pt x="40537" y="78661"/>
                  </a:cubicBezTo>
                  <a:cubicBezTo>
                    <a:pt x="43988" y="78661"/>
                    <a:pt x="47093" y="77971"/>
                    <a:pt x="48990" y="76763"/>
                  </a:cubicBezTo>
                  <a:lnTo>
                    <a:pt x="49680" y="91426"/>
                  </a:lnTo>
                  <a:cubicBezTo>
                    <a:pt x="45885" y="92461"/>
                    <a:pt x="41572" y="93151"/>
                    <a:pt x="36225" y="93151"/>
                  </a:cubicBezTo>
                  <a:cubicBezTo>
                    <a:pt x="21907" y="93151"/>
                    <a:pt x="13800" y="84181"/>
                    <a:pt x="13800" y="70208"/>
                  </a:cubicBezTo>
                  <a:lnTo>
                    <a:pt x="13800" y="33810"/>
                  </a:lnTo>
                  <a:lnTo>
                    <a:pt x="13455" y="33810"/>
                  </a:lnTo>
                  <a:lnTo>
                    <a:pt x="13455" y="3398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2" name="Gráfico 1344">
              <a:extLst>
                <a:ext uri="{FF2B5EF4-FFF2-40B4-BE49-F238E27FC236}">
                  <a16:creationId xmlns:a16="http://schemas.microsoft.com/office/drawing/2014/main" id="{F8D1DECE-C588-46A1-9D34-F4193999B33E}"/>
                </a:ext>
              </a:extLst>
            </p:cNvPr>
            <p:cNvSpPr/>
            <p:nvPr/>
          </p:nvSpPr>
          <p:spPr>
            <a:xfrm>
              <a:off x="11560926" y="3174873"/>
              <a:ext cx="18630" cy="103500"/>
            </a:xfrm>
            <a:custGeom>
              <a:avLst/>
              <a:gdLst>
                <a:gd name="connsiteX0" fmla="*/ 0 w 18630"/>
                <a:gd name="connsiteY0" fmla="*/ 0 h 103500"/>
                <a:gd name="connsiteX1" fmla="*/ 18630 w 18630"/>
                <a:gd name="connsiteY1" fmla="*/ 0 h 103500"/>
                <a:gd name="connsiteX2" fmla="*/ 18630 w 18630"/>
                <a:gd name="connsiteY2" fmla="*/ 17940 h 103500"/>
                <a:gd name="connsiteX3" fmla="*/ 0 w 18630"/>
                <a:gd name="connsiteY3" fmla="*/ 17940 h 103500"/>
                <a:gd name="connsiteX4" fmla="*/ 0 w 18630"/>
                <a:gd name="connsiteY4" fmla="*/ 0 h 103500"/>
                <a:gd name="connsiteX5" fmla="*/ 0 w 18630"/>
                <a:gd name="connsiteY5" fmla="*/ 0 h 103500"/>
                <a:gd name="connsiteX6" fmla="*/ 0 w 18630"/>
                <a:gd name="connsiteY6" fmla="*/ 0 h 103500"/>
                <a:gd name="connsiteX7" fmla="*/ 0 w 18630"/>
                <a:gd name="connsiteY7" fmla="*/ 31223 h 103500"/>
                <a:gd name="connsiteX8" fmla="*/ 18630 w 18630"/>
                <a:gd name="connsiteY8" fmla="*/ 31223 h 103500"/>
                <a:gd name="connsiteX9" fmla="*/ 18630 w 18630"/>
                <a:gd name="connsiteY9" fmla="*/ 103501 h 103500"/>
                <a:gd name="connsiteX10" fmla="*/ 0 w 18630"/>
                <a:gd name="connsiteY10" fmla="*/ 103501 h 103500"/>
                <a:gd name="connsiteX11" fmla="*/ 0 w 18630"/>
                <a:gd name="connsiteY11" fmla="*/ 31223 h 103500"/>
                <a:gd name="connsiteX12" fmla="*/ 0 w 18630"/>
                <a:gd name="connsiteY12" fmla="*/ 31223 h 103500"/>
                <a:gd name="connsiteX13" fmla="*/ 0 w 18630"/>
                <a:gd name="connsiteY13" fmla="*/ 3122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30" h="103500">
                  <a:moveTo>
                    <a:pt x="0" y="0"/>
                  </a:moveTo>
                  <a:lnTo>
                    <a:pt x="18630" y="0"/>
                  </a:lnTo>
                  <a:lnTo>
                    <a:pt x="18630" y="17940"/>
                  </a:lnTo>
                  <a:lnTo>
                    <a:pt x="0" y="179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1223"/>
                  </a:moveTo>
                  <a:lnTo>
                    <a:pt x="18630" y="31223"/>
                  </a:lnTo>
                  <a:lnTo>
                    <a:pt x="18630" y="103501"/>
                  </a:lnTo>
                  <a:lnTo>
                    <a:pt x="0" y="103501"/>
                  </a:lnTo>
                  <a:lnTo>
                    <a:pt x="0" y="31223"/>
                  </a:lnTo>
                  <a:lnTo>
                    <a:pt x="0" y="31223"/>
                  </a:lnTo>
                  <a:lnTo>
                    <a:pt x="0" y="312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3" name="Gráfico 1344">
              <a:extLst>
                <a:ext uri="{FF2B5EF4-FFF2-40B4-BE49-F238E27FC236}">
                  <a16:creationId xmlns:a16="http://schemas.microsoft.com/office/drawing/2014/main" id="{033E80C9-E560-4D1D-89FD-6495446B3CCA}"/>
                </a:ext>
              </a:extLst>
            </p:cNvPr>
            <p:cNvSpPr/>
            <p:nvPr/>
          </p:nvSpPr>
          <p:spPr>
            <a:xfrm>
              <a:off x="11598358" y="3203853"/>
              <a:ext cx="105226" cy="74520"/>
            </a:xfrm>
            <a:custGeom>
              <a:avLst/>
              <a:gdLst>
                <a:gd name="connsiteX0" fmla="*/ 0 w 105226"/>
                <a:gd name="connsiteY0" fmla="*/ 1552 h 74520"/>
                <a:gd name="connsiteX1" fmla="*/ 17423 w 105226"/>
                <a:gd name="connsiteY1" fmla="*/ 1552 h 74520"/>
                <a:gd name="connsiteX2" fmla="*/ 17423 w 105226"/>
                <a:gd name="connsiteY2" fmla="*/ 11730 h 74520"/>
                <a:gd name="connsiteX3" fmla="*/ 17595 w 105226"/>
                <a:gd name="connsiteY3" fmla="*/ 11730 h 74520"/>
                <a:gd name="connsiteX4" fmla="*/ 38813 w 105226"/>
                <a:gd name="connsiteY4" fmla="*/ 0 h 74520"/>
                <a:gd name="connsiteX5" fmla="*/ 59858 w 105226"/>
                <a:gd name="connsiteY5" fmla="*/ 12938 h 74520"/>
                <a:gd name="connsiteX6" fmla="*/ 82456 w 105226"/>
                <a:gd name="connsiteY6" fmla="*/ 0 h 74520"/>
                <a:gd name="connsiteX7" fmla="*/ 105226 w 105226"/>
                <a:gd name="connsiteY7" fmla="*/ 28463 h 74520"/>
                <a:gd name="connsiteX8" fmla="*/ 105226 w 105226"/>
                <a:gd name="connsiteY8" fmla="*/ 74520 h 74520"/>
                <a:gd name="connsiteX9" fmla="*/ 86769 w 105226"/>
                <a:gd name="connsiteY9" fmla="*/ 74520 h 74520"/>
                <a:gd name="connsiteX10" fmla="*/ 86769 w 105226"/>
                <a:gd name="connsiteY10" fmla="*/ 31223 h 74520"/>
                <a:gd name="connsiteX11" fmla="*/ 76074 w 105226"/>
                <a:gd name="connsiteY11" fmla="*/ 14835 h 74520"/>
                <a:gd name="connsiteX12" fmla="*/ 62101 w 105226"/>
                <a:gd name="connsiteY12" fmla="*/ 39158 h 74520"/>
                <a:gd name="connsiteX13" fmla="*/ 62101 w 105226"/>
                <a:gd name="connsiteY13" fmla="*/ 74520 h 74520"/>
                <a:gd name="connsiteX14" fmla="*/ 43471 w 105226"/>
                <a:gd name="connsiteY14" fmla="*/ 74520 h 74520"/>
                <a:gd name="connsiteX15" fmla="*/ 43471 w 105226"/>
                <a:gd name="connsiteY15" fmla="*/ 31223 h 74520"/>
                <a:gd name="connsiteX16" fmla="*/ 32776 w 105226"/>
                <a:gd name="connsiteY16" fmla="*/ 14835 h 74520"/>
                <a:gd name="connsiteX17" fmla="*/ 18803 w 105226"/>
                <a:gd name="connsiteY17" fmla="*/ 39158 h 74520"/>
                <a:gd name="connsiteX18" fmla="*/ 18803 w 105226"/>
                <a:gd name="connsiteY18" fmla="*/ 74520 h 74520"/>
                <a:gd name="connsiteX19" fmla="*/ 173 w 105226"/>
                <a:gd name="connsiteY19" fmla="*/ 74520 h 74520"/>
                <a:gd name="connsiteX20" fmla="*/ 173 w 105226"/>
                <a:gd name="connsiteY20" fmla="*/ 1552 h 74520"/>
                <a:gd name="connsiteX21" fmla="*/ 0 w 105226"/>
                <a:gd name="connsiteY21" fmla="*/ 1552 h 74520"/>
                <a:gd name="connsiteX22" fmla="*/ 0 w 105226"/>
                <a:gd name="connsiteY22" fmla="*/ 1552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5226" h="74520">
                  <a:moveTo>
                    <a:pt x="0" y="1552"/>
                  </a:moveTo>
                  <a:lnTo>
                    <a:pt x="17423" y="1552"/>
                  </a:lnTo>
                  <a:lnTo>
                    <a:pt x="17423" y="11730"/>
                  </a:lnTo>
                  <a:lnTo>
                    <a:pt x="17595" y="11730"/>
                  </a:lnTo>
                  <a:cubicBezTo>
                    <a:pt x="23461" y="2760"/>
                    <a:pt x="32086" y="0"/>
                    <a:pt x="38813" y="0"/>
                  </a:cubicBezTo>
                  <a:cubicBezTo>
                    <a:pt x="48991" y="0"/>
                    <a:pt x="56063" y="3967"/>
                    <a:pt x="59858" y="12938"/>
                  </a:cubicBezTo>
                  <a:cubicBezTo>
                    <a:pt x="64171" y="4140"/>
                    <a:pt x="73658" y="0"/>
                    <a:pt x="82456" y="0"/>
                  </a:cubicBezTo>
                  <a:cubicBezTo>
                    <a:pt x="100052" y="0"/>
                    <a:pt x="105226" y="12420"/>
                    <a:pt x="105226" y="28463"/>
                  </a:cubicBezTo>
                  <a:lnTo>
                    <a:pt x="105226" y="74520"/>
                  </a:lnTo>
                  <a:lnTo>
                    <a:pt x="86769" y="74520"/>
                  </a:lnTo>
                  <a:lnTo>
                    <a:pt x="86769" y="31223"/>
                  </a:lnTo>
                  <a:cubicBezTo>
                    <a:pt x="86769" y="24495"/>
                    <a:pt x="86769" y="14835"/>
                    <a:pt x="76074" y="14835"/>
                  </a:cubicBezTo>
                  <a:cubicBezTo>
                    <a:pt x="63653" y="14835"/>
                    <a:pt x="62101" y="29843"/>
                    <a:pt x="62101" y="39158"/>
                  </a:cubicBezTo>
                  <a:lnTo>
                    <a:pt x="62101" y="74520"/>
                  </a:lnTo>
                  <a:lnTo>
                    <a:pt x="43471" y="74520"/>
                  </a:lnTo>
                  <a:lnTo>
                    <a:pt x="43471" y="31223"/>
                  </a:lnTo>
                  <a:cubicBezTo>
                    <a:pt x="43471" y="24495"/>
                    <a:pt x="43471" y="14835"/>
                    <a:pt x="32776" y="14835"/>
                  </a:cubicBezTo>
                  <a:cubicBezTo>
                    <a:pt x="20356" y="14835"/>
                    <a:pt x="18803" y="29843"/>
                    <a:pt x="18803" y="39158"/>
                  </a:cubicBezTo>
                  <a:lnTo>
                    <a:pt x="18803" y="74520"/>
                  </a:lnTo>
                  <a:lnTo>
                    <a:pt x="173" y="74520"/>
                  </a:lnTo>
                  <a:lnTo>
                    <a:pt x="173" y="1552"/>
                  </a:lnTo>
                  <a:lnTo>
                    <a:pt x="0" y="1552"/>
                  </a:lnTo>
                  <a:lnTo>
                    <a:pt x="0" y="155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4" name="Gráfico 1344">
              <a:extLst>
                <a:ext uri="{FF2B5EF4-FFF2-40B4-BE49-F238E27FC236}">
                  <a16:creationId xmlns:a16="http://schemas.microsoft.com/office/drawing/2014/main" id="{0A1E4DD6-59B9-42C6-8328-AEDEF83BF145}"/>
                </a:ext>
              </a:extLst>
            </p:cNvPr>
            <p:cNvSpPr/>
            <p:nvPr/>
          </p:nvSpPr>
          <p:spPr>
            <a:xfrm>
              <a:off x="11718247" y="3203853"/>
              <a:ext cx="74520" cy="74520"/>
            </a:xfrm>
            <a:custGeom>
              <a:avLst/>
              <a:gdLst>
                <a:gd name="connsiteX0" fmla="*/ 37088 w 74520"/>
                <a:gd name="connsiteY0" fmla="*/ 0 h 74520"/>
                <a:gd name="connsiteX1" fmla="*/ 74521 w 74520"/>
                <a:gd name="connsiteY1" fmla="*/ 37605 h 74520"/>
                <a:gd name="connsiteX2" fmla="*/ 37088 w 74520"/>
                <a:gd name="connsiteY2" fmla="*/ 74520 h 74520"/>
                <a:gd name="connsiteX3" fmla="*/ 0 w 74520"/>
                <a:gd name="connsiteY3" fmla="*/ 37605 h 74520"/>
                <a:gd name="connsiteX4" fmla="*/ 37088 w 74520"/>
                <a:gd name="connsiteY4" fmla="*/ 0 h 74520"/>
                <a:gd name="connsiteX5" fmla="*/ 37088 w 74520"/>
                <a:gd name="connsiteY5" fmla="*/ 60030 h 74520"/>
                <a:gd name="connsiteX6" fmla="*/ 55028 w 74520"/>
                <a:gd name="connsiteY6" fmla="*/ 35535 h 74520"/>
                <a:gd name="connsiteX7" fmla="*/ 37088 w 74520"/>
                <a:gd name="connsiteY7" fmla="*/ 14490 h 74520"/>
                <a:gd name="connsiteX8" fmla="*/ 19148 w 74520"/>
                <a:gd name="connsiteY8" fmla="*/ 35535 h 74520"/>
                <a:gd name="connsiteX9" fmla="*/ 37088 w 74520"/>
                <a:gd name="connsiteY9" fmla="*/ 60030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088" y="0"/>
                  </a:moveTo>
                  <a:cubicBezTo>
                    <a:pt x="58306" y="0"/>
                    <a:pt x="74521" y="14317"/>
                    <a:pt x="74521" y="37605"/>
                  </a:cubicBezTo>
                  <a:cubicBezTo>
                    <a:pt x="74521" y="57960"/>
                    <a:pt x="60893" y="74520"/>
                    <a:pt x="37088" y="74520"/>
                  </a:cubicBezTo>
                  <a:cubicBezTo>
                    <a:pt x="13628" y="74520"/>
                    <a:pt x="0" y="58305"/>
                    <a:pt x="0" y="37605"/>
                  </a:cubicBezTo>
                  <a:cubicBezTo>
                    <a:pt x="0" y="14317"/>
                    <a:pt x="16215" y="0"/>
                    <a:pt x="37088" y="0"/>
                  </a:cubicBezTo>
                  <a:moveTo>
                    <a:pt x="37088" y="60030"/>
                  </a:moveTo>
                  <a:cubicBezTo>
                    <a:pt x="51406" y="60030"/>
                    <a:pt x="55028" y="47265"/>
                    <a:pt x="55028" y="35535"/>
                  </a:cubicBezTo>
                  <a:cubicBezTo>
                    <a:pt x="55028" y="24668"/>
                    <a:pt x="49336" y="14490"/>
                    <a:pt x="37088" y="14490"/>
                  </a:cubicBezTo>
                  <a:cubicBezTo>
                    <a:pt x="25186" y="14490"/>
                    <a:pt x="19148" y="24840"/>
                    <a:pt x="19148" y="35535"/>
                  </a:cubicBezTo>
                  <a:cubicBezTo>
                    <a:pt x="19493" y="47265"/>
                    <a:pt x="23116" y="60030"/>
                    <a:pt x="37088" y="60030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5" name="Gráfico 1344">
              <a:extLst>
                <a:ext uri="{FF2B5EF4-FFF2-40B4-BE49-F238E27FC236}">
                  <a16:creationId xmlns:a16="http://schemas.microsoft.com/office/drawing/2014/main" id="{7C0299D7-E277-430E-9A38-861E4A608652}"/>
                </a:ext>
              </a:extLst>
            </p:cNvPr>
            <p:cNvSpPr/>
            <p:nvPr/>
          </p:nvSpPr>
          <p:spPr>
            <a:xfrm>
              <a:off x="10614929" y="3330124"/>
              <a:ext cx="18630" cy="97290"/>
            </a:xfrm>
            <a:custGeom>
              <a:avLst/>
              <a:gdLst>
                <a:gd name="connsiteX0" fmla="*/ 0 w 18630"/>
                <a:gd name="connsiteY0" fmla="*/ 0 h 97290"/>
                <a:gd name="connsiteX1" fmla="*/ 18630 w 18630"/>
                <a:gd name="connsiteY1" fmla="*/ 0 h 97290"/>
                <a:gd name="connsiteX2" fmla="*/ 18630 w 18630"/>
                <a:gd name="connsiteY2" fmla="*/ 97291 h 97290"/>
                <a:gd name="connsiteX3" fmla="*/ 0 w 18630"/>
                <a:gd name="connsiteY3" fmla="*/ 97291 h 97290"/>
                <a:gd name="connsiteX4" fmla="*/ 0 w 18630"/>
                <a:gd name="connsiteY4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30" h="97290">
                  <a:moveTo>
                    <a:pt x="0" y="0"/>
                  </a:moveTo>
                  <a:lnTo>
                    <a:pt x="18630" y="0"/>
                  </a:lnTo>
                  <a:lnTo>
                    <a:pt x="18630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6" name="Gráfico 1344">
              <a:extLst>
                <a:ext uri="{FF2B5EF4-FFF2-40B4-BE49-F238E27FC236}">
                  <a16:creationId xmlns:a16="http://schemas.microsoft.com/office/drawing/2014/main" id="{A4B246F9-460A-4621-9301-5D35DE648AE7}"/>
                </a:ext>
              </a:extLst>
            </p:cNvPr>
            <p:cNvSpPr/>
            <p:nvPr/>
          </p:nvSpPr>
          <p:spPr>
            <a:xfrm>
              <a:off x="10652189" y="3354964"/>
              <a:ext cx="66413" cy="72450"/>
            </a:xfrm>
            <a:custGeom>
              <a:avLst/>
              <a:gdLst>
                <a:gd name="connsiteX0" fmla="*/ 0 w 66413"/>
                <a:gd name="connsiteY0" fmla="*/ 1552 h 72450"/>
                <a:gd name="connsiteX1" fmla="*/ 17768 w 66413"/>
                <a:gd name="connsiteY1" fmla="*/ 1552 h 72450"/>
                <a:gd name="connsiteX2" fmla="*/ 17768 w 66413"/>
                <a:gd name="connsiteY2" fmla="*/ 11212 h 72450"/>
                <a:gd name="connsiteX3" fmla="*/ 17940 w 66413"/>
                <a:gd name="connsiteY3" fmla="*/ 11212 h 72450"/>
                <a:gd name="connsiteX4" fmla="*/ 41746 w 66413"/>
                <a:gd name="connsiteY4" fmla="*/ 0 h 72450"/>
                <a:gd name="connsiteX5" fmla="*/ 66413 w 66413"/>
                <a:gd name="connsiteY5" fmla="*/ 27773 h 72450"/>
                <a:gd name="connsiteX6" fmla="*/ 66413 w 66413"/>
                <a:gd name="connsiteY6" fmla="*/ 72450 h 72450"/>
                <a:gd name="connsiteX7" fmla="*/ 47611 w 66413"/>
                <a:gd name="connsiteY7" fmla="*/ 72450 h 72450"/>
                <a:gd name="connsiteX8" fmla="*/ 47611 w 66413"/>
                <a:gd name="connsiteY8" fmla="*/ 34500 h 72450"/>
                <a:gd name="connsiteX9" fmla="*/ 35535 w 66413"/>
                <a:gd name="connsiteY9" fmla="*/ 14145 h 72450"/>
                <a:gd name="connsiteX10" fmla="*/ 18975 w 66413"/>
                <a:gd name="connsiteY10" fmla="*/ 37605 h 72450"/>
                <a:gd name="connsiteX11" fmla="*/ 18975 w 66413"/>
                <a:gd name="connsiteY11" fmla="*/ 72278 h 72450"/>
                <a:gd name="connsiteX12" fmla="*/ 173 w 66413"/>
                <a:gd name="connsiteY12" fmla="*/ 72278 h 72450"/>
                <a:gd name="connsiteX13" fmla="*/ 173 w 66413"/>
                <a:gd name="connsiteY13" fmla="*/ 1552 h 72450"/>
                <a:gd name="connsiteX14" fmla="*/ 0 w 66413"/>
                <a:gd name="connsiteY14" fmla="*/ 1552 h 72450"/>
                <a:gd name="connsiteX15" fmla="*/ 0 w 66413"/>
                <a:gd name="connsiteY15" fmla="*/ 1552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13" h="72450">
                  <a:moveTo>
                    <a:pt x="0" y="1552"/>
                  </a:moveTo>
                  <a:lnTo>
                    <a:pt x="17768" y="1552"/>
                  </a:lnTo>
                  <a:lnTo>
                    <a:pt x="17768" y="11212"/>
                  </a:lnTo>
                  <a:lnTo>
                    <a:pt x="17940" y="11212"/>
                  </a:lnTo>
                  <a:cubicBezTo>
                    <a:pt x="23805" y="3105"/>
                    <a:pt x="31740" y="0"/>
                    <a:pt x="41746" y="0"/>
                  </a:cubicBezTo>
                  <a:cubicBezTo>
                    <a:pt x="58823" y="0"/>
                    <a:pt x="66413" y="11903"/>
                    <a:pt x="66413" y="27773"/>
                  </a:cubicBezTo>
                  <a:lnTo>
                    <a:pt x="66413" y="72450"/>
                  </a:lnTo>
                  <a:lnTo>
                    <a:pt x="47611" y="72450"/>
                  </a:lnTo>
                  <a:lnTo>
                    <a:pt x="47611" y="34500"/>
                  </a:lnTo>
                  <a:cubicBezTo>
                    <a:pt x="47611" y="25875"/>
                    <a:pt x="47438" y="14145"/>
                    <a:pt x="35535" y="14145"/>
                  </a:cubicBezTo>
                  <a:cubicBezTo>
                    <a:pt x="21908" y="14145"/>
                    <a:pt x="18975" y="28635"/>
                    <a:pt x="18975" y="37605"/>
                  </a:cubicBezTo>
                  <a:lnTo>
                    <a:pt x="18975" y="72278"/>
                  </a:lnTo>
                  <a:lnTo>
                    <a:pt x="173" y="72278"/>
                  </a:lnTo>
                  <a:lnTo>
                    <a:pt x="173" y="1552"/>
                  </a:lnTo>
                  <a:lnTo>
                    <a:pt x="0" y="1552"/>
                  </a:lnTo>
                  <a:lnTo>
                    <a:pt x="0" y="155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7" name="Gráfico 1344">
              <a:extLst>
                <a:ext uri="{FF2B5EF4-FFF2-40B4-BE49-F238E27FC236}">
                  <a16:creationId xmlns:a16="http://schemas.microsoft.com/office/drawing/2014/main" id="{8268172F-4D23-4DD2-884D-8C34A2E488C3}"/>
                </a:ext>
              </a:extLst>
            </p:cNvPr>
            <p:cNvSpPr/>
            <p:nvPr/>
          </p:nvSpPr>
          <p:spPr>
            <a:xfrm>
              <a:off x="10732920" y="3325984"/>
              <a:ext cx="64170" cy="103500"/>
            </a:xfrm>
            <a:custGeom>
              <a:avLst/>
              <a:gdLst>
                <a:gd name="connsiteX0" fmla="*/ 7935 w 64170"/>
                <a:gd name="connsiteY0" fmla="*/ 33810 h 103500"/>
                <a:gd name="connsiteX1" fmla="*/ 32603 w 64170"/>
                <a:gd name="connsiteY1" fmla="*/ 28463 h 103500"/>
                <a:gd name="connsiteX2" fmla="*/ 63136 w 64170"/>
                <a:gd name="connsiteY2" fmla="*/ 58651 h 103500"/>
                <a:gd name="connsiteX3" fmla="*/ 63136 w 64170"/>
                <a:gd name="connsiteY3" fmla="*/ 67793 h 103500"/>
                <a:gd name="connsiteX4" fmla="*/ 63308 w 64170"/>
                <a:gd name="connsiteY4" fmla="*/ 85733 h 103500"/>
                <a:gd name="connsiteX5" fmla="*/ 64170 w 64170"/>
                <a:gd name="connsiteY5" fmla="*/ 101776 h 103500"/>
                <a:gd name="connsiteX6" fmla="*/ 47783 w 64170"/>
                <a:gd name="connsiteY6" fmla="*/ 101776 h 103500"/>
                <a:gd name="connsiteX7" fmla="*/ 46920 w 64170"/>
                <a:gd name="connsiteY7" fmla="*/ 91081 h 103500"/>
                <a:gd name="connsiteX8" fmla="*/ 46748 w 64170"/>
                <a:gd name="connsiteY8" fmla="*/ 91081 h 103500"/>
                <a:gd name="connsiteX9" fmla="*/ 24840 w 64170"/>
                <a:gd name="connsiteY9" fmla="*/ 103501 h 103500"/>
                <a:gd name="connsiteX10" fmla="*/ 0 w 64170"/>
                <a:gd name="connsiteY10" fmla="*/ 82283 h 103500"/>
                <a:gd name="connsiteX11" fmla="*/ 12075 w 64170"/>
                <a:gd name="connsiteY11" fmla="*/ 61928 h 103500"/>
                <a:gd name="connsiteX12" fmla="*/ 35881 w 64170"/>
                <a:gd name="connsiteY12" fmla="*/ 57616 h 103500"/>
                <a:gd name="connsiteX13" fmla="*/ 46058 w 64170"/>
                <a:gd name="connsiteY13" fmla="*/ 57616 h 103500"/>
                <a:gd name="connsiteX14" fmla="*/ 30188 w 64170"/>
                <a:gd name="connsiteY14" fmla="*/ 42263 h 103500"/>
                <a:gd name="connsiteX15" fmla="*/ 8280 w 64170"/>
                <a:gd name="connsiteY15" fmla="*/ 50198 h 103500"/>
                <a:gd name="connsiteX16" fmla="*/ 7935 w 64170"/>
                <a:gd name="connsiteY16" fmla="*/ 33810 h 103500"/>
                <a:gd name="connsiteX17" fmla="*/ 7935 w 64170"/>
                <a:gd name="connsiteY17" fmla="*/ 33810 h 103500"/>
                <a:gd name="connsiteX18" fmla="*/ 7935 w 64170"/>
                <a:gd name="connsiteY18" fmla="*/ 33810 h 103500"/>
                <a:gd name="connsiteX19" fmla="*/ 29498 w 64170"/>
                <a:gd name="connsiteY19" fmla="*/ 89528 h 103500"/>
                <a:gd name="connsiteX20" fmla="*/ 42436 w 64170"/>
                <a:gd name="connsiteY20" fmla="*/ 83146 h 103500"/>
                <a:gd name="connsiteX21" fmla="*/ 46231 w 64170"/>
                <a:gd name="connsiteY21" fmla="*/ 68311 h 103500"/>
                <a:gd name="connsiteX22" fmla="*/ 38123 w 64170"/>
                <a:gd name="connsiteY22" fmla="*/ 68311 h 103500"/>
                <a:gd name="connsiteX23" fmla="*/ 17595 w 64170"/>
                <a:gd name="connsiteY23" fmla="*/ 80731 h 103500"/>
                <a:gd name="connsiteX24" fmla="*/ 29498 w 64170"/>
                <a:gd name="connsiteY24" fmla="*/ 89528 h 103500"/>
                <a:gd name="connsiteX25" fmla="*/ 34673 w 64170"/>
                <a:gd name="connsiteY25" fmla="*/ 0 h 103500"/>
                <a:gd name="connsiteX26" fmla="*/ 53648 w 64170"/>
                <a:gd name="connsiteY26" fmla="*/ 0 h 103500"/>
                <a:gd name="connsiteX27" fmla="*/ 34673 w 64170"/>
                <a:gd name="connsiteY27" fmla="*/ 20355 h 103500"/>
                <a:gd name="connsiteX28" fmla="*/ 23116 w 64170"/>
                <a:gd name="connsiteY28" fmla="*/ 20355 h 103500"/>
                <a:gd name="connsiteX29" fmla="*/ 34673 w 64170"/>
                <a:gd name="connsiteY29" fmla="*/ 0 h 103500"/>
                <a:gd name="connsiteX30" fmla="*/ 34673 w 64170"/>
                <a:gd name="connsiteY30" fmla="*/ 0 h 103500"/>
                <a:gd name="connsiteX31" fmla="*/ 34673 w 64170"/>
                <a:gd name="connsiteY31" fmla="*/ 0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4170" h="103500">
                  <a:moveTo>
                    <a:pt x="7935" y="33810"/>
                  </a:moveTo>
                  <a:cubicBezTo>
                    <a:pt x="15180" y="30533"/>
                    <a:pt x="24668" y="28463"/>
                    <a:pt x="32603" y="28463"/>
                  </a:cubicBezTo>
                  <a:cubicBezTo>
                    <a:pt x="54338" y="28463"/>
                    <a:pt x="63136" y="37433"/>
                    <a:pt x="63136" y="58651"/>
                  </a:cubicBezTo>
                  <a:lnTo>
                    <a:pt x="63136" y="67793"/>
                  </a:lnTo>
                  <a:cubicBezTo>
                    <a:pt x="63136" y="75038"/>
                    <a:pt x="63308" y="80386"/>
                    <a:pt x="63308" y="85733"/>
                  </a:cubicBezTo>
                  <a:cubicBezTo>
                    <a:pt x="63481" y="91081"/>
                    <a:pt x="63653" y="96256"/>
                    <a:pt x="64170" y="101776"/>
                  </a:cubicBezTo>
                  <a:lnTo>
                    <a:pt x="47783" y="101776"/>
                  </a:lnTo>
                  <a:cubicBezTo>
                    <a:pt x="47093" y="97981"/>
                    <a:pt x="47093" y="93151"/>
                    <a:pt x="46920" y="91081"/>
                  </a:cubicBezTo>
                  <a:lnTo>
                    <a:pt x="46748" y="91081"/>
                  </a:lnTo>
                  <a:cubicBezTo>
                    <a:pt x="42436" y="99016"/>
                    <a:pt x="33120" y="103501"/>
                    <a:pt x="24840" y="103501"/>
                  </a:cubicBezTo>
                  <a:cubicBezTo>
                    <a:pt x="12248" y="103501"/>
                    <a:pt x="0" y="96083"/>
                    <a:pt x="0" y="82283"/>
                  </a:cubicBezTo>
                  <a:cubicBezTo>
                    <a:pt x="0" y="71588"/>
                    <a:pt x="5175" y="65378"/>
                    <a:pt x="12075" y="61928"/>
                  </a:cubicBezTo>
                  <a:cubicBezTo>
                    <a:pt x="19148" y="58478"/>
                    <a:pt x="28290" y="57616"/>
                    <a:pt x="35881" y="57616"/>
                  </a:cubicBezTo>
                  <a:lnTo>
                    <a:pt x="46058" y="57616"/>
                  </a:lnTo>
                  <a:cubicBezTo>
                    <a:pt x="46058" y="46058"/>
                    <a:pt x="40883" y="42263"/>
                    <a:pt x="30188" y="42263"/>
                  </a:cubicBezTo>
                  <a:cubicBezTo>
                    <a:pt x="22253" y="42263"/>
                    <a:pt x="14491" y="45196"/>
                    <a:pt x="8280" y="50198"/>
                  </a:cubicBezTo>
                  <a:lnTo>
                    <a:pt x="7935" y="33810"/>
                  </a:lnTo>
                  <a:lnTo>
                    <a:pt x="7935" y="33810"/>
                  </a:lnTo>
                  <a:lnTo>
                    <a:pt x="7935" y="33810"/>
                  </a:lnTo>
                  <a:close/>
                  <a:moveTo>
                    <a:pt x="29498" y="89528"/>
                  </a:moveTo>
                  <a:cubicBezTo>
                    <a:pt x="35190" y="89528"/>
                    <a:pt x="39503" y="86941"/>
                    <a:pt x="42436" y="83146"/>
                  </a:cubicBezTo>
                  <a:cubicBezTo>
                    <a:pt x="45368" y="79006"/>
                    <a:pt x="46231" y="74003"/>
                    <a:pt x="46231" y="68311"/>
                  </a:cubicBezTo>
                  <a:lnTo>
                    <a:pt x="38123" y="68311"/>
                  </a:lnTo>
                  <a:cubicBezTo>
                    <a:pt x="29843" y="68311"/>
                    <a:pt x="17595" y="69518"/>
                    <a:pt x="17595" y="80731"/>
                  </a:cubicBezTo>
                  <a:cubicBezTo>
                    <a:pt x="17768" y="86768"/>
                    <a:pt x="22943" y="89528"/>
                    <a:pt x="29498" y="89528"/>
                  </a:cubicBezTo>
                  <a:moveTo>
                    <a:pt x="34673" y="0"/>
                  </a:moveTo>
                  <a:lnTo>
                    <a:pt x="53648" y="0"/>
                  </a:lnTo>
                  <a:lnTo>
                    <a:pt x="34673" y="20355"/>
                  </a:lnTo>
                  <a:lnTo>
                    <a:pt x="23116" y="20355"/>
                  </a:lnTo>
                  <a:lnTo>
                    <a:pt x="34673" y="0"/>
                  </a:lnTo>
                  <a:lnTo>
                    <a:pt x="34673" y="0"/>
                  </a:lnTo>
                  <a:lnTo>
                    <a:pt x="34673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8" name="Gráfico 1344">
              <a:extLst>
                <a:ext uri="{FF2B5EF4-FFF2-40B4-BE49-F238E27FC236}">
                  <a16:creationId xmlns:a16="http://schemas.microsoft.com/office/drawing/2014/main" id="{A60E19F5-FC0F-481C-B9E1-C73433CA5812}"/>
                </a:ext>
              </a:extLst>
            </p:cNvPr>
            <p:cNvSpPr/>
            <p:nvPr/>
          </p:nvSpPr>
          <p:spPr>
            <a:xfrm>
              <a:off x="10809510" y="3354964"/>
              <a:ext cx="53820" cy="74520"/>
            </a:xfrm>
            <a:custGeom>
              <a:avLst/>
              <a:gdLst>
                <a:gd name="connsiteX0" fmla="*/ 50888 w 53820"/>
                <a:gd name="connsiteY0" fmla="*/ 16733 h 74520"/>
                <a:gd name="connsiteX1" fmla="*/ 38295 w 53820"/>
                <a:gd name="connsiteY1" fmla="*/ 14145 h 74520"/>
                <a:gd name="connsiteX2" fmla="*/ 19493 w 53820"/>
                <a:gd name="connsiteY2" fmla="*/ 36743 h 74520"/>
                <a:gd name="connsiteX3" fmla="*/ 38641 w 53820"/>
                <a:gd name="connsiteY3" fmla="*/ 60030 h 74520"/>
                <a:gd name="connsiteX4" fmla="*/ 52958 w 53820"/>
                <a:gd name="connsiteY4" fmla="*/ 56753 h 74520"/>
                <a:gd name="connsiteX5" fmla="*/ 53820 w 53820"/>
                <a:gd name="connsiteY5" fmla="*/ 72105 h 74520"/>
                <a:gd name="connsiteX6" fmla="*/ 35190 w 53820"/>
                <a:gd name="connsiteY6" fmla="*/ 74520 h 74520"/>
                <a:gd name="connsiteX7" fmla="*/ 0 w 53820"/>
                <a:gd name="connsiteY7" fmla="*/ 36915 h 74520"/>
                <a:gd name="connsiteX8" fmla="*/ 34328 w 53820"/>
                <a:gd name="connsiteY8" fmla="*/ 0 h 74520"/>
                <a:gd name="connsiteX9" fmla="*/ 52268 w 53820"/>
                <a:gd name="connsiteY9" fmla="*/ 2415 h 74520"/>
                <a:gd name="connsiteX10" fmla="*/ 50888 w 53820"/>
                <a:gd name="connsiteY10" fmla="*/ 16733 h 74520"/>
                <a:gd name="connsiteX11" fmla="*/ 50888 w 53820"/>
                <a:gd name="connsiteY11" fmla="*/ 16733 h 74520"/>
                <a:gd name="connsiteX12" fmla="*/ 50888 w 53820"/>
                <a:gd name="connsiteY12" fmla="*/ 1673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20" h="74520">
                  <a:moveTo>
                    <a:pt x="50888" y="16733"/>
                  </a:moveTo>
                  <a:cubicBezTo>
                    <a:pt x="47438" y="15180"/>
                    <a:pt x="43988" y="14145"/>
                    <a:pt x="38295" y="14145"/>
                  </a:cubicBezTo>
                  <a:cubicBezTo>
                    <a:pt x="26738" y="14145"/>
                    <a:pt x="19493" y="23288"/>
                    <a:pt x="19493" y="36743"/>
                  </a:cubicBezTo>
                  <a:cubicBezTo>
                    <a:pt x="19493" y="49853"/>
                    <a:pt x="25703" y="60030"/>
                    <a:pt x="38641" y="60030"/>
                  </a:cubicBezTo>
                  <a:cubicBezTo>
                    <a:pt x="43988" y="60030"/>
                    <a:pt x="49680" y="58133"/>
                    <a:pt x="52958" y="56753"/>
                  </a:cubicBezTo>
                  <a:lnTo>
                    <a:pt x="53820" y="72105"/>
                  </a:lnTo>
                  <a:cubicBezTo>
                    <a:pt x="48473" y="73831"/>
                    <a:pt x="42953" y="74520"/>
                    <a:pt x="35190" y="74520"/>
                  </a:cubicBezTo>
                  <a:cubicBezTo>
                    <a:pt x="11903" y="74520"/>
                    <a:pt x="0" y="58478"/>
                    <a:pt x="0" y="36915"/>
                  </a:cubicBezTo>
                  <a:cubicBezTo>
                    <a:pt x="0" y="16215"/>
                    <a:pt x="12248" y="0"/>
                    <a:pt x="34328" y="0"/>
                  </a:cubicBezTo>
                  <a:cubicBezTo>
                    <a:pt x="41746" y="0"/>
                    <a:pt x="47093" y="863"/>
                    <a:pt x="52268" y="2415"/>
                  </a:cubicBezTo>
                  <a:lnTo>
                    <a:pt x="50888" y="16733"/>
                  </a:lnTo>
                  <a:lnTo>
                    <a:pt x="50888" y="16733"/>
                  </a:lnTo>
                  <a:lnTo>
                    <a:pt x="50888" y="167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19" name="Gráfico 1344">
              <a:extLst>
                <a:ext uri="{FF2B5EF4-FFF2-40B4-BE49-F238E27FC236}">
                  <a16:creationId xmlns:a16="http://schemas.microsoft.com/office/drawing/2014/main" id="{C7BDB67B-B254-48CF-9A74-3D530BE2042E}"/>
                </a:ext>
              </a:extLst>
            </p:cNvPr>
            <p:cNvSpPr/>
            <p:nvPr/>
          </p:nvSpPr>
          <p:spPr>
            <a:xfrm>
              <a:off x="10875751" y="3325984"/>
              <a:ext cx="18630" cy="101430"/>
            </a:xfrm>
            <a:custGeom>
              <a:avLst/>
              <a:gdLst>
                <a:gd name="connsiteX0" fmla="*/ 0 w 18630"/>
                <a:gd name="connsiteY0" fmla="*/ 0 h 101430"/>
                <a:gd name="connsiteX1" fmla="*/ 18630 w 18630"/>
                <a:gd name="connsiteY1" fmla="*/ 0 h 101430"/>
                <a:gd name="connsiteX2" fmla="*/ 18630 w 18630"/>
                <a:gd name="connsiteY2" fmla="*/ 17595 h 101430"/>
                <a:gd name="connsiteX3" fmla="*/ 0 w 18630"/>
                <a:gd name="connsiteY3" fmla="*/ 17595 h 101430"/>
                <a:gd name="connsiteX4" fmla="*/ 0 w 18630"/>
                <a:gd name="connsiteY4" fmla="*/ 0 h 101430"/>
                <a:gd name="connsiteX5" fmla="*/ 0 w 18630"/>
                <a:gd name="connsiteY5" fmla="*/ 0 h 101430"/>
                <a:gd name="connsiteX6" fmla="*/ 0 w 18630"/>
                <a:gd name="connsiteY6" fmla="*/ 0 h 101430"/>
                <a:gd name="connsiteX7" fmla="*/ 0 w 18630"/>
                <a:gd name="connsiteY7" fmla="*/ 30533 h 101430"/>
                <a:gd name="connsiteX8" fmla="*/ 18630 w 18630"/>
                <a:gd name="connsiteY8" fmla="*/ 30533 h 101430"/>
                <a:gd name="connsiteX9" fmla="*/ 18630 w 18630"/>
                <a:gd name="connsiteY9" fmla="*/ 101431 h 101430"/>
                <a:gd name="connsiteX10" fmla="*/ 0 w 18630"/>
                <a:gd name="connsiteY10" fmla="*/ 101431 h 101430"/>
                <a:gd name="connsiteX11" fmla="*/ 0 w 18630"/>
                <a:gd name="connsiteY11" fmla="*/ 30533 h 101430"/>
                <a:gd name="connsiteX12" fmla="*/ 0 w 18630"/>
                <a:gd name="connsiteY12" fmla="*/ 30533 h 101430"/>
                <a:gd name="connsiteX13" fmla="*/ 0 w 18630"/>
                <a:gd name="connsiteY13" fmla="*/ 30533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30" h="101430">
                  <a:moveTo>
                    <a:pt x="0" y="0"/>
                  </a:moveTo>
                  <a:lnTo>
                    <a:pt x="18630" y="0"/>
                  </a:lnTo>
                  <a:lnTo>
                    <a:pt x="18630" y="17595"/>
                  </a:lnTo>
                  <a:lnTo>
                    <a:pt x="0" y="1759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30533"/>
                  </a:moveTo>
                  <a:lnTo>
                    <a:pt x="18630" y="30533"/>
                  </a:lnTo>
                  <a:lnTo>
                    <a:pt x="18630" y="101431"/>
                  </a:lnTo>
                  <a:lnTo>
                    <a:pt x="0" y="101431"/>
                  </a:lnTo>
                  <a:lnTo>
                    <a:pt x="0" y="30533"/>
                  </a:lnTo>
                  <a:lnTo>
                    <a:pt x="0" y="30533"/>
                  </a:lnTo>
                  <a:lnTo>
                    <a:pt x="0" y="305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0" name="Gráfico 1344">
              <a:extLst>
                <a:ext uri="{FF2B5EF4-FFF2-40B4-BE49-F238E27FC236}">
                  <a16:creationId xmlns:a16="http://schemas.microsoft.com/office/drawing/2014/main" id="{6777132A-E050-49C8-A2BF-2319D4607D5D}"/>
                </a:ext>
              </a:extLst>
            </p:cNvPr>
            <p:cNvSpPr/>
            <p:nvPr/>
          </p:nvSpPr>
          <p:spPr>
            <a:xfrm>
              <a:off x="10910941" y="3354964"/>
              <a:ext cx="74520" cy="74520"/>
            </a:xfrm>
            <a:custGeom>
              <a:avLst/>
              <a:gdLst>
                <a:gd name="connsiteX0" fmla="*/ 37088 w 74520"/>
                <a:gd name="connsiteY0" fmla="*/ 0 h 74520"/>
                <a:gd name="connsiteX1" fmla="*/ 74521 w 74520"/>
                <a:gd name="connsiteY1" fmla="*/ 37605 h 74520"/>
                <a:gd name="connsiteX2" fmla="*/ 37088 w 74520"/>
                <a:gd name="connsiteY2" fmla="*/ 74520 h 74520"/>
                <a:gd name="connsiteX3" fmla="*/ 0 w 74520"/>
                <a:gd name="connsiteY3" fmla="*/ 37605 h 74520"/>
                <a:gd name="connsiteX4" fmla="*/ 37088 w 74520"/>
                <a:gd name="connsiteY4" fmla="*/ 0 h 74520"/>
                <a:gd name="connsiteX5" fmla="*/ 37088 w 74520"/>
                <a:gd name="connsiteY5" fmla="*/ 60203 h 74520"/>
                <a:gd name="connsiteX6" fmla="*/ 55028 w 74520"/>
                <a:gd name="connsiteY6" fmla="*/ 35708 h 74520"/>
                <a:gd name="connsiteX7" fmla="*/ 37088 w 74520"/>
                <a:gd name="connsiteY7" fmla="*/ 14663 h 74520"/>
                <a:gd name="connsiteX8" fmla="*/ 19148 w 74520"/>
                <a:gd name="connsiteY8" fmla="*/ 35708 h 74520"/>
                <a:gd name="connsiteX9" fmla="*/ 37088 w 74520"/>
                <a:gd name="connsiteY9" fmla="*/ 6020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088" y="0"/>
                  </a:moveTo>
                  <a:cubicBezTo>
                    <a:pt x="58306" y="0"/>
                    <a:pt x="74521" y="14318"/>
                    <a:pt x="74521" y="37605"/>
                  </a:cubicBezTo>
                  <a:cubicBezTo>
                    <a:pt x="74521" y="57960"/>
                    <a:pt x="60893" y="74520"/>
                    <a:pt x="37088" y="74520"/>
                  </a:cubicBezTo>
                  <a:cubicBezTo>
                    <a:pt x="13628" y="74520"/>
                    <a:pt x="0" y="58133"/>
                    <a:pt x="0" y="37605"/>
                  </a:cubicBezTo>
                  <a:cubicBezTo>
                    <a:pt x="0" y="14318"/>
                    <a:pt x="16215" y="0"/>
                    <a:pt x="37088" y="0"/>
                  </a:cubicBezTo>
                  <a:moveTo>
                    <a:pt x="37088" y="60203"/>
                  </a:moveTo>
                  <a:cubicBezTo>
                    <a:pt x="51406" y="60203"/>
                    <a:pt x="55028" y="47438"/>
                    <a:pt x="55028" y="35708"/>
                  </a:cubicBezTo>
                  <a:cubicBezTo>
                    <a:pt x="55028" y="24840"/>
                    <a:pt x="49336" y="14663"/>
                    <a:pt x="37088" y="14663"/>
                  </a:cubicBezTo>
                  <a:cubicBezTo>
                    <a:pt x="24840" y="14663"/>
                    <a:pt x="19148" y="25013"/>
                    <a:pt x="19148" y="35708"/>
                  </a:cubicBezTo>
                  <a:cubicBezTo>
                    <a:pt x="19148" y="47265"/>
                    <a:pt x="23115" y="60203"/>
                    <a:pt x="37088" y="602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1" name="Gráfico 1344">
              <a:extLst>
                <a:ext uri="{FF2B5EF4-FFF2-40B4-BE49-F238E27FC236}">
                  <a16:creationId xmlns:a16="http://schemas.microsoft.com/office/drawing/2014/main" id="{10A2E098-0189-4164-88D6-5DE223BA7796}"/>
                </a:ext>
              </a:extLst>
            </p:cNvPr>
            <p:cNvSpPr/>
            <p:nvPr/>
          </p:nvSpPr>
          <p:spPr>
            <a:xfrm>
              <a:off x="11039282" y="3332194"/>
              <a:ext cx="68483" cy="95220"/>
            </a:xfrm>
            <a:custGeom>
              <a:avLst/>
              <a:gdLst>
                <a:gd name="connsiteX0" fmla="*/ 0 w 68483"/>
                <a:gd name="connsiteY0" fmla="*/ 0 h 95220"/>
                <a:gd name="connsiteX1" fmla="*/ 33983 w 68483"/>
                <a:gd name="connsiteY1" fmla="*/ 0 h 95220"/>
                <a:gd name="connsiteX2" fmla="*/ 65378 w 68483"/>
                <a:gd name="connsiteY2" fmla="*/ 24495 h 95220"/>
                <a:gd name="connsiteX3" fmla="*/ 46058 w 68483"/>
                <a:gd name="connsiteY3" fmla="*/ 45713 h 95220"/>
                <a:gd name="connsiteX4" fmla="*/ 46058 w 68483"/>
                <a:gd name="connsiteY4" fmla="*/ 45885 h 95220"/>
                <a:gd name="connsiteX5" fmla="*/ 68483 w 68483"/>
                <a:gd name="connsiteY5" fmla="*/ 67621 h 95220"/>
                <a:gd name="connsiteX6" fmla="*/ 34155 w 68483"/>
                <a:gd name="connsiteY6" fmla="*/ 95221 h 95220"/>
                <a:gd name="connsiteX7" fmla="*/ 173 w 68483"/>
                <a:gd name="connsiteY7" fmla="*/ 95221 h 95220"/>
                <a:gd name="connsiteX8" fmla="*/ 173 w 68483"/>
                <a:gd name="connsiteY8" fmla="*/ 0 h 95220"/>
                <a:gd name="connsiteX9" fmla="*/ 0 w 68483"/>
                <a:gd name="connsiteY9" fmla="*/ 0 h 95220"/>
                <a:gd name="connsiteX10" fmla="*/ 0 w 68483"/>
                <a:gd name="connsiteY10" fmla="*/ 0 h 95220"/>
                <a:gd name="connsiteX11" fmla="*/ 19320 w 68483"/>
                <a:gd name="connsiteY11" fmla="*/ 38468 h 95220"/>
                <a:gd name="connsiteX12" fmla="*/ 27255 w 68483"/>
                <a:gd name="connsiteY12" fmla="*/ 38468 h 95220"/>
                <a:gd name="connsiteX13" fmla="*/ 45713 w 68483"/>
                <a:gd name="connsiteY13" fmla="*/ 26910 h 95220"/>
                <a:gd name="connsiteX14" fmla="*/ 26737 w 68483"/>
                <a:gd name="connsiteY14" fmla="*/ 14835 h 95220"/>
                <a:gd name="connsiteX15" fmla="*/ 19148 w 68483"/>
                <a:gd name="connsiteY15" fmla="*/ 14835 h 95220"/>
                <a:gd name="connsiteX16" fmla="*/ 19148 w 68483"/>
                <a:gd name="connsiteY16" fmla="*/ 38468 h 95220"/>
                <a:gd name="connsiteX17" fmla="*/ 19320 w 68483"/>
                <a:gd name="connsiteY17" fmla="*/ 38468 h 95220"/>
                <a:gd name="connsiteX18" fmla="*/ 19320 w 68483"/>
                <a:gd name="connsiteY18" fmla="*/ 38468 h 95220"/>
                <a:gd name="connsiteX19" fmla="*/ 19320 w 68483"/>
                <a:gd name="connsiteY19" fmla="*/ 80213 h 95220"/>
                <a:gd name="connsiteX20" fmla="*/ 28635 w 68483"/>
                <a:gd name="connsiteY20" fmla="*/ 80213 h 95220"/>
                <a:gd name="connsiteX21" fmla="*/ 48645 w 68483"/>
                <a:gd name="connsiteY21" fmla="*/ 66931 h 95220"/>
                <a:gd name="connsiteX22" fmla="*/ 28635 w 68483"/>
                <a:gd name="connsiteY22" fmla="*/ 52613 h 95220"/>
                <a:gd name="connsiteX23" fmla="*/ 19320 w 68483"/>
                <a:gd name="connsiteY23" fmla="*/ 52613 h 95220"/>
                <a:gd name="connsiteX24" fmla="*/ 19320 w 68483"/>
                <a:gd name="connsiteY24" fmla="*/ 80213 h 95220"/>
                <a:gd name="connsiteX25" fmla="*/ 19320 w 68483"/>
                <a:gd name="connsiteY25" fmla="*/ 80213 h 95220"/>
                <a:gd name="connsiteX26" fmla="*/ 19320 w 68483"/>
                <a:gd name="connsiteY26" fmla="*/ 80213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8483" h="95220">
                  <a:moveTo>
                    <a:pt x="0" y="0"/>
                  </a:moveTo>
                  <a:lnTo>
                    <a:pt x="33983" y="0"/>
                  </a:lnTo>
                  <a:cubicBezTo>
                    <a:pt x="46403" y="0"/>
                    <a:pt x="65378" y="3623"/>
                    <a:pt x="65378" y="24495"/>
                  </a:cubicBezTo>
                  <a:cubicBezTo>
                    <a:pt x="65378" y="35880"/>
                    <a:pt x="57615" y="43815"/>
                    <a:pt x="46058" y="45713"/>
                  </a:cubicBezTo>
                  <a:lnTo>
                    <a:pt x="46058" y="45885"/>
                  </a:lnTo>
                  <a:cubicBezTo>
                    <a:pt x="59340" y="47093"/>
                    <a:pt x="68483" y="56063"/>
                    <a:pt x="68483" y="67621"/>
                  </a:cubicBezTo>
                  <a:cubicBezTo>
                    <a:pt x="68483" y="91598"/>
                    <a:pt x="46403" y="95221"/>
                    <a:pt x="34155" y="95221"/>
                  </a:cubicBezTo>
                  <a:lnTo>
                    <a:pt x="173" y="95221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19320" y="38468"/>
                  </a:moveTo>
                  <a:lnTo>
                    <a:pt x="27255" y="38468"/>
                  </a:lnTo>
                  <a:cubicBezTo>
                    <a:pt x="35363" y="38468"/>
                    <a:pt x="45713" y="36570"/>
                    <a:pt x="45713" y="26910"/>
                  </a:cubicBezTo>
                  <a:cubicBezTo>
                    <a:pt x="45713" y="15698"/>
                    <a:pt x="35881" y="14835"/>
                    <a:pt x="26737" y="14835"/>
                  </a:cubicBezTo>
                  <a:lnTo>
                    <a:pt x="19148" y="14835"/>
                  </a:lnTo>
                  <a:lnTo>
                    <a:pt x="19148" y="38468"/>
                  </a:lnTo>
                  <a:lnTo>
                    <a:pt x="19320" y="38468"/>
                  </a:lnTo>
                  <a:lnTo>
                    <a:pt x="19320" y="38468"/>
                  </a:lnTo>
                  <a:close/>
                  <a:moveTo>
                    <a:pt x="19320" y="80213"/>
                  </a:moveTo>
                  <a:lnTo>
                    <a:pt x="28635" y="80213"/>
                  </a:lnTo>
                  <a:cubicBezTo>
                    <a:pt x="37605" y="80213"/>
                    <a:pt x="48645" y="78143"/>
                    <a:pt x="48645" y="66931"/>
                  </a:cubicBezTo>
                  <a:cubicBezTo>
                    <a:pt x="48645" y="54510"/>
                    <a:pt x="38295" y="52613"/>
                    <a:pt x="28635" y="52613"/>
                  </a:cubicBezTo>
                  <a:lnTo>
                    <a:pt x="19320" y="52613"/>
                  </a:lnTo>
                  <a:lnTo>
                    <a:pt x="19320" y="80213"/>
                  </a:lnTo>
                  <a:lnTo>
                    <a:pt x="19320" y="80213"/>
                  </a:lnTo>
                  <a:lnTo>
                    <a:pt x="19320" y="802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2" name="Gráfico 1344">
              <a:extLst>
                <a:ext uri="{FF2B5EF4-FFF2-40B4-BE49-F238E27FC236}">
                  <a16:creationId xmlns:a16="http://schemas.microsoft.com/office/drawing/2014/main" id="{36BBF48B-C8CE-42C8-B3BD-A0EBC6D4B46D}"/>
                </a:ext>
              </a:extLst>
            </p:cNvPr>
            <p:cNvSpPr/>
            <p:nvPr/>
          </p:nvSpPr>
          <p:spPr>
            <a:xfrm>
              <a:off x="11117943" y="3354964"/>
              <a:ext cx="64170" cy="74347"/>
            </a:xfrm>
            <a:custGeom>
              <a:avLst/>
              <a:gdLst>
                <a:gd name="connsiteX0" fmla="*/ 7935 w 64170"/>
                <a:gd name="connsiteY0" fmla="*/ 5347 h 74347"/>
                <a:gd name="connsiteX1" fmla="*/ 32603 w 64170"/>
                <a:gd name="connsiteY1" fmla="*/ 0 h 74347"/>
                <a:gd name="connsiteX2" fmla="*/ 63136 w 64170"/>
                <a:gd name="connsiteY2" fmla="*/ 30015 h 74347"/>
                <a:gd name="connsiteX3" fmla="*/ 63136 w 64170"/>
                <a:gd name="connsiteY3" fmla="*/ 39158 h 74347"/>
                <a:gd name="connsiteX4" fmla="*/ 63308 w 64170"/>
                <a:gd name="connsiteY4" fmla="*/ 56925 h 74347"/>
                <a:gd name="connsiteX5" fmla="*/ 64170 w 64170"/>
                <a:gd name="connsiteY5" fmla="*/ 72796 h 74347"/>
                <a:gd name="connsiteX6" fmla="*/ 47783 w 64170"/>
                <a:gd name="connsiteY6" fmla="*/ 72796 h 74347"/>
                <a:gd name="connsiteX7" fmla="*/ 46920 w 64170"/>
                <a:gd name="connsiteY7" fmla="*/ 62101 h 74347"/>
                <a:gd name="connsiteX8" fmla="*/ 46748 w 64170"/>
                <a:gd name="connsiteY8" fmla="*/ 62101 h 74347"/>
                <a:gd name="connsiteX9" fmla="*/ 24840 w 64170"/>
                <a:gd name="connsiteY9" fmla="*/ 74348 h 74347"/>
                <a:gd name="connsiteX10" fmla="*/ 0 w 64170"/>
                <a:gd name="connsiteY10" fmla="*/ 53303 h 74347"/>
                <a:gd name="connsiteX11" fmla="*/ 12075 w 64170"/>
                <a:gd name="connsiteY11" fmla="*/ 33120 h 74347"/>
                <a:gd name="connsiteX12" fmla="*/ 35881 w 64170"/>
                <a:gd name="connsiteY12" fmla="*/ 28808 h 74347"/>
                <a:gd name="connsiteX13" fmla="*/ 46058 w 64170"/>
                <a:gd name="connsiteY13" fmla="*/ 28808 h 74347"/>
                <a:gd name="connsiteX14" fmla="*/ 30188 w 64170"/>
                <a:gd name="connsiteY14" fmla="*/ 13455 h 74347"/>
                <a:gd name="connsiteX15" fmla="*/ 8280 w 64170"/>
                <a:gd name="connsiteY15" fmla="*/ 21045 h 74347"/>
                <a:gd name="connsiteX16" fmla="*/ 7935 w 64170"/>
                <a:gd name="connsiteY16" fmla="*/ 5347 h 74347"/>
                <a:gd name="connsiteX17" fmla="*/ 7935 w 64170"/>
                <a:gd name="connsiteY17" fmla="*/ 5347 h 74347"/>
                <a:gd name="connsiteX18" fmla="*/ 7935 w 64170"/>
                <a:gd name="connsiteY18" fmla="*/ 5347 h 74347"/>
                <a:gd name="connsiteX19" fmla="*/ 29498 w 64170"/>
                <a:gd name="connsiteY19" fmla="*/ 60721 h 74347"/>
                <a:gd name="connsiteX20" fmla="*/ 42435 w 64170"/>
                <a:gd name="connsiteY20" fmla="*/ 54338 h 74347"/>
                <a:gd name="connsiteX21" fmla="*/ 46230 w 64170"/>
                <a:gd name="connsiteY21" fmla="*/ 39848 h 74347"/>
                <a:gd name="connsiteX22" fmla="*/ 38123 w 64170"/>
                <a:gd name="connsiteY22" fmla="*/ 39848 h 74347"/>
                <a:gd name="connsiteX23" fmla="*/ 17768 w 64170"/>
                <a:gd name="connsiteY23" fmla="*/ 52095 h 74347"/>
                <a:gd name="connsiteX24" fmla="*/ 29498 w 64170"/>
                <a:gd name="connsiteY24" fmla="*/ 60721 h 7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4347">
                  <a:moveTo>
                    <a:pt x="7935" y="5347"/>
                  </a:moveTo>
                  <a:cubicBezTo>
                    <a:pt x="15180" y="2243"/>
                    <a:pt x="24668" y="0"/>
                    <a:pt x="32603" y="0"/>
                  </a:cubicBezTo>
                  <a:cubicBezTo>
                    <a:pt x="54338" y="0"/>
                    <a:pt x="63136" y="8970"/>
                    <a:pt x="63136" y="30015"/>
                  </a:cubicBezTo>
                  <a:lnTo>
                    <a:pt x="63136" y="39158"/>
                  </a:lnTo>
                  <a:cubicBezTo>
                    <a:pt x="63136" y="46403"/>
                    <a:pt x="63308" y="51750"/>
                    <a:pt x="63308" y="56925"/>
                  </a:cubicBezTo>
                  <a:cubicBezTo>
                    <a:pt x="63480" y="62273"/>
                    <a:pt x="63653" y="67275"/>
                    <a:pt x="64170" y="72796"/>
                  </a:cubicBezTo>
                  <a:lnTo>
                    <a:pt x="47783" y="72796"/>
                  </a:lnTo>
                  <a:cubicBezTo>
                    <a:pt x="47093" y="69001"/>
                    <a:pt x="47093" y="64343"/>
                    <a:pt x="46920" y="62101"/>
                  </a:cubicBezTo>
                  <a:lnTo>
                    <a:pt x="46748" y="62101"/>
                  </a:lnTo>
                  <a:cubicBezTo>
                    <a:pt x="42435" y="70035"/>
                    <a:pt x="33120" y="74348"/>
                    <a:pt x="24840" y="74348"/>
                  </a:cubicBezTo>
                  <a:cubicBezTo>
                    <a:pt x="12247" y="74348"/>
                    <a:pt x="0" y="66758"/>
                    <a:pt x="0" y="53303"/>
                  </a:cubicBezTo>
                  <a:cubicBezTo>
                    <a:pt x="0" y="42608"/>
                    <a:pt x="5175" y="36570"/>
                    <a:pt x="12075" y="33120"/>
                  </a:cubicBezTo>
                  <a:cubicBezTo>
                    <a:pt x="19148" y="29670"/>
                    <a:pt x="28290" y="28808"/>
                    <a:pt x="35881" y="28808"/>
                  </a:cubicBezTo>
                  <a:lnTo>
                    <a:pt x="46058" y="28808"/>
                  </a:lnTo>
                  <a:cubicBezTo>
                    <a:pt x="46058" y="17423"/>
                    <a:pt x="40883" y="13455"/>
                    <a:pt x="30188" y="13455"/>
                  </a:cubicBezTo>
                  <a:cubicBezTo>
                    <a:pt x="22253" y="13455"/>
                    <a:pt x="14490" y="16388"/>
                    <a:pt x="8280" y="21045"/>
                  </a:cubicBezTo>
                  <a:lnTo>
                    <a:pt x="7935" y="5347"/>
                  </a:lnTo>
                  <a:lnTo>
                    <a:pt x="7935" y="5347"/>
                  </a:lnTo>
                  <a:lnTo>
                    <a:pt x="7935" y="5347"/>
                  </a:lnTo>
                  <a:close/>
                  <a:moveTo>
                    <a:pt x="29498" y="60721"/>
                  </a:moveTo>
                  <a:cubicBezTo>
                    <a:pt x="35190" y="60721"/>
                    <a:pt x="39503" y="58133"/>
                    <a:pt x="42435" y="54338"/>
                  </a:cubicBezTo>
                  <a:cubicBezTo>
                    <a:pt x="45368" y="50370"/>
                    <a:pt x="46230" y="45195"/>
                    <a:pt x="46230" y="39848"/>
                  </a:cubicBezTo>
                  <a:lnTo>
                    <a:pt x="38123" y="39848"/>
                  </a:lnTo>
                  <a:cubicBezTo>
                    <a:pt x="29843" y="39848"/>
                    <a:pt x="17768" y="41055"/>
                    <a:pt x="17768" y="52095"/>
                  </a:cubicBezTo>
                  <a:cubicBezTo>
                    <a:pt x="17768" y="57960"/>
                    <a:pt x="22943" y="60721"/>
                    <a:pt x="29498" y="60721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3" name="Gráfico 1344">
              <a:extLst>
                <a:ext uri="{FF2B5EF4-FFF2-40B4-BE49-F238E27FC236}">
                  <a16:creationId xmlns:a16="http://schemas.microsoft.com/office/drawing/2014/main" id="{31D473EC-9D7E-45A2-B3EB-3A4DA8FF46BD}"/>
                </a:ext>
              </a:extLst>
            </p:cNvPr>
            <p:cNvSpPr/>
            <p:nvPr/>
          </p:nvSpPr>
          <p:spPr>
            <a:xfrm>
              <a:off x="11198501" y="3354964"/>
              <a:ext cx="43470" cy="72623"/>
            </a:xfrm>
            <a:custGeom>
              <a:avLst/>
              <a:gdLst>
                <a:gd name="connsiteX0" fmla="*/ 345 w 43470"/>
                <a:gd name="connsiteY0" fmla="*/ 1725 h 72623"/>
                <a:gd name="connsiteX1" fmla="*/ 17250 w 43470"/>
                <a:gd name="connsiteY1" fmla="*/ 1725 h 72623"/>
                <a:gd name="connsiteX2" fmla="*/ 17250 w 43470"/>
                <a:gd name="connsiteY2" fmla="*/ 17768 h 72623"/>
                <a:gd name="connsiteX3" fmla="*/ 17422 w 43470"/>
                <a:gd name="connsiteY3" fmla="*/ 17768 h 72623"/>
                <a:gd name="connsiteX4" fmla="*/ 37433 w 43470"/>
                <a:gd name="connsiteY4" fmla="*/ 0 h 72623"/>
                <a:gd name="connsiteX5" fmla="*/ 43470 w 43470"/>
                <a:gd name="connsiteY5" fmla="*/ 690 h 72623"/>
                <a:gd name="connsiteX6" fmla="*/ 43470 w 43470"/>
                <a:gd name="connsiteY6" fmla="*/ 19320 h 72623"/>
                <a:gd name="connsiteX7" fmla="*/ 34845 w 43470"/>
                <a:gd name="connsiteY7" fmla="*/ 17768 h 72623"/>
                <a:gd name="connsiteX8" fmla="*/ 19148 w 43470"/>
                <a:gd name="connsiteY8" fmla="*/ 46575 h 72623"/>
                <a:gd name="connsiteX9" fmla="*/ 19148 w 43470"/>
                <a:gd name="connsiteY9" fmla="*/ 72623 h 72623"/>
                <a:gd name="connsiteX10" fmla="*/ 0 w 43470"/>
                <a:gd name="connsiteY10" fmla="*/ 72623 h 72623"/>
                <a:gd name="connsiteX11" fmla="*/ 0 w 43470"/>
                <a:gd name="connsiteY11" fmla="*/ 1898 h 72623"/>
                <a:gd name="connsiteX12" fmla="*/ 345 w 43470"/>
                <a:gd name="connsiteY12" fmla="*/ 1898 h 72623"/>
                <a:gd name="connsiteX13" fmla="*/ 345 w 43470"/>
                <a:gd name="connsiteY13" fmla="*/ 1725 h 7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70" h="72623">
                  <a:moveTo>
                    <a:pt x="345" y="1725"/>
                  </a:moveTo>
                  <a:lnTo>
                    <a:pt x="17250" y="1725"/>
                  </a:lnTo>
                  <a:lnTo>
                    <a:pt x="17250" y="17768"/>
                  </a:lnTo>
                  <a:lnTo>
                    <a:pt x="17422" y="17768"/>
                  </a:lnTo>
                  <a:cubicBezTo>
                    <a:pt x="18285" y="11212"/>
                    <a:pt x="26220" y="0"/>
                    <a:pt x="37433" y="0"/>
                  </a:cubicBezTo>
                  <a:cubicBezTo>
                    <a:pt x="39158" y="0"/>
                    <a:pt x="41228" y="0"/>
                    <a:pt x="43470" y="690"/>
                  </a:cubicBezTo>
                  <a:lnTo>
                    <a:pt x="43470" y="19320"/>
                  </a:lnTo>
                  <a:cubicBezTo>
                    <a:pt x="41746" y="18457"/>
                    <a:pt x="38468" y="17768"/>
                    <a:pt x="34845" y="17768"/>
                  </a:cubicBezTo>
                  <a:cubicBezTo>
                    <a:pt x="19148" y="17768"/>
                    <a:pt x="19148" y="36398"/>
                    <a:pt x="19148" y="46575"/>
                  </a:cubicBezTo>
                  <a:lnTo>
                    <a:pt x="19148" y="72623"/>
                  </a:lnTo>
                  <a:lnTo>
                    <a:pt x="0" y="72623"/>
                  </a:lnTo>
                  <a:lnTo>
                    <a:pt x="0" y="1898"/>
                  </a:lnTo>
                  <a:lnTo>
                    <a:pt x="345" y="1898"/>
                  </a:lnTo>
                  <a:lnTo>
                    <a:pt x="345" y="172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4" name="Gráfico 1344">
              <a:extLst>
                <a:ext uri="{FF2B5EF4-FFF2-40B4-BE49-F238E27FC236}">
                  <a16:creationId xmlns:a16="http://schemas.microsoft.com/office/drawing/2014/main" id="{EF09E11D-2F81-4000-BBBB-B7F057D5BC7E}"/>
                </a:ext>
              </a:extLst>
            </p:cNvPr>
            <p:cNvSpPr/>
            <p:nvPr/>
          </p:nvSpPr>
          <p:spPr>
            <a:xfrm>
              <a:off x="11252494" y="3323914"/>
              <a:ext cx="70208" cy="105743"/>
            </a:xfrm>
            <a:custGeom>
              <a:avLst/>
              <a:gdLst>
                <a:gd name="connsiteX0" fmla="*/ 0 w 70208"/>
                <a:gd name="connsiteY0" fmla="*/ 0 h 105743"/>
                <a:gd name="connsiteX1" fmla="*/ 18630 w 70208"/>
                <a:gd name="connsiteY1" fmla="*/ 0 h 105743"/>
                <a:gd name="connsiteX2" fmla="*/ 18630 w 70208"/>
                <a:gd name="connsiteY2" fmla="*/ 41745 h 105743"/>
                <a:gd name="connsiteX3" fmla="*/ 18803 w 70208"/>
                <a:gd name="connsiteY3" fmla="*/ 41745 h 105743"/>
                <a:gd name="connsiteX4" fmla="*/ 40193 w 70208"/>
                <a:gd name="connsiteY4" fmla="*/ 30878 h 105743"/>
                <a:gd name="connsiteX5" fmla="*/ 70208 w 70208"/>
                <a:gd name="connsiteY5" fmla="*/ 68138 h 105743"/>
                <a:gd name="connsiteX6" fmla="*/ 40193 w 70208"/>
                <a:gd name="connsiteY6" fmla="*/ 105743 h 105743"/>
                <a:gd name="connsiteX7" fmla="*/ 18112 w 70208"/>
                <a:gd name="connsiteY7" fmla="*/ 95221 h 105743"/>
                <a:gd name="connsiteX8" fmla="*/ 17941 w 70208"/>
                <a:gd name="connsiteY8" fmla="*/ 95221 h 105743"/>
                <a:gd name="connsiteX9" fmla="*/ 17941 w 70208"/>
                <a:gd name="connsiteY9" fmla="*/ 104018 h 105743"/>
                <a:gd name="connsiteX10" fmla="*/ 0 w 70208"/>
                <a:gd name="connsiteY10" fmla="*/ 104018 h 105743"/>
                <a:gd name="connsiteX11" fmla="*/ 0 w 70208"/>
                <a:gd name="connsiteY11" fmla="*/ 0 h 105743"/>
                <a:gd name="connsiteX12" fmla="*/ 0 w 70208"/>
                <a:gd name="connsiteY12" fmla="*/ 0 h 105743"/>
                <a:gd name="connsiteX13" fmla="*/ 0 w 70208"/>
                <a:gd name="connsiteY13" fmla="*/ 0 h 105743"/>
                <a:gd name="connsiteX14" fmla="*/ 35363 w 70208"/>
                <a:gd name="connsiteY14" fmla="*/ 91253 h 105743"/>
                <a:gd name="connsiteX15" fmla="*/ 51061 w 70208"/>
                <a:gd name="connsiteY15" fmla="*/ 68138 h 105743"/>
                <a:gd name="connsiteX16" fmla="*/ 35535 w 70208"/>
                <a:gd name="connsiteY16" fmla="*/ 45195 h 105743"/>
                <a:gd name="connsiteX17" fmla="*/ 18803 w 70208"/>
                <a:gd name="connsiteY17" fmla="*/ 68138 h 105743"/>
                <a:gd name="connsiteX18" fmla="*/ 35363 w 70208"/>
                <a:gd name="connsiteY18" fmla="*/ 91253 h 10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208" h="105743">
                  <a:moveTo>
                    <a:pt x="0" y="0"/>
                  </a:moveTo>
                  <a:lnTo>
                    <a:pt x="18630" y="0"/>
                  </a:lnTo>
                  <a:lnTo>
                    <a:pt x="18630" y="41745"/>
                  </a:lnTo>
                  <a:lnTo>
                    <a:pt x="18803" y="41745"/>
                  </a:lnTo>
                  <a:cubicBezTo>
                    <a:pt x="23978" y="34845"/>
                    <a:pt x="30533" y="30878"/>
                    <a:pt x="40193" y="30878"/>
                  </a:cubicBezTo>
                  <a:cubicBezTo>
                    <a:pt x="62101" y="30878"/>
                    <a:pt x="70208" y="48473"/>
                    <a:pt x="70208" y="68138"/>
                  </a:cubicBezTo>
                  <a:cubicBezTo>
                    <a:pt x="70208" y="87803"/>
                    <a:pt x="62101" y="105743"/>
                    <a:pt x="40193" y="105743"/>
                  </a:cubicBezTo>
                  <a:cubicBezTo>
                    <a:pt x="32258" y="105743"/>
                    <a:pt x="23633" y="102983"/>
                    <a:pt x="18112" y="95221"/>
                  </a:cubicBezTo>
                  <a:lnTo>
                    <a:pt x="17941" y="95221"/>
                  </a:lnTo>
                  <a:lnTo>
                    <a:pt x="17941" y="104018"/>
                  </a:lnTo>
                  <a:lnTo>
                    <a:pt x="0" y="1040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35363" y="91253"/>
                  </a:moveTo>
                  <a:cubicBezTo>
                    <a:pt x="47611" y="91253"/>
                    <a:pt x="51061" y="77971"/>
                    <a:pt x="51061" y="68138"/>
                  </a:cubicBezTo>
                  <a:cubicBezTo>
                    <a:pt x="51061" y="58478"/>
                    <a:pt x="47611" y="45195"/>
                    <a:pt x="35535" y="45195"/>
                  </a:cubicBezTo>
                  <a:cubicBezTo>
                    <a:pt x="23461" y="45195"/>
                    <a:pt x="18803" y="57960"/>
                    <a:pt x="18803" y="68138"/>
                  </a:cubicBezTo>
                  <a:cubicBezTo>
                    <a:pt x="18803" y="78316"/>
                    <a:pt x="22943" y="91253"/>
                    <a:pt x="35363" y="9125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5" name="Gráfico 1344">
              <a:extLst>
                <a:ext uri="{FF2B5EF4-FFF2-40B4-BE49-F238E27FC236}">
                  <a16:creationId xmlns:a16="http://schemas.microsoft.com/office/drawing/2014/main" id="{3E7ABB85-DBD4-4E45-A49C-23D48E645DBC}"/>
                </a:ext>
              </a:extLst>
            </p:cNvPr>
            <p:cNvSpPr/>
            <p:nvPr/>
          </p:nvSpPr>
          <p:spPr>
            <a:xfrm>
              <a:off x="11333224" y="3354964"/>
              <a:ext cx="74520" cy="74520"/>
            </a:xfrm>
            <a:custGeom>
              <a:avLst/>
              <a:gdLst>
                <a:gd name="connsiteX0" fmla="*/ 37261 w 74520"/>
                <a:gd name="connsiteY0" fmla="*/ 0 h 74520"/>
                <a:gd name="connsiteX1" fmla="*/ 74521 w 74520"/>
                <a:gd name="connsiteY1" fmla="*/ 37605 h 74520"/>
                <a:gd name="connsiteX2" fmla="*/ 37261 w 74520"/>
                <a:gd name="connsiteY2" fmla="*/ 74520 h 74520"/>
                <a:gd name="connsiteX3" fmla="*/ 0 w 74520"/>
                <a:gd name="connsiteY3" fmla="*/ 37605 h 74520"/>
                <a:gd name="connsiteX4" fmla="*/ 37261 w 74520"/>
                <a:gd name="connsiteY4" fmla="*/ 0 h 74520"/>
                <a:gd name="connsiteX5" fmla="*/ 37261 w 74520"/>
                <a:gd name="connsiteY5" fmla="*/ 60203 h 74520"/>
                <a:gd name="connsiteX6" fmla="*/ 55201 w 74520"/>
                <a:gd name="connsiteY6" fmla="*/ 35708 h 74520"/>
                <a:gd name="connsiteX7" fmla="*/ 37261 w 74520"/>
                <a:gd name="connsiteY7" fmla="*/ 14663 h 74520"/>
                <a:gd name="connsiteX8" fmla="*/ 19320 w 74520"/>
                <a:gd name="connsiteY8" fmla="*/ 35708 h 74520"/>
                <a:gd name="connsiteX9" fmla="*/ 37261 w 74520"/>
                <a:gd name="connsiteY9" fmla="*/ 6020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37261" y="0"/>
                  </a:moveTo>
                  <a:cubicBezTo>
                    <a:pt x="58306" y="0"/>
                    <a:pt x="74521" y="14318"/>
                    <a:pt x="74521" y="37605"/>
                  </a:cubicBezTo>
                  <a:cubicBezTo>
                    <a:pt x="74521" y="57960"/>
                    <a:pt x="60893" y="74520"/>
                    <a:pt x="37261" y="74520"/>
                  </a:cubicBezTo>
                  <a:cubicBezTo>
                    <a:pt x="13801" y="74520"/>
                    <a:pt x="0" y="58133"/>
                    <a:pt x="0" y="37605"/>
                  </a:cubicBezTo>
                  <a:cubicBezTo>
                    <a:pt x="0" y="14318"/>
                    <a:pt x="16215" y="0"/>
                    <a:pt x="37261" y="0"/>
                  </a:cubicBezTo>
                  <a:moveTo>
                    <a:pt x="37261" y="60203"/>
                  </a:moveTo>
                  <a:cubicBezTo>
                    <a:pt x="51579" y="60203"/>
                    <a:pt x="55201" y="47438"/>
                    <a:pt x="55201" y="35708"/>
                  </a:cubicBezTo>
                  <a:cubicBezTo>
                    <a:pt x="55201" y="24840"/>
                    <a:pt x="49508" y="14663"/>
                    <a:pt x="37261" y="14663"/>
                  </a:cubicBezTo>
                  <a:cubicBezTo>
                    <a:pt x="25186" y="14663"/>
                    <a:pt x="19320" y="25013"/>
                    <a:pt x="19320" y="35708"/>
                  </a:cubicBezTo>
                  <a:cubicBezTo>
                    <a:pt x="19320" y="47265"/>
                    <a:pt x="23288" y="60203"/>
                    <a:pt x="37261" y="6020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6" name="Gráfico 1344">
              <a:extLst>
                <a:ext uri="{FF2B5EF4-FFF2-40B4-BE49-F238E27FC236}">
                  <a16:creationId xmlns:a16="http://schemas.microsoft.com/office/drawing/2014/main" id="{B078786F-F228-4065-B65D-337883BDB817}"/>
                </a:ext>
              </a:extLst>
            </p:cNvPr>
            <p:cNvSpPr/>
            <p:nvPr/>
          </p:nvSpPr>
          <p:spPr>
            <a:xfrm>
              <a:off x="11418095" y="3355137"/>
              <a:ext cx="51750" cy="74520"/>
            </a:xfrm>
            <a:custGeom>
              <a:avLst/>
              <a:gdLst>
                <a:gd name="connsiteX0" fmla="*/ 47093 w 51750"/>
                <a:gd name="connsiteY0" fmla="*/ 16388 h 74520"/>
                <a:gd name="connsiteX1" fmla="*/ 30360 w 51750"/>
                <a:gd name="connsiteY1" fmla="*/ 13455 h 74520"/>
                <a:gd name="connsiteX2" fmla="*/ 19493 w 51750"/>
                <a:gd name="connsiteY2" fmla="*/ 21390 h 74520"/>
                <a:gd name="connsiteX3" fmla="*/ 51750 w 51750"/>
                <a:gd name="connsiteY3" fmla="*/ 51233 h 74520"/>
                <a:gd name="connsiteX4" fmla="*/ 21735 w 51750"/>
                <a:gd name="connsiteY4" fmla="*/ 74521 h 74520"/>
                <a:gd name="connsiteX5" fmla="*/ 517 w 51750"/>
                <a:gd name="connsiteY5" fmla="*/ 71588 h 74520"/>
                <a:gd name="connsiteX6" fmla="*/ 1552 w 51750"/>
                <a:gd name="connsiteY6" fmla="*/ 56408 h 74520"/>
                <a:gd name="connsiteX7" fmla="*/ 20010 w 51750"/>
                <a:gd name="connsiteY7" fmla="*/ 61066 h 74520"/>
                <a:gd name="connsiteX8" fmla="*/ 32258 w 51750"/>
                <a:gd name="connsiteY8" fmla="*/ 52268 h 74520"/>
                <a:gd name="connsiteX9" fmla="*/ 0 w 51750"/>
                <a:gd name="connsiteY9" fmla="*/ 22080 h 74520"/>
                <a:gd name="connsiteX10" fmla="*/ 27945 w 51750"/>
                <a:gd name="connsiteY10" fmla="*/ 0 h 74520"/>
                <a:gd name="connsiteX11" fmla="*/ 48300 w 51750"/>
                <a:gd name="connsiteY11" fmla="*/ 2588 h 74520"/>
                <a:gd name="connsiteX12" fmla="*/ 47093 w 51750"/>
                <a:gd name="connsiteY12" fmla="*/ 16388 h 74520"/>
                <a:gd name="connsiteX13" fmla="*/ 47093 w 51750"/>
                <a:gd name="connsiteY13" fmla="*/ 16388 h 74520"/>
                <a:gd name="connsiteX14" fmla="*/ 47093 w 51750"/>
                <a:gd name="connsiteY14" fmla="*/ 16388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750" h="74520">
                  <a:moveTo>
                    <a:pt x="47093" y="16388"/>
                  </a:moveTo>
                  <a:cubicBezTo>
                    <a:pt x="41400" y="14490"/>
                    <a:pt x="37260" y="13455"/>
                    <a:pt x="30360" y="13455"/>
                  </a:cubicBezTo>
                  <a:cubicBezTo>
                    <a:pt x="25357" y="13455"/>
                    <a:pt x="19493" y="15353"/>
                    <a:pt x="19493" y="21390"/>
                  </a:cubicBezTo>
                  <a:cubicBezTo>
                    <a:pt x="19493" y="32603"/>
                    <a:pt x="51750" y="25703"/>
                    <a:pt x="51750" y="51233"/>
                  </a:cubicBezTo>
                  <a:cubicBezTo>
                    <a:pt x="51750" y="67793"/>
                    <a:pt x="36743" y="74521"/>
                    <a:pt x="21735" y="74521"/>
                  </a:cubicBezTo>
                  <a:cubicBezTo>
                    <a:pt x="14662" y="74521"/>
                    <a:pt x="7417" y="73313"/>
                    <a:pt x="517" y="71588"/>
                  </a:cubicBezTo>
                  <a:lnTo>
                    <a:pt x="1552" y="56408"/>
                  </a:lnTo>
                  <a:cubicBezTo>
                    <a:pt x="7245" y="59168"/>
                    <a:pt x="13455" y="61066"/>
                    <a:pt x="20010" y="61066"/>
                  </a:cubicBezTo>
                  <a:cubicBezTo>
                    <a:pt x="24668" y="61066"/>
                    <a:pt x="32258" y="59340"/>
                    <a:pt x="32258" y="52268"/>
                  </a:cubicBezTo>
                  <a:cubicBezTo>
                    <a:pt x="32258" y="38295"/>
                    <a:pt x="0" y="47783"/>
                    <a:pt x="0" y="22080"/>
                  </a:cubicBezTo>
                  <a:cubicBezTo>
                    <a:pt x="0" y="6728"/>
                    <a:pt x="13455" y="0"/>
                    <a:pt x="27945" y="0"/>
                  </a:cubicBezTo>
                  <a:cubicBezTo>
                    <a:pt x="36743" y="0"/>
                    <a:pt x="42262" y="1553"/>
                    <a:pt x="48300" y="2588"/>
                  </a:cubicBezTo>
                  <a:lnTo>
                    <a:pt x="47093" y="16388"/>
                  </a:lnTo>
                  <a:lnTo>
                    <a:pt x="47093" y="16388"/>
                  </a:lnTo>
                  <a:lnTo>
                    <a:pt x="47093" y="163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27" name="Gráfico 1344">
              <a:extLst>
                <a:ext uri="{FF2B5EF4-FFF2-40B4-BE49-F238E27FC236}">
                  <a16:creationId xmlns:a16="http://schemas.microsoft.com/office/drawing/2014/main" id="{DF9C1BBF-CD7C-4193-ACE5-01561A24EF11}"/>
                </a:ext>
              </a:extLst>
            </p:cNvPr>
            <p:cNvSpPr/>
            <p:nvPr/>
          </p:nvSpPr>
          <p:spPr>
            <a:xfrm>
              <a:off x="11478298" y="3354964"/>
              <a:ext cx="66239" cy="74347"/>
            </a:xfrm>
            <a:custGeom>
              <a:avLst/>
              <a:gdLst>
                <a:gd name="connsiteX0" fmla="*/ 7763 w 66239"/>
                <a:gd name="connsiteY0" fmla="*/ 5347 h 74347"/>
                <a:gd name="connsiteX1" fmla="*/ 33293 w 66239"/>
                <a:gd name="connsiteY1" fmla="*/ 0 h 74347"/>
                <a:gd name="connsiteX2" fmla="*/ 64861 w 66239"/>
                <a:gd name="connsiteY2" fmla="*/ 30015 h 74347"/>
                <a:gd name="connsiteX3" fmla="*/ 64861 w 66239"/>
                <a:gd name="connsiteY3" fmla="*/ 39158 h 74347"/>
                <a:gd name="connsiteX4" fmla="*/ 65378 w 66239"/>
                <a:gd name="connsiteY4" fmla="*/ 56925 h 74347"/>
                <a:gd name="connsiteX5" fmla="*/ 66240 w 66239"/>
                <a:gd name="connsiteY5" fmla="*/ 72796 h 74347"/>
                <a:gd name="connsiteX6" fmla="*/ 49508 w 66239"/>
                <a:gd name="connsiteY6" fmla="*/ 72796 h 74347"/>
                <a:gd name="connsiteX7" fmla="*/ 48645 w 66239"/>
                <a:gd name="connsiteY7" fmla="*/ 62101 h 74347"/>
                <a:gd name="connsiteX8" fmla="*/ 48473 w 66239"/>
                <a:gd name="connsiteY8" fmla="*/ 62101 h 74347"/>
                <a:gd name="connsiteX9" fmla="*/ 25703 w 66239"/>
                <a:gd name="connsiteY9" fmla="*/ 74348 h 74347"/>
                <a:gd name="connsiteX10" fmla="*/ 0 w 66239"/>
                <a:gd name="connsiteY10" fmla="*/ 53303 h 74347"/>
                <a:gd name="connsiteX11" fmla="*/ 12420 w 66239"/>
                <a:gd name="connsiteY11" fmla="*/ 33120 h 74347"/>
                <a:gd name="connsiteX12" fmla="*/ 36916 w 66239"/>
                <a:gd name="connsiteY12" fmla="*/ 28808 h 74347"/>
                <a:gd name="connsiteX13" fmla="*/ 47438 w 66239"/>
                <a:gd name="connsiteY13" fmla="*/ 28808 h 74347"/>
                <a:gd name="connsiteX14" fmla="*/ 31050 w 66239"/>
                <a:gd name="connsiteY14" fmla="*/ 13455 h 74347"/>
                <a:gd name="connsiteX15" fmla="*/ 8452 w 66239"/>
                <a:gd name="connsiteY15" fmla="*/ 21045 h 74347"/>
                <a:gd name="connsiteX16" fmla="*/ 7763 w 66239"/>
                <a:gd name="connsiteY16" fmla="*/ 5347 h 74347"/>
                <a:gd name="connsiteX17" fmla="*/ 7763 w 66239"/>
                <a:gd name="connsiteY17" fmla="*/ 5347 h 74347"/>
                <a:gd name="connsiteX18" fmla="*/ 7763 w 66239"/>
                <a:gd name="connsiteY18" fmla="*/ 5347 h 74347"/>
                <a:gd name="connsiteX19" fmla="*/ 30015 w 66239"/>
                <a:gd name="connsiteY19" fmla="*/ 60721 h 74347"/>
                <a:gd name="connsiteX20" fmla="*/ 43471 w 66239"/>
                <a:gd name="connsiteY20" fmla="*/ 54338 h 74347"/>
                <a:gd name="connsiteX21" fmla="*/ 47438 w 66239"/>
                <a:gd name="connsiteY21" fmla="*/ 39848 h 74347"/>
                <a:gd name="connsiteX22" fmla="*/ 39158 w 66239"/>
                <a:gd name="connsiteY22" fmla="*/ 39848 h 74347"/>
                <a:gd name="connsiteX23" fmla="*/ 17940 w 66239"/>
                <a:gd name="connsiteY23" fmla="*/ 52095 h 74347"/>
                <a:gd name="connsiteX24" fmla="*/ 30015 w 66239"/>
                <a:gd name="connsiteY24" fmla="*/ 60721 h 7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239" h="74347">
                  <a:moveTo>
                    <a:pt x="7763" y="5347"/>
                  </a:moveTo>
                  <a:cubicBezTo>
                    <a:pt x="15180" y="2243"/>
                    <a:pt x="25013" y="0"/>
                    <a:pt x="33293" y="0"/>
                  </a:cubicBezTo>
                  <a:cubicBezTo>
                    <a:pt x="55718" y="0"/>
                    <a:pt x="64861" y="8970"/>
                    <a:pt x="64861" y="30015"/>
                  </a:cubicBezTo>
                  <a:lnTo>
                    <a:pt x="64861" y="39158"/>
                  </a:lnTo>
                  <a:cubicBezTo>
                    <a:pt x="64861" y="46403"/>
                    <a:pt x="65033" y="51750"/>
                    <a:pt x="65378" y="56925"/>
                  </a:cubicBezTo>
                  <a:cubicBezTo>
                    <a:pt x="65550" y="62273"/>
                    <a:pt x="65896" y="67275"/>
                    <a:pt x="66240" y="72796"/>
                  </a:cubicBezTo>
                  <a:lnTo>
                    <a:pt x="49508" y="72796"/>
                  </a:lnTo>
                  <a:cubicBezTo>
                    <a:pt x="48818" y="69001"/>
                    <a:pt x="48818" y="64343"/>
                    <a:pt x="48645" y="62101"/>
                  </a:cubicBezTo>
                  <a:lnTo>
                    <a:pt x="48473" y="62101"/>
                  </a:lnTo>
                  <a:cubicBezTo>
                    <a:pt x="44160" y="70035"/>
                    <a:pt x="34500" y="74348"/>
                    <a:pt x="25703" y="74348"/>
                  </a:cubicBezTo>
                  <a:cubicBezTo>
                    <a:pt x="12765" y="74348"/>
                    <a:pt x="0" y="66758"/>
                    <a:pt x="0" y="53303"/>
                  </a:cubicBezTo>
                  <a:cubicBezTo>
                    <a:pt x="0" y="42608"/>
                    <a:pt x="5347" y="36570"/>
                    <a:pt x="12420" y="33120"/>
                  </a:cubicBezTo>
                  <a:cubicBezTo>
                    <a:pt x="19665" y="29670"/>
                    <a:pt x="29153" y="28808"/>
                    <a:pt x="36916" y="28808"/>
                  </a:cubicBezTo>
                  <a:lnTo>
                    <a:pt x="47438" y="28808"/>
                  </a:lnTo>
                  <a:cubicBezTo>
                    <a:pt x="47438" y="17423"/>
                    <a:pt x="42090" y="13455"/>
                    <a:pt x="31050" y="13455"/>
                  </a:cubicBezTo>
                  <a:cubicBezTo>
                    <a:pt x="22943" y="13455"/>
                    <a:pt x="14835" y="16388"/>
                    <a:pt x="8452" y="21045"/>
                  </a:cubicBezTo>
                  <a:lnTo>
                    <a:pt x="7763" y="5347"/>
                  </a:lnTo>
                  <a:lnTo>
                    <a:pt x="7763" y="5347"/>
                  </a:lnTo>
                  <a:lnTo>
                    <a:pt x="7763" y="5347"/>
                  </a:lnTo>
                  <a:close/>
                  <a:moveTo>
                    <a:pt x="30015" y="60721"/>
                  </a:moveTo>
                  <a:cubicBezTo>
                    <a:pt x="35881" y="60721"/>
                    <a:pt x="40365" y="58133"/>
                    <a:pt x="43471" y="54338"/>
                  </a:cubicBezTo>
                  <a:cubicBezTo>
                    <a:pt x="46576" y="50370"/>
                    <a:pt x="47438" y="45195"/>
                    <a:pt x="47438" y="39848"/>
                  </a:cubicBezTo>
                  <a:lnTo>
                    <a:pt x="39158" y="39848"/>
                  </a:lnTo>
                  <a:cubicBezTo>
                    <a:pt x="30533" y="39848"/>
                    <a:pt x="17940" y="41055"/>
                    <a:pt x="17940" y="52095"/>
                  </a:cubicBezTo>
                  <a:cubicBezTo>
                    <a:pt x="18112" y="57960"/>
                    <a:pt x="23287" y="60721"/>
                    <a:pt x="30015" y="60721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28" name="Agrupar 827">
            <a:extLst>
              <a:ext uri="{FF2B5EF4-FFF2-40B4-BE49-F238E27FC236}">
                <a16:creationId xmlns:a16="http://schemas.microsoft.com/office/drawing/2014/main" id="{537F3E82-5B95-4FDB-B23B-DC3311E3ECB5}"/>
              </a:ext>
            </a:extLst>
          </p:cNvPr>
          <p:cNvGrpSpPr/>
          <p:nvPr/>
        </p:nvGrpSpPr>
        <p:grpSpPr>
          <a:xfrm>
            <a:off x="10718226" y="3532986"/>
            <a:ext cx="919260" cy="113850"/>
            <a:chOff x="10550586" y="3532986"/>
            <a:chExt cx="919260" cy="113850"/>
          </a:xfrm>
        </p:grpSpPr>
        <p:sp>
          <p:nvSpPr>
            <p:cNvPr id="829" name="Gráfico 1344">
              <a:extLst>
                <a:ext uri="{FF2B5EF4-FFF2-40B4-BE49-F238E27FC236}">
                  <a16:creationId xmlns:a16="http://schemas.microsoft.com/office/drawing/2014/main" id="{3A0ED403-81CB-4223-BB75-5D4D5A67C157}"/>
                </a:ext>
              </a:extLst>
            </p:cNvPr>
            <p:cNvSpPr/>
            <p:nvPr/>
          </p:nvSpPr>
          <p:spPr>
            <a:xfrm>
              <a:off x="10550586" y="3541266"/>
              <a:ext cx="57960" cy="103673"/>
            </a:xfrm>
            <a:custGeom>
              <a:avLst/>
              <a:gdLst>
                <a:gd name="connsiteX0" fmla="*/ 345 w 57960"/>
                <a:gd name="connsiteY0" fmla="*/ 0 h 103673"/>
                <a:gd name="connsiteX1" fmla="*/ 25875 w 57960"/>
                <a:gd name="connsiteY1" fmla="*/ 0 h 103673"/>
                <a:gd name="connsiteX2" fmla="*/ 57960 w 57960"/>
                <a:gd name="connsiteY2" fmla="*/ 29325 h 103673"/>
                <a:gd name="connsiteX3" fmla="*/ 24668 w 57960"/>
                <a:gd name="connsiteY3" fmla="*/ 58823 h 103673"/>
                <a:gd name="connsiteX4" fmla="*/ 10350 w 57960"/>
                <a:gd name="connsiteY4" fmla="*/ 58823 h 103673"/>
                <a:gd name="connsiteX5" fmla="*/ 10350 w 57960"/>
                <a:gd name="connsiteY5" fmla="*/ 103673 h 103673"/>
                <a:gd name="connsiteX6" fmla="*/ 0 w 57960"/>
                <a:gd name="connsiteY6" fmla="*/ 103673 h 103673"/>
                <a:gd name="connsiteX7" fmla="*/ 0 w 57960"/>
                <a:gd name="connsiteY7" fmla="*/ 172 h 103673"/>
                <a:gd name="connsiteX8" fmla="*/ 345 w 57960"/>
                <a:gd name="connsiteY8" fmla="*/ 172 h 103673"/>
                <a:gd name="connsiteX9" fmla="*/ 345 w 57960"/>
                <a:gd name="connsiteY9" fmla="*/ 0 h 103673"/>
                <a:gd name="connsiteX10" fmla="*/ 10695 w 57960"/>
                <a:gd name="connsiteY10" fmla="*/ 49853 h 103673"/>
                <a:gd name="connsiteX11" fmla="*/ 17940 w 57960"/>
                <a:gd name="connsiteY11" fmla="*/ 49853 h 103673"/>
                <a:gd name="connsiteX12" fmla="*/ 47955 w 57960"/>
                <a:gd name="connsiteY12" fmla="*/ 29498 h 103673"/>
                <a:gd name="connsiteX13" fmla="*/ 27428 w 57960"/>
                <a:gd name="connsiteY13" fmla="*/ 9143 h 103673"/>
                <a:gd name="connsiteX14" fmla="*/ 10695 w 57960"/>
                <a:gd name="connsiteY14" fmla="*/ 9143 h 103673"/>
                <a:gd name="connsiteX15" fmla="*/ 10695 w 57960"/>
                <a:gd name="connsiteY15" fmla="*/ 49853 h 103673"/>
                <a:gd name="connsiteX16" fmla="*/ 10695 w 57960"/>
                <a:gd name="connsiteY16" fmla="*/ 49853 h 103673"/>
                <a:gd name="connsiteX17" fmla="*/ 10695 w 57960"/>
                <a:gd name="connsiteY17" fmla="*/ 49853 h 10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960" h="103673">
                  <a:moveTo>
                    <a:pt x="345" y="0"/>
                  </a:moveTo>
                  <a:lnTo>
                    <a:pt x="25875" y="0"/>
                  </a:lnTo>
                  <a:cubicBezTo>
                    <a:pt x="45367" y="0"/>
                    <a:pt x="57960" y="9660"/>
                    <a:pt x="57960" y="29325"/>
                  </a:cubicBezTo>
                  <a:cubicBezTo>
                    <a:pt x="57960" y="48645"/>
                    <a:pt x="43297" y="58823"/>
                    <a:pt x="24668" y="58823"/>
                  </a:cubicBezTo>
                  <a:lnTo>
                    <a:pt x="10350" y="58823"/>
                  </a:lnTo>
                  <a:lnTo>
                    <a:pt x="10350" y="103673"/>
                  </a:lnTo>
                  <a:lnTo>
                    <a:pt x="0" y="103673"/>
                  </a:lnTo>
                  <a:lnTo>
                    <a:pt x="0" y="172"/>
                  </a:lnTo>
                  <a:lnTo>
                    <a:pt x="345" y="172"/>
                  </a:lnTo>
                  <a:lnTo>
                    <a:pt x="345" y="0"/>
                  </a:lnTo>
                  <a:close/>
                  <a:moveTo>
                    <a:pt x="10695" y="49853"/>
                  </a:moveTo>
                  <a:lnTo>
                    <a:pt x="17940" y="49853"/>
                  </a:lnTo>
                  <a:cubicBezTo>
                    <a:pt x="33465" y="49853"/>
                    <a:pt x="47955" y="48128"/>
                    <a:pt x="47955" y="29498"/>
                  </a:cubicBezTo>
                  <a:cubicBezTo>
                    <a:pt x="47955" y="16388"/>
                    <a:pt x="40537" y="9143"/>
                    <a:pt x="27428" y="9143"/>
                  </a:cubicBezTo>
                  <a:lnTo>
                    <a:pt x="10695" y="9143"/>
                  </a:lnTo>
                  <a:lnTo>
                    <a:pt x="10695" y="49853"/>
                  </a:lnTo>
                  <a:lnTo>
                    <a:pt x="10695" y="49853"/>
                  </a:lnTo>
                  <a:lnTo>
                    <a:pt x="10695" y="4985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0" name="Gráfico 1344">
              <a:extLst>
                <a:ext uri="{FF2B5EF4-FFF2-40B4-BE49-F238E27FC236}">
                  <a16:creationId xmlns:a16="http://schemas.microsoft.com/office/drawing/2014/main" id="{31B96C15-8C2B-414B-A768-C815B6F37263}"/>
                </a:ext>
              </a:extLst>
            </p:cNvPr>
            <p:cNvSpPr/>
            <p:nvPr/>
          </p:nvSpPr>
          <p:spPr>
            <a:xfrm>
              <a:off x="10619069" y="3568176"/>
              <a:ext cx="72450" cy="78660"/>
            </a:xfrm>
            <a:custGeom>
              <a:avLst/>
              <a:gdLst>
                <a:gd name="connsiteX0" fmla="*/ 36398 w 72450"/>
                <a:gd name="connsiteY0" fmla="*/ 0 h 78660"/>
                <a:gd name="connsiteX1" fmla="*/ 72450 w 72450"/>
                <a:gd name="connsiteY1" fmla="*/ 39330 h 78660"/>
                <a:gd name="connsiteX2" fmla="*/ 36398 w 72450"/>
                <a:gd name="connsiteY2" fmla="*/ 78661 h 78660"/>
                <a:gd name="connsiteX3" fmla="*/ 0 w 72450"/>
                <a:gd name="connsiteY3" fmla="*/ 39330 h 78660"/>
                <a:gd name="connsiteX4" fmla="*/ 36398 w 72450"/>
                <a:gd name="connsiteY4" fmla="*/ 0 h 78660"/>
                <a:gd name="connsiteX5" fmla="*/ 36398 w 72450"/>
                <a:gd name="connsiteY5" fmla="*/ 70726 h 78660"/>
                <a:gd name="connsiteX6" fmla="*/ 62100 w 72450"/>
                <a:gd name="connsiteY6" fmla="*/ 39330 h 78660"/>
                <a:gd name="connsiteX7" fmla="*/ 36398 w 72450"/>
                <a:gd name="connsiteY7" fmla="*/ 7935 h 78660"/>
                <a:gd name="connsiteX8" fmla="*/ 10695 w 72450"/>
                <a:gd name="connsiteY8" fmla="*/ 39330 h 78660"/>
                <a:gd name="connsiteX9" fmla="*/ 36398 w 72450"/>
                <a:gd name="connsiteY9" fmla="*/ 70726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78660">
                  <a:moveTo>
                    <a:pt x="36398" y="0"/>
                  </a:moveTo>
                  <a:cubicBezTo>
                    <a:pt x="61410" y="0"/>
                    <a:pt x="72450" y="18803"/>
                    <a:pt x="72450" y="39330"/>
                  </a:cubicBezTo>
                  <a:cubicBezTo>
                    <a:pt x="72450" y="59858"/>
                    <a:pt x="61238" y="78661"/>
                    <a:pt x="36398" y="78661"/>
                  </a:cubicBezTo>
                  <a:cubicBezTo>
                    <a:pt x="11385" y="78661"/>
                    <a:pt x="0" y="59858"/>
                    <a:pt x="0" y="39330"/>
                  </a:cubicBezTo>
                  <a:cubicBezTo>
                    <a:pt x="0" y="18975"/>
                    <a:pt x="11040" y="0"/>
                    <a:pt x="36398" y="0"/>
                  </a:cubicBezTo>
                  <a:moveTo>
                    <a:pt x="36398" y="70726"/>
                  </a:moveTo>
                  <a:cubicBezTo>
                    <a:pt x="53130" y="70726"/>
                    <a:pt x="62100" y="56753"/>
                    <a:pt x="62100" y="39330"/>
                  </a:cubicBezTo>
                  <a:cubicBezTo>
                    <a:pt x="62100" y="21908"/>
                    <a:pt x="52957" y="7935"/>
                    <a:pt x="36398" y="7935"/>
                  </a:cubicBezTo>
                  <a:cubicBezTo>
                    <a:pt x="19492" y="7935"/>
                    <a:pt x="10695" y="21908"/>
                    <a:pt x="10695" y="39330"/>
                  </a:cubicBezTo>
                  <a:cubicBezTo>
                    <a:pt x="10522" y="56925"/>
                    <a:pt x="19492" y="70726"/>
                    <a:pt x="36398" y="70726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1" name="Gráfico 1344">
              <a:extLst>
                <a:ext uri="{FF2B5EF4-FFF2-40B4-BE49-F238E27FC236}">
                  <a16:creationId xmlns:a16="http://schemas.microsoft.com/office/drawing/2014/main" id="{F76E350B-B4B6-49D5-B49B-EF3AA0126651}"/>
                </a:ext>
              </a:extLst>
            </p:cNvPr>
            <p:cNvSpPr/>
            <p:nvPr/>
          </p:nvSpPr>
          <p:spPr>
            <a:xfrm>
              <a:off x="10708080" y="3568176"/>
              <a:ext cx="35018" cy="78660"/>
            </a:xfrm>
            <a:custGeom>
              <a:avLst/>
              <a:gdLst>
                <a:gd name="connsiteX0" fmla="*/ 690 w 35018"/>
                <a:gd name="connsiteY0" fmla="*/ 18975 h 78660"/>
                <a:gd name="connsiteX1" fmla="*/ 0 w 35018"/>
                <a:gd name="connsiteY1" fmla="*/ 1898 h 78660"/>
                <a:gd name="connsiteX2" fmla="*/ 9143 w 35018"/>
                <a:gd name="connsiteY2" fmla="*/ 1898 h 78660"/>
                <a:gd name="connsiteX3" fmla="*/ 9143 w 35018"/>
                <a:gd name="connsiteY3" fmla="*/ 16560 h 78660"/>
                <a:gd name="connsiteX4" fmla="*/ 9488 w 35018"/>
                <a:gd name="connsiteY4" fmla="*/ 16560 h 78660"/>
                <a:gd name="connsiteX5" fmla="*/ 28635 w 35018"/>
                <a:gd name="connsiteY5" fmla="*/ 0 h 78660"/>
                <a:gd name="connsiteX6" fmla="*/ 35018 w 35018"/>
                <a:gd name="connsiteY6" fmla="*/ 863 h 78660"/>
                <a:gd name="connsiteX7" fmla="*/ 35018 w 35018"/>
                <a:gd name="connsiteY7" fmla="*/ 10868 h 78660"/>
                <a:gd name="connsiteX8" fmla="*/ 28290 w 35018"/>
                <a:gd name="connsiteY8" fmla="*/ 10005 h 78660"/>
                <a:gd name="connsiteX9" fmla="*/ 9488 w 35018"/>
                <a:gd name="connsiteY9" fmla="*/ 40710 h 78660"/>
                <a:gd name="connsiteX10" fmla="*/ 9488 w 35018"/>
                <a:gd name="connsiteY10" fmla="*/ 78661 h 78660"/>
                <a:gd name="connsiteX11" fmla="*/ 345 w 35018"/>
                <a:gd name="connsiteY11" fmla="*/ 78661 h 78660"/>
                <a:gd name="connsiteX12" fmla="*/ 345 w 35018"/>
                <a:gd name="connsiteY12" fmla="*/ 18975 h 78660"/>
                <a:gd name="connsiteX13" fmla="*/ 690 w 35018"/>
                <a:gd name="connsiteY13" fmla="*/ 18975 h 78660"/>
                <a:gd name="connsiteX14" fmla="*/ 690 w 35018"/>
                <a:gd name="connsiteY14" fmla="*/ 18975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018" h="78660">
                  <a:moveTo>
                    <a:pt x="690" y="18975"/>
                  </a:moveTo>
                  <a:cubicBezTo>
                    <a:pt x="690" y="10695"/>
                    <a:pt x="690" y="7417"/>
                    <a:pt x="0" y="1898"/>
                  </a:cubicBezTo>
                  <a:lnTo>
                    <a:pt x="9143" y="1898"/>
                  </a:lnTo>
                  <a:lnTo>
                    <a:pt x="9143" y="16560"/>
                  </a:lnTo>
                  <a:lnTo>
                    <a:pt x="9488" y="16560"/>
                  </a:lnTo>
                  <a:cubicBezTo>
                    <a:pt x="12765" y="8108"/>
                    <a:pt x="19148" y="0"/>
                    <a:pt x="28635" y="0"/>
                  </a:cubicBezTo>
                  <a:cubicBezTo>
                    <a:pt x="30706" y="0"/>
                    <a:pt x="33465" y="345"/>
                    <a:pt x="35018" y="863"/>
                  </a:cubicBezTo>
                  <a:lnTo>
                    <a:pt x="35018" y="10868"/>
                  </a:lnTo>
                  <a:cubicBezTo>
                    <a:pt x="33120" y="10178"/>
                    <a:pt x="30706" y="10005"/>
                    <a:pt x="28290" y="10005"/>
                  </a:cubicBezTo>
                  <a:cubicBezTo>
                    <a:pt x="13628" y="10005"/>
                    <a:pt x="9488" y="26910"/>
                    <a:pt x="9488" y="40710"/>
                  </a:cubicBezTo>
                  <a:lnTo>
                    <a:pt x="9488" y="78661"/>
                  </a:lnTo>
                  <a:lnTo>
                    <a:pt x="345" y="78661"/>
                  </a:lnTo>
                  <a:lnTo>
                    <a:pt x="345" y="18975"/>
                  </a:lnTo>
                  <a:lnTo>
                    <a:pt x="690" y="18975"/>
                  </a:lnTo>
                  <a:lnTo>
                    <a:pt x="690" y="1897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2" name="Gráfico 1344">
              <a:extLst>
                <a:ext uri="{FF2B5EF4-FFF2-40B4-BE49-F238E27FC236}">
                  <a16:creationId xmlns:a16="http://schemas.microsoft.com/office/drawing/2014/main" id="{9FF65927-9EDD-405A-AE49-60EE08B192D2}"/>
                </a:ext>
              </a:extLst>
            </p:cNvPr>
            <p:cNvSpPr/>
            <p:nvPr/>
          </p:nvSpPr>
          <p:spPr>
            <a:xfrm>
              <a:off x="10749135" y="3547303"/>
              <a:ext cx="45713" cy="99360"/>
            </a:xfrm>
            <a:custGeom>
              <a:avLst/>
              <a:gdLst>
                <a:gd name="connsiteX0" fmla="*/ 43643 w 45713"/>
                <a:gd name="connsiteY0" fmla="*/ 29498 h 99360"/>
                <a:gd name="connsiteX1" fmla="*/ 25530 w 45713"/>
                <a:gd name="connsiteY1" fmla="*/ 29498 h 99360"/>
                <a:gd name="connsiteX2" fmla="*/ 25530 w 45713"/>
                <a:gd name="connsiteY2" fmla="*/ 78833 h 99360"/>
                <a:gd name="connsiteX3" fmla="*/ 36053 w 45713"/>
                <a:gd name="connsiteY3" fmla="*/ 91253 h 99360"/>
                <a:gd name="connsiteX4" fmla="*/ 45023 w 45713"/>
                <a:gd name="connsiteY4" fmla="*/ 89528 h 99360"/>
                <a:gd name="connsiteX5" fmla="*/ 45713 w 45713"/>
                <a:gd name="connsiteY5" fmla="*/ 97291 h 99360"/>
                <a:gd name="connsiteX6" fmla="*/ 33811 w 45713"/>
                <a:gd name="connsiteY6" fmla="*/ 99361 h 99360"/>
                <a:gd name="connsiteX7" fmla="*/ 15698 w 45713"/>
                <a:gd name="connsiteY7" fmla="*/ 74003 h 99360"/>
                <a:gd name="connsiteX8" fmla="*/ 15698 w 45713"/>
                <a:gd name="connsiteY8" fmla="*/ 29670 h 99360"/>
                <a:gd name="connsiteX9" fmla="*/ 0 w 45713"/>
                <a:gd name="connsiteY9" fmla="*/ 29670 h 99360"/>
                <a:gd name="connsiteX10" fmla="*/ 0 w 45713"/>
                <a:gd name="connsiteY10" fmla="*/ 21563 h 99360"/>
                <a:gd name="connsiteX11" fmla="*/ 15698 w 45713"/>
                <a:gd name="connsiteY11" fmla="*/ 21563 h 99360"/>
                <a:gd name="connsiteX12" fmla="*/ 15698 w 45713"/>
                <a:gd name="connsiteY12" fmla="*/ 3105 h 99360"/>
                <a:gd name="connsiteX13" fmla="*/ 25358 w 45713"/>
                <a:gd name="connsiteY13" fmla="*/ 0 h 99360"/>
                <a:gd name="connsiteX14" fmla="*/ 25358 w 45713"/>
                <a:gd name="connsiteY14" fmla="*/ 21563 h 99360"/>
                <a:gd name="connsiteX15" fmla="*/ 43471 w 45713"/>
                <a:gd name="connsiteY15" fmla="*/ 21563 h 99360"/>
                <a:gd name="connsiteX16" fmla="*/ 43471 w 45713"/>
                <a:gd name="connsiteY16" fmla="*/ 29498 h 99360"/>
                <a:gd name="connsiteX17" fmla="*/ 43643 w 45713"/>
                <a:gd name="connsiteY17" fmla="*/ 29498 h 99360"/>
                <a:gd name="connsiteX18" fmla="*/ 43643 w 45713"/>
                <a:gd name="connsiteY18" fmla="*/ 29498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5713" h="99360">
                  <a:moveTo>
                    <a:pt x="43643" y="29498"/>
                  </a:moveTo>
                  <a:lnTo>
                    <a:pt x="25530" y="29498"/>
                  </a:lnTo>
                  <a:lnTo>
                    <a:pt x="25530" y="78833"/>
                  </a:lnTo>
                  <a:cubicBezTo>
                    <a:pt x="25530" y="85561"/>
                    <a:pt x="28118" y="91253"/>
                    <a:pt x="36053" y="91253"/>
                  </a:cubicBezTo>
                  <a:cubicBezTo>
                    <a:pt x="39848" y="91253"/>
                    <a:pt x="42263" y="90391"/>
                    <a:pt x="45023" y="89528"/>
                  </a:cubicBezTo>
                  <a:lnTo>
                    <a:pt x="45713" y="97291"/>
                  </a:lnTo>
                  <a:cubicBezTo>
                    <a:pt x="43298" y="98153"/>
                    <a:pt x="38468" y="99361"/>
                    <a:pt x="33811" y="99361"/>
                  </a:cubicBezTo>
                  <a:cubicBezTo>
                    <a:pt x="16388" y="99361"/>
                    <a:pt x="15698" y="87976"/>
                    <a:pt x="15698" y="74003"/>
                  </a:cubicBezTo>
                  <a:lnTo>
                    <a:pt x="15698" y="29670"/>
                  </a:lnTo>
                  <a:lnTo>
                    <a:pt x="0" y="29670"/>
                  </a:lnTo>
                  <a:lnTo>
                    <a:pt x="0" y="21563"/>
                  </a:lnTo>
                  <a:lnTo>
                    <a:pt x="15698" y="21563"/>
                  </a:lnTo>
                  <a:lnTo>
                    <a:pt x="15698" y="3105"/>
                  </a:lnTo>
                  <a:lnTo>
                    <a:pt x="25358" y="0"/>
                  </a:lnTo>
                  <a:lnTo>
                    <a:pt x="25358" y="21563"/>
                  </a:lnTo>
                  <a:lnTo>
                    <a:pt x="43471" y="21563"/>
                  </a:lnTo>
                  <a:lnTo>
                    <a:pt x="43471" y="29498"/>
                  </a:lnTo>
                  <a:lnTo>
                    <a:pt x="43643" y="29498"/>
                  </a:lnTo>
                  <a:lnTo>
                    <a:pt x="43643" y="2949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3" name="Gráfico 1344">
              <a:extLst>
                <a:ext uri="{FF2B5EF4-FFF2-40B4-BE49-F238E27FC236}">
                  <a16:creationId xmlns:a16="http://schemas.microsoft.com/office/drawing/2014/main" id="{D36C95B7-52DA-465F-8548-0C6DB4F469E7}"/>
                </a:ext>
              </a:extLst>
            </p:cNvPr>
            <p:cNvSpPr/>
            <p:nvPr/>
          </p:nvSpPr>
          <p:spPr>
            <a:xfrm>
              <a:off x="10803301" y="3568176"/>
              <a:ext cx="70380" cy="78660"/>
            </a:xfrm>
            <a:custGeom>
              <a:avLst/>
              <a:gdLst>
                <a:gd name="connsiteX0" fmla="*/ 35190 w 70380"/>
                <a:gd name="connsiteY0" fmla="*/ 0 h 78660"/>
                <a:gd name="connsiteX1" fmla="*/ 70380 w 70380"/>
                <a:gd name="connsiteY1" fmla="*/ 39330 h 78660"/>
                <a:gd name="connsiteX2" fmla="*/ 35190 w 70380"/>
                <a:gd name="connsiteY2" fmla="*/ 78661 h 78660"/>
                <a:gd name="connsiteX3" fmla="*/ 0 w 70380"/>
                <a:gd name="connsiteY3" fmla="*/ 39330 h 78660"/>
                <a:gd name="connsiteX4" fmla="*/ 35190 w 70380"/>
                <a:gd name="connsiteY4" fmla="*/ 0 h 78660"/>
                <a:gd name="connsiteX5" fmla="*/ 35190 w 70380"/>
                <a:gd name="connsiteY5" fmla="*/ 70726 h 78660"/>
                <a:gd name="connsiteX6" fmla="*/ 60203 w 70380"/>
                <a:gd name="connsiteY6" fmla="*/ 39330 h 78660"/>
                <a:gd name="connsiteX7" fmla="*/ 35190 w 70380"/>
                <a:gd name="connsiteY7" fmla="*/ 7935 h 78660"/>
                <a:gd name="connsiteX8" fmla="*/ 10350 w 70380"/>
                <a:gd name="connsiteY8" fmla="*/ 39330 h 78660"/>
                <a:gd name="connsiteX9" fmla="*/ 35190 w 70380"/>
                <a:gd name="connsiteY9" fmla="*/ 70726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380" h="78660">
                  <a:moveTo>
                    <a:pt x="35190" y="0"/>
                  </a:moveTo>
                  <a:cubicBezTo>
                    <a:pt x="59513" y="0"/>
                    <a:pt x="70380" y="18803"/>
                    <a:pt x="70380" y="39330"/>
                  </a:cubicBezTo>
                  <a:cubicBezTo>
                    <a:pt x="70380" y="59858"/>
                    <a:pt x="59685" y="78661"/>
                    <a:pt x="35190" y="78661"/>
                  </a:cubicBezTo>
                  <a:cubicBezTo>
                    <a:pt x="10868" y="78661"/>
                    <a:pt x="0" y="59858"/>
                    <a:pt x="0" y="39330"/>
                  </a:cubicBezTo>
                  <a:cubicBezTo>
                    <a:pt x="173" y="18975"/>
                    <a:pt x="10868" y="0"/>
                    <a:pt x="35190" y="0"/>
                  </a:cubicBezTo>
                  <a:moveTo>
                    <a:pt x="35190" y="70726"/>
                  </a:moveTo>
                  <a:cubicBezTo>
                    <a:pt x="51233" y="70726"/>
                    <a:pt x="60203" y="56753"/>
                    <a:pt x="60203" y="39330"/>
                  </a:cubicBezTo>
                  <a:cubicBezTo>
                    <a:pt x="60203" y="21908"/>
                    <a:pt x="51405" y="7935"/>
                    <a:pt x="35190" y="7935"/>
                  </a:cubicBezTo>
                  <a:cubicBezTo>
                    <a:pt x="19147" y="7935"/>
                    <a:pt x="10350" y="21908"/>
                    <a:pt x="10350" y="39330"/>
                  </a:cubicBezTo>
                  <a:cubicBezTo>
                    <a:pt x="10178" y="56925"/>
                    <a:pt x="18975" y="70726"/>
                    <a:pt x="35190" y="70726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4" name="Gráfico 1344">
              <a:extLst>
                <a:ext uri="{FF2B5EF4-FFF2-40B4-BE49-F238E27FC236}">
                  <a16:creationId xmlns:a16="http://schemas.microsoft.com/office/drawing/2014/main" id="{E5AE3920-3C22-4A9E-BCC3-187C6ADB66EA}"/>
                </a:ext>
              </a:extLst>
            </p:cNvPr>
            <p:cNvSpPr/>
            <p:nvPr/>
          </p:nvSpPr>
          <p:spPr>
            <a:xfrm>
              <a:off x="10929399" y="3532986"/>
              <a:ext cx="66413" cy="113850"/>
            </a:xfrm>
            <a:custGeom>
              <a:avLst/>
              <a:gdLst>
                <a:gd name="connsiteX0" fmla="*/ 66413 w 66413"/>
                <a:gd name="connsiteY0" fmla="*/ 111953 h 113850"/>
                <a:gd name="connsiteX1" fmla="*/ 56925 w 66413"/>
                <a:gd name="connsiteY1" fmla="*/ 111953 h 113850"/>
                <a:gd name="connsiteX2" fmla="*/ 56925 w 66413"/>
                <a:gd name="connsiteY2" fmla="*/ 99878 h 113850"/>
                <a:gd name="connsiteX3" fmla="*/ 56408 w 66413"/>
                <a:gd name="connsiteY3" fmla="*/ 99878 h 113850"/>
                <a:gd name="connsiteX4" fmla="*/ 32085 w 66413"/>
                <a:gd name="connsiteY4" fmla="*/ 113851 h 113850"/>
                <a:gd name="connsiteX5" fmla="*/ 0 w 66413"/>
                <a:gd name="connsiteY5" fmla="*/ 74003 h 113850"/>
                <a:gd name="connsiteX6" fmla="*/ 32085 w 66413"/>
                <a:gd name="connsiteY6" fmla="*/ 34155 h 113850"/>
                <a:gd name="connsiteX7" fmla="*/ 56408 w 66413"/>
                <a:gd name="connsiteY7" fmla="*/ 48818 h 113850"/>
                <a:gd name="connsiteX8" fmla="*/ 56925 w 66413"/>
                <a:gd name="connsiteY8" fmla="*/ 48818 h 113850"/>
                <a:gd name="connsiteX9" fmla="*/ 56925 w 66413"/>
                <a:gd name="connsiteY9" fmla="*/ 0 h 113850"/>
                <a:gd name="connsiteX10" fmla="*/ 66413 w 66413"/>
                <a:gd name="connsiteY10" fmla="*/ 0 h 113850"/>
                <a:gd name="connsiteX11" fmla="*/ 66413 w 66413"/>
                <a:gd name="connsiteY11" fmla="*/ 111953 h 113850"/>
                <a:gd name="connsiteX12" fmla="*/ 66413 w 66413"/>
                <a:gd name="connsiteY12" fmla="*/ 111953 h 113850"/>
                <a:gd name="connsiteX13" fmla="*/ 66413 w 66413"/>
                <a:gd name="connsiteY13" fmla="*/ 111953 h 113850"/>
                <a:gd name="connsiteX14" fmla="*/ 33983 w 66413"/>
                <a:gd name="connsiteY14" fmla="*/ 105571 h 113850"/>
                <a:gd name="connsiteX15" fmla="*/ 56925 w 66413"/>
                <a:gd name="connsiteY15" fmla="*/ 73831 h 113850"/>
                <a:gd name="connsiteX16" fmla="*/ 33983 w 66413"/>
                <a:gd name="connsiteY16" fmla="*/ 42090 h 113850"/>
                <a:gd name="connsiteX17" fmla="*/ 10868 w 66413"/>
                <a:gd name="connsiteY17" fmla="*/ 73831 h 113850"/>
                <a:gd name="connsiteX18" fmla="*/ 33983 w 66413"/>
                <a:gd name="connsiteY18" fmla="*/ 105571 h 1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413" h="113850">
                  <a:moveTo>
                    <a:pt x="66413" y="111953"/>
                  </a:moveTo>
                  <a:lnTo>
                    <a:pt x="56925" y="111953"/>
                  </a:lnTo>
                  <a:lnTo>
                    <a:pt x="56925" y="99878"/>
                  </a:lnTo>
                  <a:lnTo>
                    <a:pt x="56408" y="99878"/>
                  </a:lnTo>
                  <a:cubicBezTo>
                    <a:pt x="51233" y="109711"/>
                    <a:pt x="43470" y="113851"/>
                    <a:pt x="32085" y="113851"/>
                  </a:cubicBezTo>
                  <a:cubicBezTo>
                    <a:pt x="10868" y="113851"/>
                    <a:pt x="0" y="96428"/>
                    <a:pt x="0" y="74003"/>
                  </a:cubicBezTo>
                  <a:cubicBezTo>
                    <a:pt x="0" y="50888"/>
                    <a:pt x="9143" y="34155"/>
                    <a:pt x="32085" y="34155"/>
                  </a:cubicBezTo>
                  <a:cubicBezTo>
                    <a:pt x="47265" y="34155"/>
                    <a:pt x="55028" y="45023"/>
                    <a:pt x="56408" y="48818"/>
                  </a:cubicBezTo>
                  <a:lnTo>
                    <a:pt x="56925" y="48818"/>
                  </a:lnTo>
                  <a:lnTo>
                    <a:pt x="56925" y="0"/>
                  </a:lnTo>
                  <a:lnTo>
                    <a:pt x="66413" y="0"/>
                  </a:lnTo>
                  <a:lnTo>
                    <a:pt x="66413" y="111953"/>
                  </a:lnTo>
                  <a:lnTo>
                    <a:pt x="66413" y="111953"/>
                  </a:lnTo>
                  <a:lnTo>
                    <a:pt x="66413" y="111953"/>
                  </a:lnTo>
                  <a:close/>
                  <a:moveTo>
                    <a:pt x="33983" y="105571"/>
                  </a:moveTo>
                  <a:cubicBezTo>
                    <a:pt x="51060" y="105571"/>
                    <a:pt x="56925" y="87631"/>
                    <a:pt x="56925" y="73831"/>
                  </a:cubicBezTo>
                  <a:cubicBezTo>
                    <a:pt x="56925" y="60031"/>
                    <a:pt x="50888" y="42090"/>
                    <a:pt x="33983" y="42090"/>
                  </a:cubicBezTo>
                  <a:cubicBezTo>
                    <a:pt x="15525" y="42090"/>
                    <a:pt x="10868" y="58996"/>
                    <a:pt x="10868" y="73831"/>
                  </a:cubicBezTo>
                  <a:cubicBezTo>
                    <a:pt x="10868" y="88666"/>
                    <a:pt x="15525" y="105571"/>
                    <a:pt x="33983" y="105571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5" name="Gráfico 1344">
              <a:extLst>
                <a:ext uri="{FF2B5EF4-FFF2-40B4-BE49-F238E27FC236}">
                  <a16:creationId xmlns:a16="http://schemas.microsoft.com/office/drawing/2014/main" id="{23BCEDF4-3EFA-4B06-9118-CF427D4CD1E6}"/>
                </a:ext>
              </a:extLst>
            </p:cNvPr>
            <p:cNvSpPr/>
            <p:nvPr/>
          </p:nvSpPr>
          <p:spPr>
            <a:xfrm>
              <a:off x="11012372" y="3568176"/>
              <a:ext cx="62100" cy="78660"/>
            </a:xfrm>
            <a:custGeom>
              <a:avLst/>
              <a:gdLst>
                <a:gd name="connsiteX0" fmla="*/ 56408 w 62100"/>
                <a:gd name="connsiteY0" fmla="*/ 74520 h 78660"/>
                <a:gd name="connsiteX1" fmla="*/ 34500 w 62100"/>
                <a:gd name="connsiteY1" fmla="*/ 78661 h 78660"/>
                <a:gd name="connsiteX2" fmla="*/ 0 w 62100"/>
                <a:gd name="connsiteY2" fmla="*/ 39330 h 78660"/>
                <a:gd name="connsiteX3" fmla="*/ 31913 w 62100"/>
                <a:gd name="connsiteY3" fmla="*/ 0 h 78660"/>
                <a:gd name="connsiteX4" fmla="*/ 62101 w 62100"/>
                <a:gd name="connsiteY4" fmla="*/ 37260 h 78660"/>
                <a:gd name="connsiteX5" fmla="*/ 62101 w 62100"/>
                <a:gd name="connsiteY5" fmla="*/ 42090 h 78660"/>
                <a:gd name="connsiteX6" fmla="*/ 10178 w 62100"/>
                <a:gd name="connsiteY6" fmla="*/ 42090 h 78660"/>
                <a:gd name="connsiteX7" fmla="*/ 35018 w 62100"/>
                <a:gd name="connsiteY7" fmla="*/ 70726 h 78660"/>
                <a:gd name="connsiteX8" fmla="*/ 56408 w 62100"/>
                <a:gd name="connsiteY8" fmla="*/ 65033 h 78660"/>
                <a:gd name="connsiteX9" fmla="*/ 56408 w 62100"/>
                <a:gd name="connsiteY9" fmla="*/ 74520 h 78660"/>
                <a:gd name="connsiteX10" fmla="*/ 56408 w 62100"/>
                <a:gd name="connsiteY10" fmla="*/ 74520 h 78660"/>
                <a:gd name="connsiteX11" fmla="*/ 56408 w 62100"/>
                <a:gd name="connsiteY11" fmla="*/ 74520 h 78660"/>
                <a:gd name="connsiteX12" fmla="*/ 51750 w 62100"/>
                <a:gd name="connsiteY12" fmla="*/ 33810 h 78660"/>
                <a:gd name="connsiteX13" fmla="*/ 32258 w 62100"/>
                <a:gd name="connsiteY13" fmla="*/ 7590 h 78660"/>
                <a:gd name="connsiteX14" fmla="*/ 9833 w 62100"/>
                <a:gd name="connsiteY14" fmla="*/ 33810 h 78660"/>
                <a:gd name="connsiteX15" fmla="*/ 51750 w 62100"/>
                <a:gd name="connsiteY15" fmla="*/ 33810 h 78660"/>
                <a:gd name="connsiteX16" fmla="*/ 51750 w 62100"/>
                <a:gd name="connsiteY16" fmla="*/ 33810 h 78660"/>
                <a:gd name="connsiteX17" fmla="*/ 51750 w 62100"/>
                <a:gd name="connsiteY17" fmla="*/ 33810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100" h="78660">
                  <a:moveTo>
                    <a:pt x="56408" y="74520"/>
                  </a:moveTo>
                  <a:cubicBezTo>
                    <a:pt x="49853" y="77280"/>
                    <a:pt x="41400" y="78661"/>
                    <a:pt x="34500" y="78661"/>
                  </a:cubicBezTo>
                  <a:cubicBezTo>
                    <a:pt x="9315" y="78661"/>
                    <a:pt x="0" y="61928"/>
                    <a:pt x="0" y="39330"/>
                  </a:cubicBezTo>
                  <a:cubicBezTo>
                    <a:pt x="0" y="16388"/>
                    <a:pt x="12938" y="0"/>
                    <a:pt x="31913" y="0"/>
                  </a:cubicBezTo>
                  <a:cubicBezTo>
                    <a:pt x="53303" y="0"/>
                    <a:pt x="62101" y="17078"/>
                    <a:pt x="62101" y="37260"/>
                  </a:cubicBezTo>
                  <a:lnTo>
                    <a:pt x="62101" y="42090"/>
                  </a:lnTo>
                  <a:lnTo>
                    <a:pt x="10178" y="42090"/>
                  </a:lnTo>
                  <a:cubicBezTo>
                    <a:pt x="10178" y="57960"/>
                    <a:pt x="18803" y="70726"/>
                    <a:pt x="35018" y="70726"/>
                  </a:cubicBezTo>
                  <a:cubicBezTo>
                    <a:pt x="41918" y="70726"/>
                    <a:pt x="51923" y="67966"/>
                    <a:pt x="56408" y="65033"/>
                  </a:cubicBezTo>
                  <a:lnTo>
                    <a:pt x="56408" y="74520"/>
                  </a:lnTo>
                  <a:lnTo>
                    <a:pt x="56408" y="74520"/>
                  </a:lnTo>
                  <a:lnTo>
                    <a:pt x="56408" y="74520"/>
                  </a:lnTo>
                  <a:close/>
                  <a:moveTo>
                    <a:pt x="51750" y="33810"/>
                  </a:moveTo>
                  <a:cubicBezTo>
                    <a:pt x="51750" y="20700"/>
                    <a:pt x="46230" y="7590"/>
                    <a:pt x="32258" y="7590"/>
                  </a:cubicBezTo>
                  <a:cubicBezTo>
                    <a:pt x="18458" y="7590"/>
                    <a:pt x="9833" y="21218"/>
                    <a:pt x="9833" y="33810"/>
                  </a:cubicBezTo>
                  <a:lnTo>
                    <a:pt x="51750" y="33810"/>
                  </a:lnTo>
                  <a:lnTo>
                    <a:pt x="51750" y="33810"/>
                  </a:lnTo>
                  <a:lnTo>
                    <a:pt x="51750" y="3381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6" name="Gráfico 1344">
              <a:extLst>
                <a:ext uri="{FF2B5EF4-FFF2-40B4-BE49-F238E27FC236}">
                  <a16:creationId xmlns:a16="http://schemas.microsoft.com/office/drawing/2014/main" id="{3BCFFEAF-DE6C-4698-BBCA-3C722235939C}"/>
                </a:ext>
              </a:extLst>
            </p:cNvPr>
            <p:cNvSpPr/>
            <p:nvPr/>
          </p:nvSpPr>
          <p:spPr>
            <a:xfrm>
              <a:off x="11124153" y="3541266"/>
              <a:ext cx="97290" cy="103500"/>
            </a:xfrm>
            <a:custGeom>
              <a:avLst/>
              <a:gdLst>
                <a:gd name="connsiteX0" fmla="*/ 43470 w 97290"/>
                <a:gd name="connsiteY0" fmla="*/ 0 h 103500"/>
                <a:gd name="connsiteX1" fmla="*/ 55373 w 97290"/>
                <a:gd name="connsiteY1" fmla="*/ 0 h 103500"/>
                <a:gd name="connsiteX2" fmla="*/ 97290 w 97290"/>
                <a:gd name="connsiteY2" fmla="*/ 103501 h 103500"/>
                <a:gd name="connsiteX3" fmla="*/ 86250 w 97290"/>
                <a:gd name="connsiteY3" fmla="*/ 103501 h 103500"/>
                <a:gd name="connsiteX4" fmla="*/ 74865 w 97290"/>
                <a:gd name="connsiteY4" fmla="*/ 75728 h 103500"/>
                <a:gd name="connsiteX5" fmla="*/ 21563 w 97290"/>
                <a:gd name="connsiteY5" fmla="*/ 75728 h 103500"/>
                <a:gd name="connsiteX6" fmla="*/ 10178 w 97290"/>
                <a:gd name="connsiteY6" fmla="*/ 103501 h 103500"/>
                <a:gd name="connsiteX7" fmla="*/ 0 w 97290"/>
                <a:gd name="connsiteY7" fmla="*/ 103501 h 103500"/>
                <a:gd name="connsiteX8" fmla="*/ 43470 w 97290"/>
                <a:gd name="connsiteY8" fmla="*/ 0 h 103500"/>
                <a:gd name="connsiteX9" fmla="*/ 43470 w 97290"/>
                <a:gd name="connsiteY9" fmla="*/ 0 h 103500"/>
                <a:gd name="connsiteX10" fmla="*/ 43470 w 97290"/>
                <a:gd name="connsiteY10" fmla="*/ 0 h 103500"/>
                <a:gd name="connsiteX11" fmla="*/ 48645 w 97290"/>
                <a:gd name="connsiteY11" fmla="*/ 9832 h 103500"/>
                <a:gd name="connsiteX12" fmla="*/ 25530 w 97290"/>
                <a:gd name="connsiteY12" fmla="*/ 66758 h 103500"/>
                <a:gd name="connsiteX13" fmla="*/ 71415 w 97290"/>
                <a:gd name="connsiteY13" fmla="*/ 66758 h 103500"/>
                <a:gd name="connsiteX14" fmla="*/ 48645 w 97290"/>
                <a:gd name="connsiteY14" fmla="*/ 9832 h 103500"/>
                <a:gd name="connsiteX15" fmla="*/ 48645 w 97290"/>
                <a:gd name="connsiteY15" fmla="*/ 9832 h 103500"/>
                <a:gd name="connsiteX16" fmla="*/ 48645 w 97290"/>
                <a:gd name="connsiteY16" fmla="*/ 9832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290" h="103500">
                  <a:moveTo>
                    <a:pt x="43470" y="0"/>
                  </a:moveTo>
                  <a:lnTo>
                    <a:pt x="55373" y="0"/>
                  </a:lnTo>
                  <a:lnTo>
                    <a:pt x="97290" y="103501"/>
                  </a:lnTo>
                  <a:lnTo>
                    <a:pt x="86250" y="103501"/>
                  </a:lnTo>
                  <a:lnTo>
                    <a:pt x="74865" y="75728"/>
                  </a:lnTo>
                  <a:lnTo>
                    <a:pt x="21563" y="75728"/>
                  </a:lnTo>
                  <a:lnTo>
                    <a:pt x="10178" y="103501"/>
                  </a:lnTo>
                  <a:lnTo>
                    <a:pt x="0" y="103501"/>
                  </a:lnTo>
                  <a:lnTo>
                    <a:pt x="43470" y="0"/>
                  </a:lnTo>
                  <a:lnTo>
                    <a:pt x="43470" y="0"/>
                  </a:lnTo>
                  <a:lnTo>
                    <a:pt x="43470" y="0"/>
                  </a:lnTo>
                  <a:close/>
                  <a:moveTo>
                    <a:pt x="48645" y="9832"/>
                  </a:moveTo>
                  <a:lnTo>
                    <a:pt x="25530" y="66758"/>
                  </a:lnTo>
                  <a:lnTo>
                    <a:pt x="71415" y="66758"/>
                  </a:lnTo>
                  <a:lnTo>
                    <a:pt x="48645" y="9832"/>
                  </a:lnTo>
                  <a:lnTo>
                    <a:pt x="48645" y="9832"/>
                  </a:lnTo>
                  <a:lnTo>
                    <a:pt x="48645" y="983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7" name="Gráfico 1344">
              <a:extLst>
                <a:ext uri="{FF2B5EF4-FFF2-40B4-BE49-F238E27FC236}">
                  <a16:creationId xmlns:a16="http://schemas.microsoft.com/office/drawing/2014/main" id="{D74C47DC-B345-4ED2-A4AF-7B02F2AD9D44}"/>
                </a:ext>
              </a:extLst>
            </p:cNvPr>
            <p:cNvSpPr/>
            <p:nvPr/>
          </p:nvSpPr>
          <p:spPr>
            <a:xfrm>
              <a:off x="11233864" y="3568176"/>
              <a:ext cx="35189" cy="78660"/>
            </a:xfrm>
            <a:custGeom>
              <a:avLst/>
              <a:gdLst>
                <a:gd name="connsiteX0" fmla="*/ 690 w 35189"/>
                <a:gd name="connsiteY0" fmla="*/ 18975 h 78660"/>
                <a:gd name="connsiteX1" fmla="*/ 0 w 35189"/>
                <a:gd name="connsiteY1" fmla="*/ 1898 h 78660"/>
                <a:gd name="connsiteX2" fmla="*/ 9142 w 35189"/>
                <a:gd name="connsiteY2" fmla="*/ 1898 h 78660"/>
                <a:gd name="connsiteX3" fmla="*/ 9142 w 35189"/>
                <a:gd name="connsiteY3" fmla="*/ 16560 h 78660"/>
                <a:gd name="connsiteX4" fmla="*/ 9315 w 35189"/>
                <a:gd name="connsiteY4" fmla="*/ 16560 h 78660"/>
                <a:gd name="connsiteX5" fmla="*/ 28635 w 35189"/>
                <a:gd name="connsiteY5" fmla="*/ 0 h 78660"/>
                <a:gd name="connsiteX6" fmla="*/ 35190 w 35189"/>
                <a:gd name="connsiteY6" fmla="*/ 863 h 78660"/>
                <a:gd name="connsiteX7" fmla="*/ 35190 w 35189"/>
                <a:gd name="connsiteY7" fmla="*/ 10868 h 78660"/>
                <a:gd name="connsiteX8" fmla="*/ 28289 w 35189"/>
                <a:gd name="connsiteY8" fmla="*/ 10005 h 78660"/>
                <a:gd name="connsiteX9" fmla="*/ 9660 w 35189"/>
                <a:gd name="connsiteY9" fmla="*/ 40710 h 78660"/>
                <a:gd name="connsiteX10" fmla="*/ 9660 w 35189"/>
                <a:gd name="connsiteY10" fmla="*/ 78661 h 78660"/>
                <a:gd name="connsiteX11" fmla="*/ 517 w 35189"/>
                <a:gd name="connsiteY11" fmla="*/ 78661 h 78660"/>
                <a:gd name="connsiteX12" fmla="*/ 517 w 35189"/>
                <a:gd name="connsiteY12" fmla="*/ 18975 h 78660"/>
                <a:gd name="connsiteX13" fmla="*/ 690 w 35189"/>
                <a:gd name="connsiteY13" fmla="*/ 18975 h 78660"/>
                <a:gd name="connsiteX14" fmla="*/ 690 w 35189"/>
                <a:gd name="connsiteY14" fmla="*/ 18975 h 7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189" h="78660">
                  <a:moveTo>
                    <a:pt x="690" y="18975"/>
                  </a:moveTo>
                  <a:cubicBezTo>
                    <a:pt x="690" y="10695"/>
                    <a:pt x="690" y="7417"/>
                    <a:pt x="0" y="1898"/>
                  </a:cubicBezTo>
                  <a:lnTo>
                    <a:pt x="9142" y="1898"/>
                  </a:lnTo>
                  <a:lnTo>
                    <a:pt x="9142" y="16560"/>
                  </a:lnTo>
                  <a:lnTo>
                    <a:pt x="9315" y="16560"/>
                  </a:lnTo>
                  <a:cubicBezTo>
                    <a:pt x="12592" y="8108"/>
                    <a:pt x="19147" y="0"/>
                    <a:pt x="28635" y="0"/>
                  </a:cubicBezTo>
                  <a:cubicBezTo>
                    <a:pt x="30705" y="0"/>
                    <a:pt x="33465" y="345"/>
                    <a:pt x="35190" y="863"/>
                  </a:cubicBezTo>
                  <a:lnTo>
                    <a:pt x="35190" y="10868"/>
                  </a:lnTo>
                  <a:cubicBezTo>
                    <a:pt x="33293" y="10178"/>
                    <a:pt x="30877" y="10005"/>
                    <a:pt x="28289" y="10005"/>
                  </a:cubicBezTo>
                  <a:cubicBezTo>
                    <a:pt x="13627" y="10005"/>
                    <a:pt x="9660" y="26910"/>
                    <a:pt x="9660" y="40710"/>
                  </a:cubicBezTo>
                  <a:lnTo>
                    <a:pt x="9660" y="78661"/>
                  </a:lnTo>
                  <a:lnTo>
                    <a:pt x="517" y="78661"/>
                  </a:lnTo>
                  <a:lnTo>
                    <a:pt x="517" y="18975"/>
                  </a:lnTo>
                  <a:lnTo>
                    <a:pt x="690" y="18975"/>
                  </a:lnTo>
                  <a:lnTo>
                    <a:pt x="690" y="1897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8" name="Gráfico 1344">
              <a:extLst>
                <a:ext uri="{FF2B5EF4-FFF2-40B4-BE49-F238E27FC236}">
                  <a16:creationId xmlns:a16="http://schemas.microsoft.com/office/drawing/2014/main" id="{FD46240F-08E6-468F-8830-8C7CDAE8A10D}"/>
                </a:ext>
              </a:extLst>
            </p:cNvPr>
            <p:cNvSpPr/>
            <p:nvPr/>
          </p:nvSpPr>
          <p:spPr>
            <a:xfrm>
              <a:off x="11279576" y="3568004"/>
              <a:ext cx="58132" cy="78832"/>
            </a:xfrm>
            <a:custGeom>
              <a:avLst/>
              <a:gdLst>
                <a:gd name="connsiteX0" fmla="*/ 48818 w 58132"/>
                <a:gd name="connsiteY0" fmla="*/ 65033 h 78832"/>
                <a:gd name="connsiteX1" fmla="*/ 48645 w 58132"/>
                <a:gd name="connsiteY1" fmla="*/ 65033 h 78832"/>
                <a:gd name="connsiteX2" fmla="*/ 24840 w 58132"/>
                <a:gd name="connsiteY2" fmla="*/ 78833 h 78832"/>
                <a:gd name="connsiteX3" fmla="*/ 0 w 58132"/>
                <a:gd name="connsiteY3" fmla="*/ 57443 h 78832"/>
                <a:gd name="connsiteX4" fmla="*/ 46403 w 58132"/>
                <a:gd name="connsiteY4" fmla="*/ 31050 h 78832"/>
                <a:gd name="connsiteX5" fmla="*/ 48129 w 58132"/>
                <a:gd name="connsiteY5" fmla="*/ 31050 h 78832"/>
                <a:gd name="connsiteX6" fmla="*/ 48129 w 58132"/>
                <a:gd name="connsiteY6" fmla="*/ 27255 h 78832"/>
                <a:gd name="connsiteX7" fmla="*/ 31050 w 58132"/>
                <a:gd name="connsiteY7" fmla="*/ 7935 h 78832"/>
                <a:gd name="connsiteX8" fmla="*/ 8798 w 58132"/>
                <a:gd name="connsiteY8" fmla="*/ 14145 h 78832"/>
                <a:gd name="connsiteX9" fmla="*/ 8798 w 58132"/>
                <a:gd name="connsiteY9" fmla="*/ 5175 h 78832"/>
                <a:gd name="connsiteX10" fmla="*/ 31050 w 58132"/>
                <a:gd name="connsiteY10" fmla="*/ 0 h 78832"/>
                <a:gd name="connsiteX11" fmla="*/ 57443 w 58132"/>
                <a:gd name="connsiteY11" fmla="*/ 28118 h 78832"/>
                <a:gd name="connsiteX12" fmla="*/ 57443 w 58132"/>
                <a:gd name="connsiteY12" fmla="*/ 61238 h 78832"/>
                <a:gd name="connsiteX13" fmla="*/ 58133 w 58132"/>
                <a:gd name="connsiteY13" fmla="*/ 77108 h 78832"/>
                <a:gd name="connsiteX14" fmla="*/ 48991 w 58132"/>
                <a:gd name="connsiteY14" fmla="*/ 77108 h 78832"/>
                <a:gd name="connsiteX15" fmla="*/ 48991 w 58132"/>
                <a:gd name="connsiteY15" fmla="*/ 65033 h 78832"/>
                <a:gd name="connsiteX16" fmla="*/ 48818 w 58132"/>
                <a:gd name="connsiteY16" fmla="*/ 65033 h 78832"/>
                <a:gd name="connsiteX17" fmla="*/ 48818 w 58132"/>
                <a:gd name="connsiteY17" fmla="*/ 65033 h 78832"/>
                <a:gd name="connsiteX18" fmla="*/ 47956 w 58132"/>
                <a:gd name="connsiteY18" fmla="*/ 39158 h 78832"/>
                <a:gd name="connsiteX19" fmla="*/ 45195 w 58132"/>
                <a:gd name="connsiteY19" fmla="*/ 39158 h 78832"/>
                <a:gd name="connsiteX20" fmla="*/ 10005 w 58132"/>
                <a:gd name="connsiteY20" fmla="*/ 57270 h 78832"/>
                <a:gd name="connsiteX21" fmla="*/ 25703 w 58132"/>
                <a:gd name="connsiteY21" fmla="*/ 70898 h 78832"/>
                <a:gd name="connsiteX22" fmla="*/ 47956 w 58132"/>
                <a:gd name="connsiteY22" fmla="*/ 43643 h 78832"/>
                <a:gd name="connsiteX23" fmla="*/ 47956 w 58132"/>
                <a:gd name="connsiteY23" fmla="*/ 39158 h 78832"/>
                <a:gd name="connsiteX24" fmla="*/ 47956 w 58132"/>
                <a:gd name="connsiteY24" fmla="*/ 39158 h 78832"/>
                <a:gd name="connsiteX25" fmla="*/ 47956 w 58132"/>
                <a:gd name="connsiteY25" fmla="*/ 39158 h 7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8132" h="78832">
                  <a:moveTo>
                    <a:pt x="48818" y="65033"/>
                  </a:moveTo>
                  <a:lnTo>
                    <a:pt x="48645" y="65033"/>
                  </a:lnTo>
                  <a:cubicBezTo>
                    <a:pt x="44506" y="74003"/>
                    <a:pt x="33983" y="78833"/>
                    <a:pt x="24840" y="78833"/>
                  </a:cubicBezTo>
                  <a:cubicBezTo>
                    <a:pt x="3450" y="78833"/>
                    <a:pt x="0" y="64343"/>
                    <a:pt x="0" y="57443"/>
                  </a:cubicBezTo>
                  <a:cubicBezTo>
                    <a:pt x="0" y="32258"/>
                    <a:pt x="26737" y="31050"/>
                    <a:pt x="46403" y="31050"/>
                  </a:cubicBezTo>
                  <a:lnTo>
                    <a:pt x="48129" y="31050"/>
                  </a:lnTo>
                  <a:lnTo>
                    <a:pt x="48129" y="27255"/>
                  </a:lnTo>
                  <a:cubicBezTo>
                    <a:pt x="48129" y="14490"/>
                    <a:pt x="43471" y="7935"/>
                    <a:pt x="31050" y="7935"/>
                  </a:cubicBezTo>
                  <a:cubicBezTo>
                    <a:pt x="23116" y="7935"/>
                    <a:pt x="15698" y="9660"/>
                    <a:pt x="8798" y="14145"/>
                  </a:cubicBezTo>
                  <a:lnTo>
                    <a:pt x="8798" y="5175"/>
                  </a:lnTo>
                  <a:cubicBezTo>
                    <a:pt x="14491" y="2242"/>
                    <a:pt x="24323" y="0"/>
                    <a:pt x="31050" y="0"/>
                  </a:cubicBezTo>
                  <a:cubicBezTo>
                    <a:pt x="49680" y="0"/>
                    <a:pt x="57443" y="8452"/>
                    <a:pt x="57443" y="28118"/>
                  </a:cubicBezTo>
                  <a:lnTo>
                    <a:pt x="57443" y="61238"/>
                  </a:lnTo>
                  <a:cubicBezTo>
                    <a:pt x="57443" y="67275"/>
                    <a:pt x="57443" y="71933"/>
                    <a:pt x="58133" y="77108"/>
                  </a:cubicBezTo>
                  <a:lnTo>
                    <a:pt x="48991" y="77108"/>
                  </a:lnTo>
                  <a:lnTo>
                    <a:pt x="48991" y="65033"/>
                  </a:lnTo>
                  <a:lnTo>
                    <a:pt x="48818" y="65033"/>
                  </a:lnTo>
                  <a:lnTo>
                    <a:pt x="48818" y="65033"/>
                  </a:lnTo>
                  <a:close/>
                  <a:moveTo>
                    <a:pt x="47956" y="39158"/>
                  </a:moveTo>
                  <a:lnTo>
                    <a:pt x="45195" y="39158"/>
                  </a:lnTo>
                  <a:cubicBezTo>
                    <a:pt x="29153" y="39158"/>
                    <a:pt x="10005" y="40883"/>
                    <a:pt x="10005" y="57270"/>
                  </a:cubicBezTo>
                  <a:cubicBezTo>
                    <a:pt x="10005" y="67103"/>
                    <a:pt x="17077" y="70898"/>
                    <a:pt x="25703" y="70898"/>
                  </a:cubicBezTo>
                  <a:cubicBezTo>
                    <a:pt x="47438" y="70898"/>
                    <a:pt x="47956" y="51923"/>
                    <a:pt x="47956" y="43643"/>
                  </a:cubicBezTo>
                  <a:lnTo>
                    <a:pt x="47956" y="39158"/>
                  </a:lnTo>
                  <a:lnTo>
                    <a:pt x="47956" y="39158"/>
                  </a:lnTo>
                  <a:lnTo>
                    <a:pt x="47956" y="3915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39" name="Gráfico 1344">
              <a:extLst>
                <a:ext uri="{FF2B5EF4-FFF2-40B4-BE49-F238E27FC236}">
                  <a16:creationId xmlns:a16="http://schemas.microsoft.com/office/drawing/2014/main" id="{0475F166-C206-4BD2-9EBF-55F4A41A3AC8}"/>
                </a:ext>
              </a:extLst>
            </p:cNvPr>
            <p:cNvSpPr/>
            <p:nvPr/>
          </p:nvSpPr>
          <p:spPr>
            <a:xfrm>
              <a:off x="11352027" y="3547303"/>
              <a:ext cx="43470" cy="99360"/>
            </a:xfrm>
            <a:custGeom>
              <a:avLst/>
              <a:gdLst>
                <a:gd name="connsiteX0" fmla="*/ 41228 w 43470"/>
                <a:gd name="connsiteY0" fmla="*/ 29498 h 99360"/>
                <a:gd name="connsiteX1" fmla="*/ 23978 w 43470"/>
                <a:gd name="connsiteY1" fmla="*/ 29498 h 99360"/>
                <a:gd name="connsiteX2" fmla="*/ 23978 w 43470"/>
                <a:gd name="connsiteY2" fmla="*/ 78833 h 99360"/>
                <a:gd name="connsiteX3" fmla="*/ 34155 w 43470"/>
                <a:gd name="connsiteY3" fmla="*/ 91253 h 99360"/>
                <a:gd name="connsiteX4" fmla="*/ 42780 w 43470"/>
                <a:gd name="connsiteY4" fmla="*/ 89528 h 99360"/>
                <a:gd name="connsiteX5" fmla="*/ 43471 w 43470"/>
                <a:gd name="connsiteY5" fmla="*/ 97291 h 99360"/>
                <a:gd name="connsiteX6" fmla="*/ 32085 w 43470"/>
                <a:gd name="connsiteY6" fmla="*/ 99361 h 99360"/>
                <a:gd name="connsiteX7" fmla="*/ 14835 w 43470"/>
                <a:gd name="connsiteY7" fmla="*/ 74003 h 99360"/>
                <a:gd name="connsiteX8" fmla="*/ 14835 w 43470"/>
                <a:gd name="connsiteY8" fmla="*/ 29670 h 99360"/>
                <a:gd name="connsiteX9" fmla="*/ 0 w 43470"/>
                <a:gd name="connsiteY9" fmla="*/ 29670 h 99360"/>
                <a:gd name="connsiteX10" fmla="*/ 0 w 43470"/>
                <a:gd name="connsiteY10" fmla="*/ 21563 h 99360"/>
                <a:gd name="connsiteX11" fmla="*/ 14835 w 43470"/>
                <a:gd name="connsiteY11" fmla="*/ 21563 h 99360"/>
                <a:gd name="connsiteX12" fmla="*/ 14835 w 43470"/>
                <a:gd name="connsiteY12" fmla="*/ 3105 h 99360"/>
                <a:gd name="connsiteX13" fmla="*/ 24151 w 43470"/>
                <a:gd name="connsiteY13" fmla="*/ 0 h 99360"/>
                <a:gd name="connsiteX14" fmla="*/ 24151 w 43470"/>
                <a:gd name="connsiteY14" fmla="*/ 21563 h 99360"/>
                <a:gd name="connsiteX15" fmla="*/ 41401 w 43470"/>
                <a:gd name="connsiteY15" fmla="*/ 21563 h 99360"/>
                <a:gd name="connsiteX16" fmla="*/ 41401 w 43470"/>
                <a:gd name="connsiteY16" fmla="*/ 29498 h 99360"/>
                <a:gd name="connsiteX17" fmla="*/ 41228 w 43470"/>
                <a:gd name="connsiteY17" fmla="*/ 29498 h 99360"/>
                <a:gd name="connsiteX18" fmla="*/ 41228 w 43470"/>
                <a:gd name="connsiteY18" fmla="*/ 29498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470" h="99360">
                  <a:moveTo>
                    <a:pt x="41228" y="29498"/>
                  </a:moveTo>
                  <a:lnTo>
                    <a:pt x="23978" y="29498"/>
                  </a:lnTo>
                  <a:lnTo>
                    <a:pt x="23978" y="78833"/>
                  </a:lnTo>
                  <a:cubicBezTo>
                    <a:pt x="23978" y="85561"/>
                    <a:pt x="26565" y="91253"/>
                    <a:pt x="34155" y="91253"/>
                  </a:cubicBezTo>
                  <a:cubicBezTo>
                    <a:pt x="37778" y="91253"/>
                    <a:pt x="40020" y="90391"/>
                    <a:pt x="42780" y="89528"/>
                  </a:cubicBezTo>
                  <a:lnTo>
                    <a:pt x="43471" y="97291"/>
                  </a:lnTo>
                  <a:cubicBezTo>
                    <a:pt x="41228" y="98153"/>
                    <a:pt x="36743" y="99361"/>
                    <a:pt x="32085" y="99361"/>
                  </a:cubicBezTo>
                  <a:cubicBezTo>
                    <a:pt x="15353" y="99361"/>
                    <a:pt x="14835" y="87976"/>
                    <a:pt x="14835" y="74003"/>
                  </a:cubicBezTo>
                  <a:lnTo>
                    <a:pt x="14835" y="29670"/>
                  </a:lnTo>
                  <a:lnTo>
                    <a:pt x="0" y="29670"/>
                  </a:lnTo>
                  <a:lnTo>
                    <a:pt x="0" y="21563"/>
                  </a:lnTo>
                  <a:lnTo>
                    <a:pt x="14835" y="21563"/>
                  </a:lnTo>
                  <a:lnTo>
                    <a:pt x="14835" y="3105"/>
                  </a:lnTo>
                  <a:lnTo>
                    <a:pt x="24151" y="0"/>
                  </a:lnTo>
                  <a:lnTo>
                    <a:pt x="24151" y="21563"/>
                  </a:lnTo>
                  <a:lnTo>
                    <a:pt x="41401" y="21563"/>
                  </a:lnTo>
                  <a:lnTo>
                    <a:pt x="41401" y="29498"/>
                  </a:lnTo>
                  <a:lnTo>
                    <a:pt x="41228" y="29498"/>
                  </a:lnTo>
                  <a:lnTo>
                    <a:pt x="41228" y="2949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0" name="Gráfico 1344">
              <a:extLst>
                <a:ext uri="{FF2B5EF4-FFF2-40B4-BE49-F238E27FC236}">
                  <a16:creationId xmlns:a16="http://schemas.microsoft.com/office/drawing/2014/main" id="{E48B909F-463C-4519-814D-650903E91150}"/>
                </a:ext>
              </a:extLst>
            </p:cNvPr>
            <p:cNvSpPr/>
            <p:nvPr/>
          </p:nvSpPr>
          <p:spPr>
            <a:xfrm>
              <a:off x="11409815" y="3568004"/>
              <a:ext cx="60031" cy="78832"/>
            </a:xfrm>
            <a:custGeom>
              <a:avLst/>
              <a:gdLst>
                <a:gd name="connsiteX0" fmla="*/ 59340 w 60031"/>
                <a:gd name="connsiteY0" fmla="*/ 58823 h 78832"/>
                <a:gd name="connsiteX1" fmla="*/ 60031 w 60031"/>
                <a:gd name="connsiteY1" fmla="*/ 76935 h 78832"/>
                <a:gd name="connsiteX2" fmla="*/ 50888 w 60031"/>
                <a:gd name="connsiteY2" fmla="*/ 76935 h 78832"/>
                <a:gd name="connsiteX3" fmla="*/ 50888 w 60031"/>
                <a:gd name="connsiteY3" fmla="*/ 63308 h 78832"/>
                <a:gd name="connsiteX4" fmla="*/ 50543 w 60031"/>
                <a:gd name="connsiteY4" fmla="*/ 63308 h 78832"/>
                <a:gd name="connsiteX5" fmla="*/ 25875 w 60031"/>
                <a:gd name="connsiteY5" fmla="*/ 78833 h 78832"/>
                <a:gd name="connsiteX6" fmla="*/ 0 w 60031"/>
                <a:gd name="connsiteY6" fmla="*/ 49335 h 78832"/>
                <a:gd name="connsiteX7" fmla="*/ 0 w 60031"/>
                <a:gd name="connsiteY7" fmla="*/ 345 h 78832"/>
                <a:gd name="connsiteX8" fmla="*/ 9316 w 60031"/>
                <a:gd name="connsiteY8" fmla="*/ 345 h 78832"/>
                <a:gd name="connsiteX9" fmla="*/ 9316 w 60031"/>
                <a:gd name="connsiteY9" fmla="*/ 46748 h 78832"/>
                <a:gd name="connsiteX10" fmla="*/ 27428 w 60031"/>
                <a:gd name="connsiteY10" fmla="*/ 70380 h 78832"/>
                <a:gd name="connsiteX11" fmla="*/ 49853 w 60031"/>
                <a:gd name="connsiteY11" fmla="*/ 42435 h 78832"/>
                <a:gd name="connsiteX12" fmla="*/ 49853 w 60031"/>
                <a:gd name="connsiteY12" fmla="*/ 0 h 78832"/>
                <a:gd name="connsiteX13" fmla="*/ 59168 w 60031"/>
                <a:gd name="connsiteY13" fmla="*/ 0 h 78832"/>
                <a:gd name="connsiteX14" fmla="*/ 59168 w 60031"/>
                <a:gd name="connsiteY14" fmla="*/ 58650 h 78832"/>
                <a:gd name="connsiteX15" fmla="*/ 59340 w 60031"/>
                <a:gd name="connsiteY15" fmla="*/ 58650 h 78832"/>
                <a:gd name="connsiteX16" fmla="*/ 59340 w 60031"/>
                <a:gd name="connsiteY16" fmla="*/ 58823 h 7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031" h="78832">
                  <a:moveTo>
                    <a:pt x="59340" y="58823"/>
                  </a:moveTo>
                  <a:cubicBezTo>
                    <a:pt x="59340" y="64860"/>
                    <a:pt x="59340" y="70725"/>
                    <a:pt x="60031" y="76935"/>
                  </a:cubicBezTo>
                  <a:lnTo>
                    <a:pt x="50888" y="76935"/>
                  </a:lnTo>
                  <a:lnTo>
                    <a:pt x="50888" y="63308"/>
                  </a:lnTo>
                  <a:lnTo>
                    <a:pt x="50543" y="63308"/>
                  </a:lnTo>
                  <a:cubicBezTo>
                    <a:pt x="47438" y="70208"/>
                    <a:pt x="41573" y="78833"/>
                    <a:pt x="25875" y="78833"/>
                  </a:cubicBezTo>
                  <a:cubicBezTo>
                    <a:pt x="7073" y="78833"/>
                    <a:pt x="0" y="66240"/>
                    <a:pt x="0" y="49335"/>
                  </a:cubicBezTo>
                  <a:lnTo>
                    <a:pt x="0" y="345"/>
                  </a:lnTo>
                  <a:lnTo>
                    <a:pt x="9316" y="345"/>
                  </a:lnTo>
                  <a:lnTo>
                    <a:pt x="9316" y="46748"/>
                  </a:lnTo>
                  <a:cubicBezTo>
                    <a:pt x="9316" y="61065"/>
                    <a:pt x="14491" y="70380"/>
                    <a:pt x="27428" y="70380"/>
                  </a:cubicBezTo>
                  <a:cubicBezTo>
                    <a:pt x="44678" y="70380"/>
                    <a:pt x="49853" y="55200"/>
                    <a:pt x="49853" y="42435"/>
                  </a:cubicBezTo>
                  <a:lnTo>
                    <a:pt x="49853" y="0"/>
                  </a:lnTo>
                  <a:lnTo>
                    <a:pt x="59168" y="0"/>
                  </a:lnTo>
                  <a:lnTo>
                    <a:pt x="59168" y="58650"/>
                  </a:lnTo>
                  <a:lnTo>
                    <a:pt x="59340" y="58650"/>
                  </a:lnTo>
                  <a:lnTo>
                    <a:pt x="59340" y="588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41" name="Agrupar 840">
            <a:extLst>
              <a:ext uri="{FF2B5EF4-FFF2-40B4-BE49-F238E27FC236}">
                <a16:creationId xmlns:a16="http://schemas.microsoft.com/office/drawing/2014/main" id="{D64A1614-714D-48F1-9744-64F4185F4544}"/>
              </a:ext>
            </a:extLst>
          </p:cNvPr>
          <p:cNvGrpSpPr/>
          <p:nvPr/>
        </p:nvGrpSpPr>
        <p:grpSpPr>
          <a:xfrm>
            <a:off x="8594563" y="6281966"/>
            <a:ext cx="993780" cy="116093"/>
            <a:chOff x="8426923" y="6281966"/>
            <a:chExt cx="993780" cy="116093"/>
          </a:xfrm>
        </p:grpSpPr>
        <p:sp>
          <p:nvSpPr>
            <p:cNvPr id="842" name="Gráfico 1344">
              <a:extLst>
                <a:ext uri="{FF2B5EF4-FFF2-40B4-BE49-F238E27FC236}">
                  <a16:creationId xmlns:a16="http://schemas.microsoft.com/office/drawing/2014/main" id="{D600C173-1D4E-4E58-8E11-31ACA64AA0B2}"/>
                </a:ext>
              </a:extLst>
            </p:cNvPr>
            <p:cNvSpPr/>
            <p:nvPr/>
          </p:nvSpPr>
          <p:spPr>
            <a:xfrm>
              <a:off x="8426923" y="6290246"/>
              <a:ext cx="57960" cy="105571"/>
            </a:xfrm>
            <a:custGeom>
              <a:avLst/>
              <a:gdLst>
                <a:gd name="connsiteX0" fmla="*/ 0 w 57960"/>
                <a:gd name="connsiteY0" fmla="*/ 0 h 105571"/>
                <a:gd name="connsiteX1" fmla="*/ 25703 w 57960"/>
                <a:gd name="connsiteY1" fmla="*/ 0 h 105571"/>
                <a:gd name="connsiteX2" fmla="*/ 57961 w 57960"/>
                <a:gd name="connsiteY2" fmla="*/ 29843 h 105571"/>
                <a:gd name="connsiteX3" fmla="*/ 24668 w 57960"/>
                <a:gd name="connsiteY3" fmla="*/ 59858 h 105571"/>
                <a:gd name="connsiteX4" fmla="*/ 10523 w 57960"/>
                <a:gd name="connsiteY4" fmla="*/ 59858 h 105571"/>
                <a:gd name="connsiteX5" fmla="*/ 10523 w 57960"/>
                <a:gd name="connsiteY5" fmla="*/ 105571 h 105571"/>
                <a:gd name="connsiteX6" fmla="*/ 173 w 57960"/>
                <a:gd name="connsiteY6" fmla="*/ 105571 h 105571"/>
                <a:gd name="connsiteX7" fmla="*/ 173 w 57960"/>
                <a:gd name="connsiteY7" fmla="*/ 0 h 105571"/>
                <a:gd name="connsiteX8" fmla="*/ 0 w 57960"/>
                <a:gd name="connsiteY8" fmla="*/ 0 h 105571"/>
                <a:gd name="connsiteX9" fmla="*/ 0 w 57960"/>
                <a:gd name="connsiteY9" fmla="*/ 0 h 105571"/>
                <a:gd name="connsiteX10" fmla="*/ 10350 w 57960"/>
                <a:gd name="connsiteY10" fmla="*/ 50888 h 105571"/>
                <a:gd name="connsiteX11" fmla="*/ 17595 w 57960"/>
                <a:gd name="connsiteY11" fmla="*/ 50888 h 105571"/>
                <a:gd name="connsiteX12" fmla="*/ 47783 w 57960"/>
                <a:gd name="connsiteY12" fmla="*/ 30016 h 105571"/>
                <a:gd name="connsiteX13" fmla="*/ 27255 w 57960"/>
                <a:gd name="connsiteY13" fmla="*/ 9143 h 105571"/>
                <a:gd name="connsiteX14" fmla="*/ 10523 w 57960"/>
                <a:gd name="connsiteY14" fmla="*/ 9143 h 105571"/>
                <a:gd name="connsiteX15" fmla="*/ 10523 w 57960"/>
                <a:gd name="connsiteY15" fmla="*/ 50888 h 105571"/>
                <a:gd name="connsiteX16" fmla="*/ 10350 w 57960"/>
                <a:gd name="connsiteY16" fmla="*/ 50888 h 105571"/>
                <a:gd name="connsiteX17" fmla="*/ 10350 w 57960"/>
                <a:gd name="connsiteY17" fmla="*/ 50888 h 10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960" h="105571">
                  <a:moveTo>
                    <a:pt x="0" y="0"/>
                  </a:moveTo>
                  <a:lnTo>
                    <a:pt x="25703" y="0"/>
                  </a:lnTo>
                  <a:cubicBezTo>
                    <a:pt x="45195" y="0"/>
                    <a:pt x="57961" y="9833"/>
                    <a:pt x="57961" y="29843"/>
                  </a:cubicBezTo>
                  <a:cubicBezTo>
                    <a:pt x="57961" y="49336"/>
                    <a:pt x="43298" y="59858"/>
                    <a:pt x="24668" y="59858"/>
                  </a:cubicBezTo>
                  <a:lnTo>
                    <a:pt x="10523" y="59858"/>
                  </a:lnTo>
                  <a:lnTo>
                    <a:pt x="10523" y="105571"/>
                  </a:lnTo>
                  <a:lnTo>
                    <a:pt x="173" y="105571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10350" y="50888"/>
                  </a:moveTo>
                  <a:lnTo>
                    <a:pt x="17595" y="50888"/>
                  </a:lnTo>
                  <a:cubicBezTo>
                    <a:pt x="33120" y="50888"/>
                    <a:pt x="47783" y="49163"/>
                    <a:pt x="47783" y="30016"/>
                  </a:cubicBezTo>
                  <a:cubicBezTo>
                    <a:pt x="47783" y="16733"/>
                    <a:pt x="40365" y="9143"/>
                    <a:pt x="27255" y="9143"/>
                  </a:cubicBezTo>
                  <a:lnTo>
                    <a:pt x="10523" y="9143"/>
                  </a:lnTo>
                  <a:lnTo>
                    <a:pt x="10523" y="50888"/>
                  </a:lnTo>
                  <a:lnTo>
                    <a:pt x="10350" y="50888"/>
                  </a:lnTo>
                  <a:lnTo>
                    <a:pt x="10350" y="508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3" name="Gráfico 1344">
              <a:extLst>
                <a:ext uri="{FF2B5EF4-FFF2-40B4-BE49-F238E27FC236}">
                  <a16:creationId xmlns:a16="http://schemas.microsoft.com/office/drawing/2014/main" id="{35FFC072-CAB5-4B17-9C1E-B33C8005FE3D}"/>
                </a:ext>
              </a:extLst>
            </p:cNvPr>
            <p:cNvSpPr/>
            <p:nvPr/>
          </p:nvSpPr>
          <p:spPr>
            <a:xfrm>
              <a:off x="8495234" y="6317156"/>
              <a:ext cx="72450" cy="80730"/>
            </a:xfrm>
            <a:custGeom>
              <a:avLst/>
              <a:gdLst>
                <a:gd name="connsiteX0" fmla="*/ 36225 w 72450"/>
                <a:gd name="connsiteY0" fmla="*/ 0 h 80730"/>
                <a:gd name="connsiteX1" fmla="*/ 72451 w 72450"/>
                <a:gd name="connsiteY1" fmla="*/ 40366 h 80730"/>
                <a:gd name="connsiteX2" fmla="*/ 36225 w 72450"/>
                <a:gd name="connsiteY2" fmla="*/ 80731 h 80730"/>
                <a:gd name="connsiteX3" fmla="*/ 0 w 72450"/>
                <a:gd name="connsiteY3" fmla="*/ 40366 h 80730"/>
                <a:gd name="connsiteX4" fmla="*/ 36225 w 72450"/>
                <a:gd name="connsiteY4" fmla="*/ 0 h 80730"/>
                <a:gd name="connsiteX5" fmla="*/ 36225 w 72450"/>
                <a:gd name="connsiteY5" fmla="*/ 72623 h 80730"/>
                <a:gd name="connsiteX6" fmla="*/ 61928 w 72450"/>
                <a:gd name="connsiteY6" fmla="*/ 40366 h 80730"/>
                <a:gd name="connsiteX7" fmla="*/ 36225 w 72450"/>
                <a:gd name="connsiteY7" fmla="*/ 8108 h 80730"/>
                <a:gd name="connsiteX8" fmla="*/ 10523 w 72450"/>
                <a:gd name="connsiteY8" fmla="*/ 40366 h 80730"/>
                <a:gd name="connsiteX9" fmla="*/ 36225 w 7245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80730">
                  <a:moveTo>
                    <a:pt x="36225" y="0"/>
                  </a:moveTo>
                  <a:cubicBezTo>
                    <a:pt x="61238" y="0"/>
                    <a:pt x="72451" y="19321"/>
                    <a:pt x="72451" y="40366"/>
                  </a:cubicBezTo>
                  <a:cubicBezTo>
                    <a:pt x="72451" y="61411"/>
                    <a:pt x="61411" y="80731"/>
                    <a:pt x="36225" y="80731"/>
                  </a:cubicBezTo>
                  <a:cubicBezTo>
                    <a:pt x="11213" y="80731"/>
                    <a:pt x="0" y="61411"/>
                    <a:pt x="0" y="40366"/>
                  </a:cubicBezTo>
                  <a:cubicBezTo>
                    <a:pt x="173" y="19321"/>
                    <a:pt x="11213" y="0"/>
                    <a:pt x="36225" y="0"/>
                  </a:cubicBezTo>
                  <a:moveTo>
                    <a:pt x="36225" y="72623"/>
                  </a:moveTo>
                  <a:cubicBezTo>
                    <a:pt x="52958" y="72623"/>
                    <a:pt x="61928" y="58306"/>
                    <a:pt x="61928" y="40366"/>
                  </a:cubicBezTo>
                  <a:cubicBezTo>
                    <a:pt x="61928" y="22598"/>
                    <a:pt x="53131" y="8108"/>
                    <a:pt x="36225" y="8108"/>
                  </a:cubicBezTo>
                  <a:cubicBezTo>
                    <a:pt x="19665" y="8108"/>
                    <a:pt x="10523" y="22425"/>
                    <a:pt x="10523" y="40366"/>
                  </a:cubicBezTo>
                  <a:cubicBezTo>
                    <a:pt x="10523" y="58133"/>
                    <a:pt x="19665" y="72623"/>
                    <a:pt x="36225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4" name="Gráfico 1344">
              <a:extLst>
                <a:ext uri="{FF2B5EF4-FFF2-40B4-BE49-F238E27FC236}">
                  <a16:creationId xmlns:a16="http://schemas.microsoft.com/office/drawing/2014/main" id="{38B913A0-C58F-4A34-968D-4E2221E91FF6}"/>
                </a:ext>
              </a:extLst>
            </p:cNvPr>
            <p:cNvSpPr/>
            <p:nvPr/>
          </p:nvSpPr>
          <p:spPr>
            <a:xfrm>
              <a:off x="8584244" y="6317156"/>
              <a:ext cx="35190" cy="78488"/>
            </a:xfrm>
            <a:custGeom>
              <a:avLst/>
              <a:gdLst>
                <a:gd name="connsiteX0" fmla="*/ 690 w 35190"/>
                <a:gd name="connsiteY0" fmla="*/ 18803 h 78488"/>
                <a:gd name="connsiteX1" fmla="*/ 0 w 35190"/>
                <a:gd name="connsiteY1" fmla="*/ 1725 h 78488"/>
                <a:gd name="connsiteX2" fmla="*/ 9143 w 35190"/>
                <a:gd name="connsiteY2" fmla="*/ 1725 h 78488"/>
                <a:gd name="connsiteX3" fmla="*/ 9143 w 35190"/>
                <a:gd name="connsiteY3" fmla="*/ 16388 h 78488"/>
                <a:gd name="connsiteX4" fmla="*/ 9315 w 35190"/>
                <a:gd name="connsiteY4" fmla="*/ 16388 h 78488"/>
                <a:gd name="connsiteX5" fmla="*/ 28635 w 35190"/>
                <a:gd name="connsiteY5" fmla="*/ 0 h 78488"/>
                <a:gd name="connsiteX6" fmla="*/ 35190 w 35190"/>
                <a:gd name="connsiteY6" fmla="*/ 863 h 78488"/>
                <a:gd name="connsiteX7" fmla="*/ 35190 w 35190"/>
                <a:gd name="connsiteY7" fmla="*/ 10868 h 78488"/>
                <a:gd name="connsiteX8" fmla="*/ 28463 w 35190"/>
                <a:gd name="connsiteY8" fmla="*/ 10005 h 78488"/>
                <a:gd name="connsiteX9" fmla="*/ 9660 w 35190"/>
                <a:gd name="connsiteY9" fmla="*/ 40711 h 78488"/>
                <a:gd name="connsiteX10" fmla="*/ 9660 w 35190"/>
                <a:gd name="connsiteY10" fmla="*/ 78488 h 78488"/>
                <a:gd name="connsiteX11" fmla="*/ 517 w 35190"/>
                <a:gd name="connsiteY11" fmla="*/ 78488 h 78488"/>
                <a:gd name="connsiteX12" fmla="*/ 517 w 35190"/>
                <a:gd name="connsiteY12" fmla="*/ 18630 h 78488"/>
                <a:gd name="connsiteX13" fmla="*/ 690 w 35190"/>
                <a:gd name="connsiteY13" fmla="*/ 18630 h 78488"/>
                <a:gd name="connsiteX14" fmla="*/ 690 w 35190"/>
                <a:gd name="connsiteY14" fmla="*/ 18803 h 7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190" h="78488">
                  <a:moveTo>
                    <a:pt x="690" y="18803"/>
                  </a:moveTo>
                  <a:cubicBezTo>
                    <a:pt x="690" y="10523"/>
                    <a:pt x="690" y="7245"/>
                    <a:pt x="0" y="1725"/>
                  </a:cubicBezTo>
                  <a:lnTo>
                    <a:pt x="9143" y="1725"/>
                  </a:lnTo>
                  <a:lnTo>
                    <a:pt x="9143" y="16388"/>
                  </a:lnTo>
                  <a:lnTo>
                    <a:pt x="9315" y="16388"/>
                  </a:lnTo>
                  <a:cubicBezTo>
                    <a:pt x="12593" y="7763"/>
                    <a:pt x="19148" y="0"/>
                    <a:pt x="28635" y="0"/>
                  </a:cubicBezTo>
                  <a:cubicBezTo>
                    <a:pt x="30705" y="0"/>
                    <a:pt x="33465" y="345"/>
                    <a:pt x="35190" y="863"/>
                  </a:cubicBezTo>
                  <a:lnTo>
                    <a:pt x="35190" y="10868"/>
                  </a:lnTo>
                  <a:cubicBezTo>
                    <a:pt x="33293" y="10178"/>
                    <a:pt x="30705" y="10005"/>
                    <a:pt x="28463" y="10005"/>
                  </a:cubicBezTo>
                  <a:cubicBezTo>
                    <a:pt x="13800" y="10005"/>
                    <a:pt x="9660" y="26911"/>
                    <a:pt x="9660" y="40711"/>
                  </a:cubicBezTo>
                  <a:lnTo>
                    <a:pt x="9660" y="78488"/>
                  </a:lnTo>
                  <a:lnTo>
                    <a:pt x="517" y="78488"/>
                  </a:lnTo>
                  <a:lnTo>
                    <a:pt x="517" y="18630"/>
                  </a:lnTo>
                  <a:lnTo>
                    <a:pt x="690" y="18630"/>
                  </a:lnTo>
                  <a:lnTo>
                    <a:pt x="690" y="1880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5" name="Gráfico 1344">
              <a:extLst>
                <a:ext uri="{FF2B5EF4-FFF2-40B4-BE49-F238E27FC236}">
                  <a16:creationId xmlns:a16="http://schemas.microsoft.com/office/drawing/2014/main" id="{836FDCF0-A4D3-4CBB-87CC-66886AF7D3C7}"/>
                </a:ext>
              </a:extLst>
            </p:cNvPr>
            <p:cNvSpPr/>
            <p:nvPr/>
          </p:nvSpPr>
          <p:spPr>
            <a:xfrm>
              <a:off x="8625817" y="6296110"/>
              <a:ext cx="43470" cy="101603"/>
            </a:xfrm>
            <a:custGeom>
              <a:avLst/>
              <a:gdLst>
                <a:gd name="connsiteX0" fmla="*/ 41228 w 43470"/>
                <a:gd name="connsiteY0" fmla="*/ 30706 h 101603"/>
                <a:gd name="connsiteX1" fmla="*/ 23978 w 43470"/>
                <a:gd name="connsiteY1" fmla="*/ 30706 h 101603"/>
                <a:gd name="connsiteX2" fmla="*/ 23978 w 43470"/>
                <a:gd name="connsiteY2" fmla="*/ 80731 h 101603"/>
                <a:gd name="connsiteX3" fmla="*/ 34155 w 43470"/>
                <a:gd name="connsiteY3" fmla="*/ 93496 h 101603"/>
                <a:gd name="connsiteX4" fmla="*/ 42781 w 43470"/>
                <a:gd name="connsiteY4" fmla="*/ 91599 h 101603"/>
                <a:gd name="connsiteX5" fmla="*/ 43471 w 43470"/>
                <a:gd name="connsiteY5" fmla="*/ 99534 h 101603"/>
                <a:gd name="connsiteX6" fmla="*/ 32086 w 43470"/>
                <a:gd name="connsiteY6" fmla="*/ 101603 h 101603"/>
                <a:gd name="connsiteX7" fmla="*/ 14835 w 43470"/>
                <a:gd name="connsiteY7" fmla="*/ 75728 h 101603"/>
                <a:gd name="connsiteX8" fmla="*/ 14835 w 43470"/>
                <a:gd name="connsiteY8" fmla="*/ 30360 h 101603"/>
                <a:gd name="connsiteX9" fmla="*/ 0 w 43470"/>
                <a:gd name="connsiteY9" fmla="*/ 30360 h 101603"/>
                <a:gd name="connsiteX10" fmla="*/ 0 w 43470"/>
                <a:gd name="connsiteY10" fmla="*/ 22081 h 101603"/>
                <a:gd name="connsiteX11" fmla="*/ 14835 w 43470"/>
                <a:gd name="connsiteY11" fmla="*/ 22081 h 101603"/>
                <a:gd name="connsiteX12" fmla="*/ 14835 w 43470"/>
                <a:gd name="connsiteY12" fmla="*/ 3278 h 101603"/>
                <a:gd name="connsiteX13" fmla="*/ 24150 w 43470"/>
                <a:gd name="connsiteY13" fmla="*/ 0 h 101603"/>
                <a:gd name="connsiteX14" fmla="*/ 24150 w 43470"/>
                <a:gd name="connsiteY14" fmla="*/ 22081 h 101603"/>
                <a:gd name="connsiteX15" fmla="*/ 41400 w 43470"/>
                <a:gd name="connsiteY15" fmla="*/ 22081 h 101603"/>
                <a:gd name="connsiteX16" fmla="*/ 41400 w 43470"/>
                <a:gd name="connsiteY16" fmla="*/ 30706 h 101603"/>
                <a:gd name="connsiteX17" fmla="*/ 41228 w 43470"/>
                <a:gd name="connsiteY17" fmla="*/ 30706 h 101603"/>
                <a:gd name="connsiteX18" fmla="*/ 41228 w 43470"/>
                <a:gd name="connsiteY18" fmla="*/ 30706 h 10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470" h="101603">
                  <a:moveTo>
                    <a:pt x="41228" y="30706"/>
                  </a:moveTo>
                  <a:lnTo>
                    <a:pt x="23978" y="30706"/>
                  </a:lnTo>
                  <a:lnTo>
                    <a:pt x="23978" y="80731"/>
                  </a:lnTo>
                  <a:cubicBezTo>
                    <a:pt x="23978" y="87631"/>
                    <a:pt x="26565" y="93496"/>
                    <a:pt x="34155" y="93496"/>
                  </a:cubicBezTo>
                  <a:cubicBezTo>
                    <a:pt x="37778" y="93496"/>
                    <a:pt x="40020" y="92634"/>
                    <a:pt x="42781" y="91599"/>
                  </a:cubicBezTo>
                  <a:lnTo>
                    <a:pt x="43471" y="99534"/>
                  </a:lnTo>
                  <a:cubicBezTo>
                    <a:pt x="41228" y="100396"/>
                    <a:pt x="36570" y="101603"/>
                    <a:pt x="32086" y="101603"/>
                  </a:cubicBezTo>
                  <a:cubicBezTo>
                    <a:pt x="15353" y="101603"/>
                    <a:pt x="14835" y="89874"/>
                    <a:pt x="14835" y="75728"/>
                  </a:cubicBezTo>
                  <a:lnTo>
                    <a:pt x="14835" y="30360"/>
                  </a:lnTo>
                  <a:lnTo>
                    <a:pt x="0" y="30360"/>
                  </a:lnTo>
                  <a:lnTo>
                    <a:pt x="0" y="22081"/>
                  </a:lnTo>
                  <a:lnTo>
                    <a:pt x="14835" y="22081"/>
                  </a:lnTo>
                  <a:lnTo>
                    <a:pt x="14835" y="3278"/>
                  </a:lnTo>
                  <a:lnTo>
                    <a:pt x="24150" y="0"/>
                  </a:lnTo>
                  <a:lnTo>
                    <a:pt x="24150" y="22081"/>
                  </a:lnTo>
                  <a:lnTo>
                    <a:pt x="41400" y="22081"/>
                  </a:lnTo>
                  <a:lnTo>
                    <a:pt x="41400" y="30706"/>
                  </a:lnTo>
                  <a:lnTo>
                    <a:pt x="41228" y="30706"/>
                  </a:lnTo>
                  <a:lnTo>
                    <a:pt x="41228" y="3070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6" name="Gráfico 1344">
              <a:extLst>
                <a:ext uri="{FF2B5EF4-FFF2-40B4-BE49-F238E27FC236}">
                  <a16:creationId xmlns:a16="http://schemas.microsoft.com/office/drawing/2014/main" id="{C9FAED49-6E66-450F-AB4C-2CBA468D51B5}"/>
                </a:ext>
              </a:extLst>
            </p:cNvPr>
            <p:cNvSpPr/>
            <p:nvPr/>
          </p:nvSpPr>
          <p:spPr>
            <a:xfrm>
              <a:off x="8679465" y="6317156"/>
              <a:ext cx="70380" cy="80730"/>
            </a:xfrm>
            <a:custGeom>
              <a:avLst/>
              <a:gdLst>
                <a:gd name="connsiteX0" fmla="*/ 35190 w 70380"/>
                <a:gd name="connsiteY0" fmla="*/ 0 h 80730"/>
                <a:gd name="connsiteX1" fmla="*/ 70380 w 70380"/>
                <a:gd name="connsiteY1" fmla="*/ 40366 h 80730"/>
                <a:gd name="connsiteX2" fmla="*/ 35190 w 70380"/>
                <a:gd name="connsiteY2" fmla="*/ 80731 h 80730"/>
                <a:gd name="connsiteX3" fmla="*/ 0 w 70380"/>
                <a:gd name="connsiteY3" fmla="*/ 40366 h 80730"/>
                <a:gd name="connsiteX4" fmla="*/ 35190 w 70380"/>
                <a:gd name="connsiteY4" fmla="*/ 0 h 80730"/>
                <a:gd name="connsiteX5" fmla="*/ 35190 w 70380"/>
                <a:gd name="connsiteY5" fmla="*/ 72623 h 80730"/>
                <a:gd name="connsiteX6" fmla="*/ 60203 w 70380"/>
                <a:gd name="connsiteY6" fmla="*/ 40366 h 80730"/>
                <a:gd name="connsiteX7" fmla="*/ 35190 w 70380"/>
                <a:gd name="connsiteY7" fmla="*/ 8108 h 80730"/>
                <a:gd name="connsiteX8" fmla="*/ 10350 w 70380"/>
                <a:gd name="connsiteY8" fmla="*/ 40366 h 80730"/>
                <a:gd name="connsiteX9" fmla="*/ 35190 w 7038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380" h="80730">
                  <a:moveTo>
                    <a:pt x="35190" y="0"/>
                  </a:moveTo>
                  <a:cubicBezTo>
                    <a:pt x="59513" y="0"/>
                    <a:pt x="70380" y="19321"/>
                    <a:pt x="70380" y="40366"/>
                  </a:cubicBezTo>
                  <a:cubicBezTo>
                    <a:pt x="70380" y="61411"/>
                    <a:pt x="59513" y="80731"/>
                    <a:pt x="35190" y="80731"/>
                  </a:cubicBezTo>
                  <a:cubicBezTo>
                    <a:pt x="10868" y="80731"/>
                    <a:pt x="0" y="61411"/>
                    <a:pt x="0" y="40366"/>
                  </a:cubicBezTo>
                  <a:cubicBezTo>
                    <a:pt x="172" y="19321"/>
                    <a:pt x="10868" y="0"/>
                    <a:pt x="35190" y="0"/>
                  </a:cubicBezTo>
                  <a:moveTo>
                    <a:pt x="35190" y="72623"/>
                  </a:moveTo>
                  <a:cubicBezTo>
                    <a:pt x="51405" y="72623"/>
                    <a:pt x="60203" y="58306"/>
                    <a:pt x="60203" y="40366"/>
                  </a:cubicBezTo>
                  <a:cubicBezTo>
                    <a:pt x="60203" y="22598"/>
                    <a:pt x="51405" y="8108"/>
                    <a:pt x="35190" y="8108"/>
                  </a:cubicBezTo>
                  <a:cubicBezTo>
                    <a:pt x="19147" y="8108"/>
                    <a:pt x="10350" y="22425"/>
                    <a:pt x="10350" y="40366"/>
                  </a:cubicBezTo>
                  <a:cubicBezTo>
                    <a:pt x="10178" y="58133"/>
                    <a:pt x="18975" y="72623"/>
                    <a:pt x="35190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7" name="Gráfico 1344">
              <a:extLst>
                <a:ext uri="{FF2B5EF4-FFF2-40B4-BE49-F238E27FC236}">
                  <a16:creationId xmlns:a16="http://schemas.microsoft.com/office/drawing/2014/main" id="{943D50C8-E64C-4B6A-ABA2-0E60D0AEC84B}"/>
                </a:ext>
              </a:extLst>
            </p:cNvPr>
            <p:cNvSpPr/>
            <p:nvPr/>
          </p:nvSpPr>
          <p:spPr>
            <a:xfrm>
              <a:off x="8805564" y="6281966"/>
              <a:ext cx="64342" cy="115920"/>
            </a:xfrm>
            <a:custGeom>
              <a:avLst/>
              <a:gdLst>
                <a:gd name="connsiteX0" fmla="*/ 64343 w 64342"/>
                <a:gd name="connsiteY0" fmla="*/ 114196 h 115920"/>
                <a:gd name="connsiteX1" fmla="*/ 55028 w 64342"/>
                <a:gd name="connsiteY1" fmla="*/ 114196 h 115920"/>
                <a:gd name="connsiteX2" fmla="*/ 55028 w 64342"/>
                <a:gd name="connsiteY2" fmla="*/ 101948 h 115920"/>
                <a:gd name="connsiteX3" fmla="*/ 54855 w 64342"/>
                <a:gd name="connsiteY3" fmla="*/ 101948 h 115920"/>
                <a:gd name="connsiteX4" fmla="*/ 31223 w 64342"/>
                <a:gd name="connsiteY4" fmla="*/ 115921 h 115920"/>
                <a:gd name="connsiteX5" fmla="*/ 0 w 64342"/>
                <a:gd name="connsiteY5" fmla="*/ 75383 h 115920"/>
                <a:gd name="connsiteX6" fmla="*/ 31223 w 64342"/>
                <a:gd name="connsiteY6" fmla="*/ 34845 h 115920"/>
                <a:gd name="connsiteX7" fmla="*/ 54855 w 64342"/>
                <a:gd name="connsiteY7" fmla="*/ 49680 h 115920"/>
                <a:gd name="connsiteX8" fmla="*/ 55028 w 64342"/>
                <a:gd name="connsiteY8" fmla="*/ 49680 h 115920"/>
                <a:gd name="connsiteX9" fmla="*/ 55028 w 64342"/>
                <a:gd name="connsiteY9" fmla="*/ 0 h 115920"/>
                <a:gd name="connsiteX10" fmla="*/ 64343 w 64342"/>
                <a:gd name="connsiteY10" fmla="*/ 0 h 115920"/>
                <a:gd name="connsiteX11" fmla="*/ 64343 w 64342"/>
                <a:gd name="connsiteY11" fmla="*/ 114196 h 115920"/>
                <a:gd name="connsiteX12" fmla="*/ 64343 w 64342"/>
                <a:gd name="connsiteY12" fmla="*/ 114196 h 115920"/>
                <a:gd name="connsiteX13" fmla="*/ 64343 w 64342"/>
                <a:gd name="connsiteY13" fmla="*/ 114196 h 115920"/>
                <a:gd name="connsiteX14" fmla="*/ 32602 w 64342"/>
                <a:gd name="connsiteY14" fmla="*/ 107641 h 115920"/>
                <a:gd name="connsiteX15" fmla="*/ 54855 w 64342"/>
                <a:gd name="connsiteY15" fmla="*/ 75210 h 115920"/>
                <a:gd name="connsiteX16" fmla="*/ 32602 w 64342"/>
                <a:gd name="connsiteY16" fmla="*/ 42780 h 115920"/>
                <a:gd name="connsiteX17" fmla="*/ 10350 w 64342"/>
                <a:gd name="connsiteY17" fmla="*/ 75210 h 115920"/>
                <a:gd name="connsiteX18" fmla="*/ 32602 w 64342"/>
                <a:gd name="connsiteY18" fmla="*/ 107641 h 115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342" h="115920">
                  <a:moveTo>
                    <a:pt x="64343" y="114196"/>
                  </a:moveTo>
                  <a:lnTo>
                    <a:pt x="55028" y="114196"/>
                  </a:lnTo>
                  <a:lnTo>
                    <a:pt x="55028" y="101948"/>
                  </a:lnTo>
                  <a:lnTo>
                    <a:pt x="54855" y="101948"/>
                  </a:lnTo>
                  <a:cubicBezTo>
                    <a:pt x="49853" y="111953"/>
                    <a:pt x="42262" y="115921"/>
                    <a:pt x="31223" y="115921"/>
                  </a:cubicBezTo>
                  <a:cubicBezTo>
                    <a:pt x="10350" y="115921"/>
                    <a:pt x="0" y="98153"/>
                    <a:pt x="0" y="75383"/>
                  </a:cubicBezTo>
                  <a:cubicBezTo>
                    <a:pt x="0" y="51923"/>
                    <a:pt x="8797" y="34845"/>
                    <a:pt x="31223" y="34845"/>
                  </a:cubicBezTo>
                  <a:cubicBezTo>
                    <a:pt x="45885" y="34845"/>
                    <a:pt x="53475" y="45885"/>
                    <a:pt x="54855" y="49680"/>
                  </a:cubicBezTo>
                  <a:lnTo>
                    <a:pt x="55028" y="49680"/>
                  </a:lnTo>
                  <a:lnTo>
                    <a:pt x="55028" y="0"/>
                  </a:lnTo>
                  <a:lnTo>
                    <a:pt x="64343" y="0"/>
                  </a:lnTo>
                  <a:lnTo>
                    <a:pt x="64343" y="114196"/>
                  </a:lnTo>
                  <a:lnTo>
                    <a:pt x="64343" y="114196"/>
                  </a:lnTo>
                  <a:lnTo>
                    <a:pt x="64343" y="114196"/>
                  </a:lnTo>
                  <a:close/>
                  <a:moveTo>
                    <a:pt x="32602" y="107641"/>
                  </a:moveTo>
                  <a:cubicBezTo>
                    <a:pt x="49163" y="107641"/>
                    <a:pt x="54855" y="89528"/>
                    <a:pt x="54855" y="75210"/>
                  </a:cubicBezTo>
                  <a:cubicBezTo>
                    <a:pt x="54855" y="61238"/>
                    <a:pt x="49163" y="42780"/>
                    <a:pt x="32602" y="42780"/>
                  </a:cubicBezTo>
                  <a:cubicBezTo>
                    <a:pt x="15008" y="42780"/>
                    <a:pt x="10350" y="60030"/>
                    <a:pt x="10350" y="75210"/>
                  </a:cubicBezTo>
                  <a:cubicBezTo>
                    <a:pt x="10350" y="90390"/>
                    <a:pt x="14835" y="107641"/>
                    <a:pt x="32602" y="107641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8" name="Gráfico 1344">
              <a:extLst>
                <a:ext uri="{FF2B5EF4-FFF2-40B4-BE49-F238E27FC236}">
                  <a16:creationId xmlns:a16="http://schemas.microsoft.com/office/drawing/2014/main" id="{3CB6A055-4942-4A3A-BDC7-C5B4FA69A503}"/>
                </a:ext>
              </a:extLst>
            </p:cNvPr>
            <p:cNvSpPr/>
            <p:nvPr/>
          </p:nvSpPr>
          <p:spPr>
            <a:xfrm>
              <a:off x="8888537" y="6317156"/>
              <a:ext cx="62100" cy="80730"/>
            </a:xfrm>
            <a:custGeom>
              <a:avLst/>
              <a:gdLst>
                <a:gd name="connsiteX0" fmla="*/ 56408 w 62100"/>
                <a:gd name="connsiteY0" fmla="*/ 76418 h 80730"/>
                <a:gd name="connsiteX1" fmla="*/ 34500 w 62100"/>
                <a:gd name="connsiteY1" fmla="*/ 80731 h 80730"/>
                <a:gd name="connsiteX2" fmla="*/ 0 w 62100"/>
                <a:gd name="connsiteY2" fmla="*/ 40366 h 80730"/>
                <a:gd name="connsiteX3" fmla="*/ 31913 w 62100"/>
                <a:gd name="connsiteY3" fmla="*/ 0 h 80730"/>
                <a:gd name="connsiteX4" fmla="*/ 62101 w 62100"/>
                <a:gd name="connsiteY4" fmla="*/ 38295 h 80730"/>
                <a:gd name="connsiteX5" fmla="*/ 62101 w 62100"/>
                <a:gd name="connsiteY5" fmla="*/ 43298 h 80730"/>
                <a:gd name="connsiteX6" fmla="*/ 10350 w 62100"/>
                <a:gd name="connsiteY6" fmla="*/ 43298 h 80730"/>
                <a:gd name="connsiteX7" fmla="*/ 35190 w 62100"/>
                <a:gd name="connsiteY7" fmla="*/ 72796 h 80730"/>
                <a:gd name="connsiteX8" fmla="*/ 56408 w 62100"/>
                <a:gd name="connsiteY8" fmla="*/ 66931 h 80730"/>
                <a:gd name="connsiteX9" fmla="*/ 56408 w 62100"/>
                <a:gd name="connsiteY9" fmla="*/ 76418 h 80730"/>
                <a:gd name="connsiteX10" fmla="*/ 56408 w 62100"/>
                <a:gd name="connsiteY10" fmla="*/ 76418 h 80730"/>
                <a:gd name="connsiteX11" fmla="*/ 56408 w 62100"/>
                <a:gd name="connsiteY11" fmla="*/ 76418 h 80730"/>
                <a:gd name="connsiteX12" fmla="*/ 51750 w 62100"/>
                <a:gd name="connsiteY12" fmla="*/ 35018 h 80730"/>
                <a:gd name="connsiteX13" fmla="*/ 32430 w 62100"/>
                <a:gd name="connsiteY13" fmla="*/ 8108 h 80730"/>
                <a:gd name="connsiteX14" fmla="*/ 10178 w 62100"/>
                <a:gd name="connsiteY14" fmla="*/ 35018 h 80730"/>
                <a:gd name="connsiteX15" fmla="*/ 51750 w 62100"/>
                <a:gd name="connsiteY15" fmla="*/ 35018 h 80730"/>
                <a:gd name="connsiteX16" fmla="*/ 51750 w 62100"/>
                <a:gd name="connsiteY16" fmla="*/ 35018 h 80730"/>
                <a:gd name="connsiteX17" fmla="*/ 51750 w 62100"/>
                <a:gd name="connsiteY17" fmla="*/ 35018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100" h="80730">
                  <a:moveTo>
                    <a:pt x="56408" y="76418"/>
                  </a:moveTo>
                  <a:cubicBezTo>
                    <a:pt x="49853" y="79179"/>
                    <a:pt x="41400" y="80731"/>
                    <a:pt x="34500" y="80731"/>
                  </a:cubicBezTo>
                  <a:cubicBezTo>
                    <a:pt x="9487" y="80731"/>
                    <a:pt x="0" y="63481"/>
                    <a:pt x="0" y="40366"/>
                  </a:cubicBezTo>
                  <a:cubicBezTo>
                    <a:pt x="0" y="16733"/>
                    <a:pt x="12592" y="0"/>
                    <a:pt x="31913" y="0"/>
                  </a:cubicBezTo>
                  <a:cubicBezTo>
                    <a:pt x="53130" y="0"/>
                    <a:pt x="62101" y="17595"/>
                    <a:pt x="62101" y="38295"/>
                  </a:cubicBezTo>
                  <a:lnTo>
                    <a:pt x="62101" y="43298"/>
                  </a:lnTo>
                  <a:lnTo>
                    <a:pt x="10350" y="43298"/>
                  </a:lnTo>
                  <a:cubicBezTo>
                    <a:pt x="10350" y="59686"/>
                    <a:pt x="18975" y="72796"/>
                    <a:pt x="35190" y="72796"/>
                  </a:cubicBezTo>
                  <a:cubicBezTo>
                    <a:pt x="41918" y="72796"/>
                    <a:pt x="52095" y="70036"/>
                    <a:pt x="56408" y="66931"/>
                  </a:cubicBezTo>
                  <a:lnTo>
                    <a:pt x="56408" y="76418"/>
                  </a:lnTo>
                  <a:lnTo>
                    <a:pt x="56408" y="76418"/>
                  </a:lnTo>
                  <a:lnTo>
                    <a:pt x="56408" y="76418"/>
                  </a:lnTo>
                  <a:close/>
                  <a:moveTo>
                    <a:pt x="51750" y="35018"/>
                  </a:moveTo>
                  <a:cubicBezTo>
                    <a:pt x="51750" y="21563"/>
                    <a:pt x="46403" y="8108"/>
                    <a:pt x="32430" y="8108"/>
                  </a:cubicBezTo>
                  <a:cubicBezTo>
                    <a:pt x="18803" y="8108"/>
                    <a:pt x="10178" y="22253"/>
                    <a:pt x="10178" y="35018"/>
                  </a:cubicBezTo>
                  <a:lnTo>
                    <a:pt x="51750" y="35018"/>
                  </a:lnTo>
                  <a:lnTo>
                    <a:pt x="51750" y="35018"/>
                  </a:lnTo>
                  <a:lnTo>
                    <a:pt x="51750" y="3501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49" name="Gráfico 1344">
              <a:extLst>
                <a:ext uri="{FF2B5EF4-FFF2-40B4-BE49-F238E27FC236}">
                  <a16:creationId xmlns:a16="http://schemas.microsoft.com/office/drawing/2014/main" id="{A1EDB70F-0692-4B67-A611-5173F15188EB}"/>
                </a:ext>
              </a:extLst>
            </p:cNvPr>
            <p:cNvSpPr/>
            <p:nvPr/>
          </p:nvSpPr>
          <p:spPr>
            <a:xfrm>
              <a:off x="9006528" y="6288176"/>
              <a:ext cx="60030" cy="109883"/>
            </a:xfrm>
            <a:custGeom>
              <a:avLst/>
              <a:gdLst>
                <a:gd name="connsiteX0" fmla="*/ 1552 w 60030"/>
                <a:gd name="connsiteY0" fmla="*/ 94186 h 109883"/>
                <a:gd name="connsiteX1" fmla="*/ 25358 w 60030"/>
                <a:gd name="connsiteY1" fmla="*/ 100396 h 109883"/>
                <a:gd name="connsiteX2" fmla="*/ 49508 w 60030"/>
                <a:gd name="connsiteY2" fmla="*/ 78661 h 109883"/>
                <a:gd name="connsiteX3" fmla="*/ 0 w 60030"/>
                <a:gd name="connsiteY3" fmla="*/ 27600 h 109883"/>
                <a:gd name="connsiteX4" fmla="*/ 34155 w 60030"/>
                <a:gd name="connsiteY4" fmla="*/ 0 h 109883"/>
                <a:gd name="connsiteX5" fmla="*/ 55201 w 60030"/>
                <a:gd name="connsiteY5" fmla="*/ 3450 h 109883"/>
                <a:gd name="connsiteX6" fmla="*/ 53475 w 60030"/>
                <a:gd name="connsiteY6" fmla="*/ 13110 h 109883"/>
                <a:gd name="connsiteX7" fmla="*/ 33983 w 60030"/>
                <a:gd name="connsiteY7" fmla="*/ 9315 h 109883"/>
                <a:gd name="connsiteX8" fmla="*/ 10695 w 60030"/>
                <a:gd name="connsiteY8" fmla="*/ 27428 h 109883"/>
                <a:gd name="connsiteX9" fmla="*/ 60031 w 60030"/>
                <a:gd name="connsiteY9" fmla="*/ 79868 h 109883"/>
                <a:gd name="connsiteX10" fmla="*/ 24840 w 60030"/>
                <a:gd name="connsiteY10" fmla="*/ 109883 h 109883"/>
                <a:gd name="connsiteX11" fmla="*/ 517 w 60030"/>
                <a:gd name="connsiteY11" fmla="*/ 105399 h 109883"/>
                <a:gd name="connsiteX12" fmla="*/ 1552 w 60030"/>
                <a:gd name="connsiteY12" fmla="*/ 94186 h 109883"/>
                <a:gd name="connsiteX13" fmla="*/ 1552 w 60030"/>
                <a:gd name="connsiteY13" fmla="*/ 94186 h 109883"/>
                <a:gd name="connsiteX14" fmla="*/ 1552 w 60030"/>
                <a:gd name="connsiteY14" fmla="*/ 94186 h 10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030" h="109883">
                  <a:moveTo>
                    <a:pt x="1552" y="94186"/>
                  </a:moveTo>
                  <a:cubicBezTo>
                    <a:pt x="7935" y="97981"/>
                    <a:pt x="15352" y="100396"/>
                    <a:pt x="25358" y="100396"/>
                  </a:cubicBezTo>
                  <a:cubicBezTo>
                    <a:pt x="38468" y="100396"/>
                    <a:pt x="49508" y="93668"/>
                    <a:pt x="49508" y="78661"/>
                  </a:cubicBezTo>
                  <a:cubicBezTo>
                    <a:pt x="49508" y="57961"/>
                    <a:pt x="0" y="55373"/>
                    <a:pt x="0" y="27600"/>
                  </a:cubicBezTo>
                  <a:cubicBezTo>
                    <a:pt x="0" y="10523"/>
                    <a:pt x="15180" y="0"/>
                    <a:pt x="34155" y="0"/>
                  </a:cubicBezTo>
                  <a:cubicBezTo>
                    <a:pt x="39330" y="0"/>
                    <a:pt x="47955" y="690"/>
                    <a:pt x="55201" y="3450"/>
                  </a:cubicBezTo>
                  <a:lnTo>
                    <a:pt x="53475" y="13110"/>
                  </a:lnTo>
                  <a:cubicBezTo>
                    <a:pt x="48645" y="10523"/>
                    <a:pt x="41228" y="9315"/>
                    <a:pt x="33983" y="9315"/>
                  </a:cubicBezTo>
                  <a:cubicBezTo>
                    <a:pt x="22770" y="9315"/>
                    <a:pt x="10695" y="13800"/>
                    <a:pt x="10695" y="27428"/>
                  </a:cubicBezTo>
                  <a:cubicBezTo>
                    <a:pt x="10695" y="48818"/>
                    <a:pt x="60031" y="48818"/>
                    <a:pt x="60031" y="79868"/>
                  </a:cubicBezTo>
                  <a:cubicBezTo>
                    <a:pt x="60031" y="101431"/>
                    <a:pt x="41400" y="109883"/>
                    <a:pt x="24840" y="109883"/>
                  </a:cubicBezTo>
                  <a:cubicBezTo>
                    <a:pt x="14317" y="109883"/>
                    <a:pt x="6210" y="107813"/>
                    <a:pt x="517" y="105399"/>
                  </a:cubicBezTo>
                  <a:lnTo>
                    <a:pt x="1552" y="94186"/>
                  </a:lnTo>
                  <a:lnTo>
                    <a:pt x="1552" y="94186"/>
                  </a:lnTo>
                  <a:lnTo>
                    <a:pt x="1552" y="9418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0" name="Gráfico 1344">
              <a:extLst>
                <a:ext uri="{FF2B5EF4-FFF2-40B4-BE49-F238E27FC236}">
                  <a16:creationId xmlns:a16="http://schemas.microsoft.com/office/drawing/2014/main" id="{31537E62-0446-4AB6-A91E-AF9D56782650}"/>
                </a:ext>
              </a:extLst>
            </p:cNvPr>
            <p:cNvSpPr/>
            <p:nvPr/>
          </p:nvSpPr>
          <p:spPr>
            <a:xfrm>
              <a:off x="9078806" y="6317156"/>
              <a:ext cx="60030" cy="80730"/>
            </a:xfrm>
            <a:custGeom>
              <a:avLst/>
              <a:gdLst>
                <a:gd name="connsiteX0" fmla="*/ 50715 w 60030"/>
                <a:gd name="connsiteY0" fmla="*/ 66586 h 80730"/>
                <a:gd name="connsiteX1" fmla="*/ 50198 w 60030"/>
                <a:gd name="connsiteY1" fmla="*/ 66586 h 80730"/>
                <a:gd name="connsiteX2" fmla="*/ 25530 w 60030"/>
                <a:gd name="connsiteY2" fmla="*/ 80731 h 80730"/>
                <a:gd name="connsiteX3" fmla="*/ 0 w 60030"/>
                <a:gd name="connsiteY3" fmla="*/ 58996 h 80730"/>
                <a:gd name="connsiteX4" fmla="*/ 47783 w 60030"/>
                <a:gd name="connsiteY4" fmla="*/ 31913 h 80730"/>
                <a:gd name="connsiteX5" fmla="*/ 49680 w 60030"/>
                <a:gd name="connsiteY5" fmla="*/ 31913 h 80730"/>
                <a:gd name="connsiteX6" fmla="*/ 49680 w 60030"/>
                <a:gd name="connsiteY6" fmla="*/ 28118 h 80730"/>
                <a:gd name="connsiteX7" fmla="*/ 31913 w 60030"/>
                <a:gd name="connsiteY7" fmla="*/ 8108 h 80730"/>
                <a:gd name="connsiteX8" fmla="*/ 8970 w 60030"/>
                <a:gd name="connsiteY8" fmla="*/ 14491 h 80730"/>
                <a:gd name="connsiteX9" fmla="*/ 8970 w 60030"/>
                <a:gd name="connsiteY9" fmla="*/ 5175 h 80730"/>
                <a:gd name="connsiteX10" fmla="*/ 31913 w 60030"/>
                <a:gd name="connsiteY10" fmla="*/ 0 h 80730"/>
                <a:gd name="connsiteX11" fmla="*/ 59168 w 60030"/>
                <a:gd name="connsiteY11" fmla="*/ 28635 h 80730"/>
                <a:gd name="connsiteX12" fmla="*/ 59168 w 60030"/>
                <a:gd name="connsiteY12" fmla="*/ 62791 h 80730"/>
                <a:gd name="connsiteX13" fmla="*/ 60031 w 60030"/>
                <a:gd name="connsiteY13" fmla="*/ 79179 h 80730"/>
                <a:gd name="connsiteX14" fmla="*/ 50543 w 60030"/>
                <a:gd name="connsiteY14" fmla="*/ 79179 h 80730"/>
                <a:gd name="connsiteX15" fmla="*/ 50543 w 60030"/>
                <a:gd name="connsiteY15" fmla="*/ 66586 h 80730"/>
                <a:gd name="connsiteX16" fmla="*/ 50715 w 60030"/>
                <a:gd name="connsiteY16" fmla="*/ 66586 h 80730"/>
                <a:gd name="connsiteX17" fmla="*/ 50715 w 60030"/>
                <a:gd name="connsiteY17" fmla="*/ 66586 h 80730"/>
                <a:gd name="connsiteX18" fmla="*/ 49853 w 60030"/>
                <a:gd name="connsiteY18" fmla="*/ 40020 h 80730"/>
                <a:gd name="connsiteX19" fmla="*/ 47093 w 60030"/>
                <a:gd name="connsiteY19" fmla="*/ 40020 h 80730"/>
                <a:gd name="connsiteX20" fmla="*/ 10522 w 60030"/>
                <a:gd name="connsiteY20" fmla="*/ 58823 h 80730"/>
                <a:gd name="connsiteX21" fmla="*/ 26737 w 60030"/>
                <a:gd name="connsiteY21" fmla="*/ 72796 h 80730"/>
                <a:gd name="connsiteX22" fmla="*/ 49853 w 60030"/>
                <a:gd name="connsiteY22" fmla="*/ 44850 h 80730"/>
                <a:gd name="connsiteX23" fmla="*/ 49853 w 60030"/>
                <a:gd name="connsiteY23" fmla="*/ 40020 h 80730"/>
                <a:gd name="connsiteX24" fmla="*/ 49853 w 60030"/>
                <a:gd name="connsiteY24" fmla="*/ 40020 h 80730"/>
                <a:gd name="connsiteX25" fmla="*/ 49853 w 60030"/>
                <a:gd name="connsiteY25" fmla="*/ 40020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0030" h="80730">
                  <a:moveTo>
                    <a:pt x="50715" y="66586"/>
                  </a:moveTo>
                  <a:lnTo>
                    <a:pt x="50198" y="66586"/>
                  </a:lnTo>
                  <a:cubicBezTo>
                    <a:pt x="45885" y="75901"/>
                    <a:pt x="35018" y="80731"/>
                    <a:pt x="25530" y="80731"/>
                  </a:cubicBezTo>
                  <a:cubicBezTo>
                    <a:pt x="3450" y="80731"/>
                    <a:pt x="0" y="65896"/>
                    <a:pt x="0" y="58996"/>
                  </a:cubicBezTo>
                  <a:cubicBezTo>
                    <a:pt x="0" y="33120"/>
                    <a:pt x="27600" y="31913"/>
                    <a:pt x="47783" y="31913"/>
                  </a:cubicBezTo>
                  <a:lnTo>
                    <a:pt x="49680" y="31913"/>
                  </a:lnTo>
                  <a:lnTo>
                    <a:pt x="49680" y="28118"/>
                  </a:lnTo>
                  <a:cubicBezTo>
                    <a:pt x="49680" y="14835"/>
                    <a:pt x="44850" y="8108"/>
                    <a:pt x="31913" y="8108"/>
                  </a:cubicBezTo>
                  <a:cubicBezTo>
                    <a:pt x="23977" y="8108"/>
                    <a:pt x="16215" y="10005"/>
                    <a:pt x="8970" y="14491"/>
                  </a:cubicBezTo>
                  <a:lnTo>
                    <a:pt x="8970" y="5175"/>
                  </a:lnTo>
                  <a:cubicBezTo>
                    <a:pt x="14835" y="2415"/>
                    <a:pt x="25012" y="0"/>
                    <a:pt x="31913" y="0"/>
                  </a:cubicBezTo>
                  <a:cubicBezTo>
                    <a:pt x="51060" y="0"/>
                    <a:pt x="59168" y="8625"/>
                    <a:pt x="59168" y="28635"/>
                  </a:cubicBezTo>
                  <a:lnTo>
                    <a:pt x="59168" y="62791"/>
                  </a:lnTo>
                  <a:cubicBezTo>
                    <a:pt x="59168" y="69001"/>
                    <a:pt x="59168" y="73831"/>
                    <a:pt x="60031" y="79179"/>
                  </a:cubicBezTo>
                  <a:lnTo>
                    <a:pt x="50543" y="79179"/>
                  </a:lnTo>
                  <a:lnTo>
                    <a:pt x="50543" y="66586"/>
                  </a:lnTo>
                  <a:lnTo>
                    <a:pt x="50715" y="66586"/>
                  </a:lnTo>
                  <a:lnTo>
                    <a:pt x="50715" y="66586"/>
                  </a:lnTo>
                  <a:close/>
                  <a:moveTo>
                    <a:pt x="49853" y="40020"/>
                  </a:moveTo>
                  <a:lnTo>
                    <a:pt x="47093" y="40020"/>
                  </a:lnTo>
                  <a:cubicBezTo>
                    <a:pt x="30533" y="40020"/>
                    <a:pt x="10522" y="41746"/>
                    <a:pt x="10522" y="58823"/>
                  </a:cubicBezTo>
                  <a:cubicBezTo>
                    <a:pt x="10522" y="69001"/>
                    <a:pt x="17940" y="72796"/>
                    <a:pt x="26737" y="72796"/>
                  </a:cubicBezTo>
                  <a:cubicBezTo>
                    <a:pt x="49163" y="72796"/>
                    <a:pt x="49853" y="53131"/>
                    <a:pt x="49853" y="44850"/>
                  </a:cubicBezTo>
                  <a:lnTo>
                    <a:pt x="49853" y="40020"/>
                  </a:lnTo>
                  <a:lnTo>
                    <a:pt x="49853" y="40020"/>
                  </a:lnTo>
                  <a:lnTo>
                    <a:pt x="49853" y="4002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1" name="Gráfico 1344">
              <a:extLst>
                <a:ext uri="{FF2B5EF4-FFF2-40B4-BE49-F238E27FC236}">
                  <a16:creationId xmlns:a16="http://schemas.microsoft.com/office/drawing/2014/main" id="{B9901B2A-E947-4C4E-92A4-A70A441F3A42}"/>
                </a:ext>
              </a:extLst>
            </p:cNvPr>
            <p:cNvSpPr/>
            <p:nvPr/>
          </p:nvSpPr>
          <p:spPr>
            <a:xfrm>
              <a:off x="9159709" y="6317156"/>
              <a:ext cx="60030" cy="78833"/>
            </a:xfrm>
            <a:custGeom>
              <a:avLst/>
              <a:gdLst>
                <a:gd name="connsiteX0" fmla="*/ 690 w 60030"/>
                <a:gd name="connsiteY0" fmla="*/ 19838 h 78833"/>
                <a:gd name="connsiteX1" fmla="*/ 0 w 60030"/>
                <a:gd name="connsiteY1" fmla="*/ 1725 h 78833"/>
                <a:gd name="connsiteX2" fmla="*/ 9143 w 60030"/>
                <a:gd name="connsiteY2" fmla="*/ 1725 h 78833"/>
                <a:gd name="connsiteX3" fmla="*/ 9143 w 60030"/>
                <a:gd name="connsiteY3" fmla="*/ 15353 h 78833"/>
                <a:gd name="connsiteX4" fmla="*/ 9315 w 60030"/>
                <a:gd name="connsiteY4" fmla="*/ 15353 h 78833"/>
                <a:gd name="connsiteX5" fmla="*/ 33983 w 60030"/>
                <a:gd name="connsiteY5" fmla="*/ 0 h 78833"/>
                <a:gd name="connsiteX6" fmla="*/ 60030 w 60030"/>
                <a:gd name="connsiteY6" fmla="*/ 29498 h 78833"/>
                <a:gd name="connsiteX7" fmla="*/ 60030 w 60030"/>
                <a:gd name="connsiteY7" fmla="*/ 78488 h 78833"/>
                <a:gd name="connsiteX8" fmla="*/ 50543 w 60030"/>
                <a:gd name="connsiteY8" fmla="*/ 78488 h 78833"/>
                <a:gd name="connsiteX9" fmla="*/ 50543 w 60030"/>
                <a:gd name="connsiteY9" fmla="*/ 32086 h 78833"/>
                <a:gd name="connsiteX10" fmla="*/ 32430 w 60030"/>
                <a:gd name="connsiteY10" fmla="*/ 8453 h 78833"/>
                <a:gd name="connsiteX11" fmla="*/ 10005 w 60030"/>
                <a:gd name="connsiteY11" fmla="*/ 36398 h 78833"/>
                <a:gd name="connsiteX12" fmla="*/ 10005 w 60030"/>
                <a:gd name="connsiteY12" fmla="*/ 78833 h 78833"/>
                <a:gd name="connsiteX13" fmla="*/ 690 w 60030"/>
                <a:gd name="connsiteY13" fmla="*/ 78833 h 78833"/>
                <a:gd name="connsiteX14" fmla="*/ 690 w 60030"/>
                <a:gd name="connsiteY14" fmla="*/ 19838 h 78833"/>
                <a:gd name="connsiteX15" fmla="*/ 690 w 60030"/>
                <a:gd name="connsiteY15" fmla="*/ 19838 h 78833"/>
                <a:gd name="connsiteX16" fmla="*/ 690 w 60030"/>
                <a:gd name="connsiteY16" fmla="*/ 19838 h 7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030" h="78833">
                  <a:moveTo>
                    <a:pt x="690" y="19838"/>
                  </a:moveTo>
                  <a:cubicBezTo>
                    <a:pt x="690" y="13800"/>
                    <a:pt x="690" y="7935"/>
                    <a:pt x="0" y="1725"/>
                  </a:cubicBezTo>
                  <a:lnTo>
                    <a:pt x="9143" y="1725"/>
                  </a:lnTo>
                  <a:lnTo>
                    <a:pt x="9143" y="15353"/>
                  </a:lnTo>
                  <a:lnTo>
                    <a:pt x="9315" y="15353"/>
                  </a:lnTo>
                  <a:cubicBezTo>
                    <a:pt x="12420" y="8453"/>
                    <a:pt x="18285" y="0"/>
                    <a:pt x="33983" y="0"/>
                  </a:cubicBezTo>
                  <a:cubicBezTo>
                    <a:pt x="52785" y="0"/>
                    <a:pt x="60030" y="12593"/>
                    <a:pt x="60030" y="29498"/>
                  </a:cubicBezTo>
                  <a:lnTo>
                    <a:pt x="60030" y="78488"/>
                  </a:lnTo>
                  <a:lnTo>
                    <a:pt x="50543" y="78488"/>
                  </a:lnTo>
                  <a:lnTo>
                    <a:pt x="50543" y="32086"/>
                  </a:lnTo>
                  <a:cubicBezTo>
                    <a:pt x="50543" y="17595"/>
                    <a:pt x="45368" y="8453"/>
                    <a:pt x="32430" y="8453"/>
                  </a:cubicBezTo>
                  <a:cubicBezTo>
                    <a:pt x="15180" y="8453"/>
                    <a:pt x="10005" y="23633"/>
                    <a:pt x="10005" y="36398"/>
                  </a:cubicBezTo>
                  <a:lnTo>
                    <a:pt x="10005" y="78833"/>
                  </a:lnTo>
                  <a:lnTo>
                    <a:pt x="690" y="78833"/>
                  </a:lnTo>
                  <a:lnTo>
                    <a:pt x="690" y="19838"/>
                  </a:lnTo>
                  <a:lnTo>
                    <a:pt x="690" y="19838"/>
                  </a:lnTo>
                  <a:lnTo>
                    <a:pt x="690" y="1983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2" name="Gráfico 1344">
              <a:extLst>
                <a:ext uri="{FF2B5EF4-FFF2-40B4-BE49-F238E27FC236}">
                  <a16:creationId xmlns:a16="http://schemas.microsoft.com/office/drawing/2014/main" id="{957D25DE-FE8B-46E6-9D44-34EEE235190A}"/>
                </a:ext>
              </a:extLst>
            </p:cNvPr>
            <p:cNvSpPr/>
            <p:nvPr/>
          </p:nvSpPr>
          <p:spPr>
            <a:xfrm>
              <a:off x="9236299" y="6296110"/>
              <a:ext cx="43470" cy="101603"/>
            </a:xfrm>
            <a:custGeom>
              <a:avLst/>
              <a:gdLst>
                <a:gd name="connsiteX0" fmla="*/ 41400 w 43470"/>
                <a:gd name="connsiteY0" fmla="*/ 30706 h 101603"/>
                <a:gd name="connsiteX1" fmla="*/ 24150 w 43470"/>
                <a:gd name="connsiteY1" fmla="*/ 30706 h 101603"/>
                <a:gd name="connsiteX2" fmla="*/ 24150 w 43470"/>
                <a:gd name="connsiteY2" fmla="*/ 80731 h 101603"/>
                <a:gd name="connsiteX3" fmla="*/ 34155 w 43470"/>
                <a:gd name="connsiteY3" fmla="*/ 93496 h 101603"/>
                <a:gd name="connsiteX4" fmla="*/ 42780 w 43470"/>
                <a:gd name="connsiteY4" fmla="*/ 91599 h 101603"/>
                <a:gd name="connsiteX5" fmla="*/ 43470 w 43470"/>
                <a:gd name="connsiteY5" fmla="*/ 99534 h 101603"/>
                <a:gd name="connsiteX6" fmla="*/ 32085 w 43470"/>
                <a:gd name="connsiteY6" fmla="*/ 101603 h 101603"/>
                <a:gd name="connsiteX7" fmla="*/ 14835 w 43470"/>
                <a:gd name="connsiteY7" fmla="*/ 75728 h 101603"/>
                <a:gd name="connsiteX8" fmla="*/ 14835 w 43470"/>
                <a:gd name="connsiteY8" fmla="*/ 30360 h 101603"/>
                <a:gd name="connsiteX9" fmla="*/ 0 w 43470"/>
                <a:gd name="connsiteY9" fmla="*/ 30360 h 101603"/>
                <a:gd name="connsiteX10" fmla="*/ 0 w 43470"/>
                <a:gd name="connsiteY10" fmla="*/ 22081 h 101603"/>
                <a:gd name="connsiteX11" fmla="*/ 14835 w 43470"/>
                <a:gd name="connsiteY11" fmla="*/ 22081 h 101603"/>
                <a:gd name="connsiteX12" fmla="*/ 14835 w 43470"/>
                <a:gd name="connsiteY12" fmla="*/ 3278 h 101603"/>
                <a:gd name="connsiteX13" fmla="*/ 24150 w 43470"/>
                <a:gd name="connsiteY13" fmla="*/ 0 h 101603"/>
                <a:gd name="connsiteX14" fmla="*/ 24150 w 43470"/>
                <a:gd name="connsiteY14" fmla="*/ 22081 h 101603"/>
                <a:gd name="connsiteX15" fmla="*/ 41400 w 43470"/>
                <a:gd name="connsiteY15" fmla="*/ 22081 h 101603"/>
                <a:gd name="connsiteX16" fmla="*/ 41400 w 43470"/>
                <a:gd name="connsiteY16" fmla="*/ 30706 h 101603"/>
                <a:gd name="connsiteX17" fmla="*/ 41400 w 43470"/>
                <a:gd name="connsiteY17" fmla="*/ 30706 h 101603"/>
                <a:gd name="connsiteX18" fmla="*/ 41400 w 43470"/>
                <a:gd name="connsiteY18" fmla="*/ 30706 h 10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470" h="101603">
                  <a:moveTo>
                    <a:pt x="41400" y="30706"/>
                  </a:moveTo>
                  <a:lnTo>
                    <a:pt x="24150" y="30706"/>
                  </a:lnTo>
                  <a:lnTo>
                    <a:pt x="24150" y="80731"/>
                  </a:lnTo>
                  <a:cubicBezTo>
                    <a:pt x="24150" y="87631"/>
                    <a:pt x="26737" y="93496"/>
                    <a:pt x="34155" y="93496"/>
                  </a:cubicBezTo>
                  <a:cubicBezTo>
                    <a:pt x="37778" y="93496"/>
                    <a:pt x="40020" y="92634"/>
                    <a:pt x="42780" y="91599"/>
                  </a:cubicBezTo>
                  <a:lnTo>
                    <a:pt x="43470" y="99534"/>
                  </a:lnTo>
                  <a:cubicBezTo>
                    <a:pt x="41400" y="100396"/>
                    <a:pt x="36743" y="101603"/>
                    <a:pt x="32085" y="101603"/>
                  </a:cubicBezTo>
                  <a:cubicBezTo>
                    <a:pt x="15525" y="101603"/>
                    <a:pt x="14835" y="89874"/>
                    <a:pt x="14835" y="75728"/>
                  </a:cubicBezTo>
                  <a:lnTo>
                    <a:pt x="14835" y="30360"/>
                  </a:lnTo>
                  <a:lnTo>
                    <a:pt x="0" y="30360"/>
                  </a:lnTo>
                  <a:lnTo>
                    <a:pt x="0" y="22081"/>
                  </a:lnTo>
                  <a:lnTo>
                    <a:pt x="14835" y="22081"/>
                  </a:lnTo>
                  <a:lnTo>
                    <a:pt x="14835" y="3278"/>
                  </a:lnTo>
                  <a:lnTo>
                    <a:pt x="24150" y="0"/>
                  </a:lnTo>
                  <a:lnTo>
                    <a:pt x="24150" y="22081"/>
                  </a:lnTo>
                  <a:lnTo>
                    <a:pt x="41400" y="22081"/>
                  </a:lnTo>
                  <a:lnTo>
                    <a:pt x="41400" y="30706"/>
                  </a:lnTo>
                  <a:lnTo>
                    <a:pt x="41400" y="30706"/>
                  </a:lnTo>
                  <a:lnTo>
                    <a:pt x="41400" y="3070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3" name="Gráfico 1344">
              <a:extLst>
                <a:ext uri="{FF2B5EF4-FFF2-40B4-BE49-F238E27FC236}">
                  <a16:creationId xmlns:a16="http://schemas.microsoft.com/office/drawing/2014/main" id="{C13B7190-968E-4326-8D2E-536DF37EACCC}"/>
                </a:ext>
              </a:extLst>
            </p:cNvPr>
            <p:cNvSpPr/>
            <p:nvPr/>
          </p:nvSpPr>
          <p:spPr>
            <a:xfrm>
              <a:off x="9288050" y="6317156"/>
              <a:ext cx="72450" cy="80730"/>
            </a:xfrm>
            <a:custGeom>
              <a:avLst/>
              <a:gdLst>
                <a:gd name="connsiteX0" fmla="*/ 36225 w 72450"/>
                <a:gd name="connsiteY0" fmla="*/ 0 h 80730"/>
                <a:gd name="connsiteX1" fmla="*/ 72450 w 72450"/>
                <a:gd name="connsiteY1" fmla="*/ 40366 h 80730"/>
                <a:gd name="connsiteX2" fmla="*/ 36225 w 72450"/>
                <a:gd name="connsiteY2" fmla="*/ 80731 h 80730"/>
                <a:gd name="connsiteX3" fmla="*/ 0 w 72450"/>
                <a:gd name="connsiteY3" fmla="*/ 40366 h 80730"/>
                <a:gd name="connsiteX4" fmla="*/ 36225 w 72450"/>
                <a:gd name="connsiteY4" fmla="*/ 0 h 80730"/>
                <a:gd name="connsiteX5" fmla="*/ 36225 w 72450"/>
                <a:gd name="connsiteY5" fmla="*/ 72623 h 80730"/>
                <a:gd name="connsiteX6" fmla="*/ 61928 w 72450"/>
                <a:gd name="connsiteY6" fmla="*/ 40366 h 80730"/>
                <a:gd name="connsiteX7" fmla="*/ 36225 w 72450"/>
                <a:gd name="connsiteY7" fmla="*/ 8108 h 80730"/>
                <a:gd name="connsiteX8" fmla="*/ 10522 w 72450"/>
                <a:gd name="connsiteY8" fmla="*/ 40366 h 80730"/>
                <a:gd name="connsiteX9" fmla="*/ 36225 w 7245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80730">
                  <a:moveTo>
                    <a:pt x="36225" y="0"/>
                  </a:moveTo>
                  <a:cubicBezTo>
                    <a:pt x="61238" y="0"/>
                    <a:pt x="72450" y="19321"/>
                    <a:pt x="72450" y="40366"/>
                  </a:cubicBezTo>
                  <a:cubicBezTo>
                    <a:pt x="72450" y="61411"/>
                    <a:pt x="61238" y="80731"/>
                    <a:pt x="36225" y="80731"/>
                  </a:cubicBezTo>
                  <a:cubicBezTo>
                    <a:pt x="11212" y="80731"/>
                    <a:pt x="0" y="61411"/>
                    <a:pt x="0" y="40366"/>
                  </a:cubicBezTo>
                  <a:cubicBezTo>
                    <a:pt x="0" y="19321"/>
                    <a:pt x="11212" y="0"/>
                    <a:pt x="36225" y="0"/>
                  </a:cubicBezTo>
                  <a:moveTo>
                    <a:pt x="36225" y="72623"/>
                  </a:moveTo>
                  <a:cubicBezTo>
                    <a:pt x="52957" y="72623"/>
                    <a:pt x="61928" y="58306"/>
                    <a:pt x="61928" y="40366"/>
                  </a:cubicBezTo>
                  <a:cubicBezTo>
                    <a:pt x="61928" y="22598"/>
                    <a:pt x="53130" y="8108"/>
                    <a:pt x="36225" y="8108"/>
                  </a:cubicBezTo>
                  <a:cubicBezTo>
                    <a:pt x="19320" y="8108"/>
                    <a:pt x="10522" y="22425"/>
                    <a:pt x="10522" y="40366"/>
                  </a:cubicBezTo>
                  <a:cubicBezTo>
                    <a:pt x="10522" y="58133"/>
                    <a:pt x="19665" y="72623"/>
                    <a:pt x="36225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4" name="Gráfico 1344">
              <a:extLst>
                <a:ext uri="{FF2B5EF4-FFF2-40B4-BE49-F238E27FC236}">
                  <a16:creationId xmlns:a16="http://schemas.microsoft.com/office/drawing/2014/main" id="{E2CB162C-85AF-4838-BD03-11F3BE5464B5}"/>
                </a:ext>
              </a:extLst>
            </p:cNvPr>
            <p:cNvSpPr/>
            <p:nvPr/>
          </p:nvSpPr>
          <p:spPr>
            <a:xfrm>
              <a:off x="9371023" y="6317156"/>
              <a:ext cx="49680" cy="80903"/>
            </a:xfrm>
            <a:custGeom>
              <a:avLst/>
              <a:gdLst>
                <a:gd name="connsiteX0" fmla="*/ 517 w 49680"/>
                <a:gd name="connsiteY0" fmla="*/ 67621 h 80903"/>
                <a:gd name="connsiteX1" fmla="*/ 21217 w 49680"/>
                <a:gd name="connsiteY1" fmla="*/ 72623 h 80903"/>
                <a:gd name="connsiteX2" fmla="*/ 38813 w 49680"/>
                <a:gd name="connsiteY2" fmla="*/ 58823 h 80903"/>
                <a:gd name="connsiteX3" fmla="*/ 862 w 49680"/>
                <a:gd name="connsiteY3" fmla="*/ 21045 h 80903"/>
                <a:gd name="connsiteX4" fmla="*/ 26565 w 49680"/>
                <a:gd name="connsiteY4" fmla="*/ 0 h 80903"/>
                <a:gd name="connsiteX5" fmla="*/ 46058 w 49680"/>
                <a:gd name="connsiteY5" fmla="*/ 3450 h 80903"/>
                <a:gd name="connsiteX6" fmla="*/ 45195 w 49680"/>
                <a:gd name="connsiteY6" fmla="*/ 11903 h 80903"/>
                <a:gd name="connsiteX7" fmla="*/ 27772 w 49680"/>
                <a:gd name="connsiteY7" fmla="*/ 8280 h 80903"/>
                <a:gd name="connsiteX8" fmla="*/ 10695 w 49680"/>
                <a:gd name="connsiteY8" fmla="*/ 21218 h 80903"/>
                <a:gd name="connsiteX9" fmla="*/ 49680 w 49680"/>
                <a:gd name="connsiteY9" fmla="*/ 58996 h 80903"/>
                <a:gd name="connsiteX10" fmla="*/ 22253 w 49680"/>
                <a:gd name="connsiteY10" fmla="*/ 80903 h 80903"/>
                <a:gd name="connsiteX11" fmla="*/ 0 w 49680"/>
                <a:gd name="connsiteY11" fmla="*/ 77281 h 80903"/>
                <a:gd name="connsiteX12" fmla="*/ 517 w 49680"/>
                <a:gd name="connsiteY12" fmla="*/ 67621 h 80903"/>
                <a:gd name="connsiteX13" fmla="*/ 517 w 49680"/>
                <a:gd name="connsiteY13" fmla="*/ 67621 h 80903"/>
                <a:gd name="connsiteX14" fmla="*/ 517 w 49680"/>
                <a:gd name="connsiteY14" fmla="*/ 67621 h 80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680" h="80903">
                  <a:moveTo>
                    <a:pt x="517" y="67621"/>
                  </a:moveTo>
                  <a:cubicBezTo>
                    <a:pt x="6382" y="70381"/>
                    <a:pt x="13455" y="72623"/>
                    <a:pt x="21217" y="72623"/>
                  </a:cubicBezTo>
                  <a:cubicBezTo>
                    <a:pt x="30533" y="72623"/>
                    <a:pt x="38813" y="67448"/>
                    <a:pt x="38813" y="58823"/>
                  </a:cubicBezTo>
                  <a:cubicBezTo>
                    <a:pt x="38813" y="40538"/>
                    <a:pt x="862" y="43298"/>
                    <a:pt x="862" y="21045"/>
                  </a:cubicBezTo>
                  <a:cubicBezTo>
                    <a:pt x="862" y="5866"/>
                    <a:pt x="13628" y="0"/>
                    <a:pt x="26565" y="0"/>
                  </a:cubicBezTo>
                  <a:cubicBezTo>
                    <a:pt x="30705" y="0"/>
                    <a:pt x="39158" y="863"/>
                    <a:pt x="46058" y="3450"/>
                  </a:cubicBezTo>
                  <a:lnTo>
                    <a:pt x="45195" y="11903"/>
                  </a:lnTo>
                  <a:cubicBezTo>
                    <a:pt x="40193" y="9488"/>
                    <a:pt x="33120" y="8280"/>
                    <a:pt x="27772" y="8280"/>
                  </a:cubicBezTo>
                  <a:cubicBezTo>
                    <a:pt x="17595" y="8280"/>
                    <a:pt x="10695" y="11213"/>
                    <a:pt x="10695" y="21218"/>
                  </a:cubicBezTo>
                  <a:cubicBezTo>
                    <a:pt x="10695" y="35536"/>
                    <a:pt x="49680" y="33638"/>
                    <a:pt x="49680" y="58996"/>
                  </a:cubicBezTo>
                  <a:cubicBezTo>
                    <a:pt x="49680" y="75383"/>
                    <a:pt x="34155" y="80903"/>
                    <a:pt x="22253" y="80903"/>
                  </a:cubicBezTo>
                  <a:cubicBezTo>
                    <a:pt x="14835" y="80903"/>
                    <a:pt x="7073" y="80041"/>
                    <a:pt x="0" y="77281"/>
                  </a:cubicBezTo>
                  <a:lnTo>
                    <a:pt x="517" y="67621"/>
                  </a:lnTo>
                  <a:lnTo>
                    <a:pt x="517" y="67621"/>
                  </a:lnTo>
                  <a:lnTo>
                    <a:pt x="517" y="67621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55" name="Agrupar 854">
            <a:extLst>
              <a:ext uri="{FF2B5EF4-FFF2-40B4-BE49-F238E27FC236}">
                <a16:creationId xmlns:a16="http://schemas.microsoft.com/office/drawing/2014/main" id="{A0B4F220-8704-4FA1-8525-9779987981E5}"/>
              </a:ext>
            </a:extLst>
          </p:cNvPr>
          <p:cNvGrpSpPr/>
          <p:nvPr/>
        </p:nvGrpSpPr>
        <p:grpSpPr>
          <a:xfrm>
            <a:off x="10405826" y="4990276"/>
            <a:ext cx="1391050" cy="142831"/>
            <a:chOff x="10238186" y="4990276"/>
            <a:chExt cx="1391050" cy="142831"/>
          </a:xfrm>
        </p:grpSpPr>
        <p:sp>
          <p:nvSpPr>
            <p:cNvPr id="856" name="Gráfico 1344">
              <a:extLst>
                <a:ext uri="{FF2B5EF4-FFF2-40B4-BE49-F238E27FC236}">
                  <a16:creationId xmlns:a16="http://schemas.microsoft.com/office/drawing/2014/main" id="{6DD48FFB-4011-49A0-A9C2-D81339A38201}"/>
                </a:ext>
              </a:extLst>
            </p:cNvPr>
            <p:cNvSpPr/>
            <p:nvPr/>
          </p:nvSpPr>
          <p:spPr>
            <a:xfrm>
              <a:off x="10238186" y="4996314"/>
              <a:ext cx="76590" cy="107640"/>
            </a:xfrm>
            <a:custGeom>
              <a:avLst/>
              <a:gdLst>
                <a:gd name="connsiteX0" fmla="*/ 75900 w 76590"/>
                <a:gd name="connsiteY0" fmla="*/ 13282 h 107640"/>
                <a:gd name="connsiteX1" fmla="*/ 52613 w 76590"/>
                <a:gd name="connsiteY1" fmla="*/ 8797 h 107640"/>
                <a:gd name="connsiteX2" fmla="*/ 10350 w 76590"/>
                <a:gd name="connsiteY2" fmla="*/ 53648 h 107640"/>
                <a:gd name="connsiteX3" fmla="*/ 52613 w 76590"/>
                <a:gd name="connsiteY3" fmla="*/ 98498 h 107640"/>
                <a:gd name="connsiteX4" fmla="*/ 75900 w 76590"/>
                <a:gd name="connsiteY4" fmla="*/ 94013 h 107640"/>
                <a:gd name="connsiteX5" fmla="*/ 76591 w 76590"/>
                <a:gd name="connsiteY5" fmla="*/ 103155 h 107640"/>
                <a:gd name="connsiteX6" fmla="*/ 52613 w 76590"/>
                <a:gd name="connsiteY6" fmla="*/ 107641 h 107640"/>
                <a:gd name="connsiteX7" fmla="*/ 0 w 76590"/>
                <a:gd name="connsiteY7" fmla="*/ 53820 h 107640"/>
                <a:gd name="connsiteX8" fmla="*/ 52613 w 76590"/>
                <a:gd name="connsiteY8" fmla="*/ 0 h 107640"/>
                <a:gd name="connsiteX9" fmla="*/ 76591 w 76590"/>
                <a:gd name="connsiteY9" fmla="*/ 3795 h 107640"/>
                <a:gd name="connsiteX10" fmla="*/ 75900 w 76590"/>
                <a:gd name="connsiteY10" fmla="*/ 13282 h 107640"/>
                <a:gd name="connsiteX11" fmla="*/ 75900 w 76590"/>
                <a:gd name="connsiteY11" fmla="*/ 13282 h 107640"/>
                <a:gd name="connsiteX12" fmla="*/ 75900 w 76590"/>
                <a:gd name="connsiteY12" fmla="*/ 13282 h 10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590" h="107640">
                  <a:moveTo>
                    <a:pt x="75900" y="13282"/>
                  </a:moveTo>
                  <a:cubicBezTo>
                    <a:pt x="69346" y="9832"/>
                    <a:pt x="60031" y="8797"/>
                    <a:pt x="52613" y="8797"/>
                  </a:cubicBezTo>
                  <a:cubicBezTo>
                    <a:pt x="25530" y="8797"/>
                    <a:pt x="10350" y="27945"/>
                    <a:pt x="10350" y="53648"/>
                  </a:cubicBezTo>
                  <a:cubicBezTo>
                    <a:pt x="10350" y="79868"/>
                    <a:pt x="25185" y="98498"/>
                    <a:pt x="52613" y="98498"/>
                  </a:cubicBezTo>
                  <a:cubicBezTo>
                    <a:pt x="59340" y="98498"/>
                    <a:pt x="70035" y="97636"/>
                    <a:pt x="75900" y="94013"/>
                  </a:cubicBezTo>
                  <a:lnTo>
                    <a:pt x="76591" y="103155"/>
                  </a:lnTo>
                  <a:cubicBezTo>
                    <a:pt x="70898" y="106606"/>
                    <a:pt x="59168" y="107641"/>
                    <a:pt x="52613" y="107641"/>
                  </a:cubicBezTo>
                  <a:cubicBezTo>
                    <a:pt x="19665" y="107641"/>
                    <a:pt x="0" y="86078"/>
                    <a:pt x="0" y="53820"/>
                  </a:cubicBezTo>
                  <a:cubicBezTo>
                    <a:pt x="0" y="22252"/>
                    <a:pt x="20355" y="0"/>
                    <a:pt x="52613" y="0"/>
                  </a:cubicBezTo>
                  <a:cubicBezTo>
                    <a:pt x="58823" y="0"/>
                    <a:pt x="71070" y="1035"/>
                    <a:pt x="76591" y="3795"/>
                  </a:cubicBezTo>
                  <a:lnTo>
                    <a:pt x="75900" y="13282"/>
                  </a:lnTo>
                  <a:lnTo>
                    <a:pt x="75900" y="13282"/>
                  </a:lnTo>
                  <a:lnTo>
                    <a:pt x="75900" y="1328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7" name="Gráfico 1344">
              <a:extLst>
                <a:ext uri="{FF2B5EF4-FFF2-40B4-BE49-F238E27FC236}">
                  <a16:creationId xmlns:a16="http://schemas.microsoft.com/office/drawing/2014/main" id="{4B68C173-4504-4080-8143-9CA1A27CE780}"/>
                </a:ext>
              </a:extLst>
            </p:cNvPr>
            <p:cNvSpPr/>
            <p:nvPr/>
          </p:nvSpPr>
          <p:spPr>
            <a:xfrm>
              <a:off x="10335477" y="5023396"/>
              <a:ext cx="72450" cy="80730"/>
            </a:xfrm>
            <a:custGeom>
              <a:avLst/>
              <a:gdLst>
                <a:gd name="connsiteX0" fmla="*/ 36225 w 72450"/>
                <a:gd name="connsiteY0" fmla="*/ 0 h 80730"/>
                <a:gd name="connsiteX1" fmla="*/ 72450 w 72450"/>
                <a:gd name="connsiteY1" fmla="*/ 40366 h 80730"/>
                <a:gd name="connsiteX2" fmla="*/ 36225 w 72450"/>
                <a:gd name="connsiteY2" fmla="*/ 80731 h 80730"/>
                <a:gd name="connsiteX3" fmla="*/ 0 w 72450"/>
                <a:gd name="connsiteY3" fmla="*/ 40366 h 80730"/>
                <a:gd name="connsiteX4" fmla="*/ 36225 w 72450"/>
                <a:gd name="connsiteY4" fmla="*/ 0 h 80730"/>
                <a:gd name="connsiteX5" fmla="*/ 36225 w 72450"/>
                <a:gd name="connsiteY5" fmla="*/ 72623 h 80730"/>
                <a:gd name="connsiteX6" fmla="*/ 61928 w 72450"/>
                <a:gd name="connsiteY6" fmla="*/ 40366 h 80730"/>
                <a:gd name="connsiteX7" fmla="*/ 36225 w 72450"/>
                <a:gd name="connsiteY7" fmla="*/ 8108 h 80730"/>
                <a:gd name="connsiteX8" fmla="*/ 10522 w 72450"/>
                <a:gd name="connsiteY8" fmla="*/ 40366 h 80730"/>
                <a:gd name="connsiteX9" fmla="*/ 36225 w 7245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80730">
                  <a:moveTo>
                    <a:pt x="36225" y="0"/>
                  </a:moveTo>
                  <a:cubicBezTo>
                    <a:pt x="61238" y="0"/>
                    <a:pt x="72450" y="19321"/>
                    <a:pt x="72450" y="40366"/>
                  </a:cubicBezTo>
                  <a:cubicBezTo>
                    <a:pt x="72450" y="61411"/>
                    <a:pt x="61238" y="80731"/>
                    <a:pt x="36225" y="80731"/>
                  </a:cubicBezTo>
                  <a:cubicBezTo>
                    <a:pt x="11212" y="80731"/>
                    <a:pt x="0" y="61411"/>
                    <a:pt x="0" y="40366"/>
                  </a:cubicBezTo>
                  <a:cubicBezTo>
                    <a:pt x="0" y="19321"/>
                    <a:pt x="11212" y="0"/>
                    <a:pt x="36225" y="0"/>
                  </a:cubicBezTo>
                  <a:moveTo>
                    <a:pt x="36225" y="72623"/>
                  </a:moveTo>
                  <a:cubicBezTo>
                    <a:pt x="52785" y="72623"/>
                    <a:pt x="61928" y="58306"/>
                    <a:pt x="61928" y="40366"/>
                  </a:cubicBezTo>
                  <a:cubicBezTo>
                    <a:pt x="61928" y="22598"/>
                    <a:pt x="52785" y="8108"/>
                    <a:pt x="36225" y="8108"/>
                  </a:cubicBezTo>
                  <a:cubicBezTo>
                    <a:pt x="19665" y="8108"/>
                    <a:pt x="10522" y="22425"/>
                    <a:pt x="10522" y="40366"/>
                  </a:cubicBezTo>
                  <a:cubicBezTo>
                    <a:pt x="10522" y="58133"/>
                    <a:pt x="19665" y="72623"/>
                    <a:pt x="36225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8" name="Gráfico 1344">
              <a:extLst>
                <a:ext uri="{FF2B5EF4-FFF2-40B4-BE49-F238E27FC236}">
                  <a16:creationId xmlns:a16="http://schemas.microsoft.com/office/drawing/2014/main" id="{83182B1F-8A77-4DF1-80E5-9093F91AFE1E}"/>
                </a:ext>
              </a:extLst>
            </p:cNvPr>
            <p:cNvSpPr/>
            <p:nvPr/>
          </p:nvSpPr>
          <p:spPr>
            <a:xfrm>
              <a:off x="10424488" y="5023396"/>
              <a:ext cx="103328" cy="78661"/>
            </a:xfrm>
            <a:custGeom>
              <a:avLst/>
              <a:gdLst>
                <a:gd name="connsiteX0" fmla="*/ 93495 w 103328"/>
                <a:gd name="connsiteY0" fmla="*/ 78661 h 78661"/>
                <a:gd name="connsiteX1" fmla="*/ 93495 w 103328"/>
                <a:gd name="connsiteY1" fmla="*/ 27428 h 78661"/>
                <a:gd name="connsiteX2" fmla="*/ 77280 w 103328"/>
                <a:gd name="connsiteY2" fmla="*/ 7935 h 78661"/>
                <a:gd name="connsiteX3" fmla="*/ 56408 w 103328"/>
                <a:gd name="connsiteY3" fmla="*/ 36053 h 78661"/>
                <a:gd name="connsiteX4" fmla="*/ 56408 w 103328"/>
                <a:gd name="connsiteY4" fmla="*/ 78661 h 78661"/>
                <a:gd name="connsiteX5" fmla="*/ 46920 w 103328"/>
                <a:gd name="connsiteY5" fmla="*/ 78661 h 78661"/>
                <a:gd name="connsiteX6" fmla="*/ 46920 w 103328"/>
                <a:gd name="connsiteY6" fmla="*/ 27428 h 78661"/>
                <a:gd name="connsiteX7" fmla="*/ 30705 w 103328"/>
                <a:gd name="connsiteY7" fmla="*/ 7935 h 78661"/>
                <a:gd name="connsiteX8" fmla="*/ 10178 w 103328"/>
                <a:gd name="connsiteY8" fmla="*/ 36053 h 78661"/>
                <a:gd name="connsiteX9" fmla="*/ 10178 w 103328"/>
                <a:gd name="connsiteY9" fmla="*/ 78661 h 78661"/>
                <a:gd name="connsiteX10" fmla="*/ 690 w 103328"/>
                <a:gd name="connsiteY10" fmla="*/ 78661 h 78661"/>
                <a:gd name="connsiteX11" fmla="*/ 690 w 103328"/>
                <a:gd name="connsiteY11" fmla="*/ 20010 h 78661"/>
                <a:gd name="connsiteX12" fmla="*/ 0 w 103328"/>
                <a:gd name="connsiteY12" fmla="*/ 1725 h 78661"/>
                <a:gd name="connsiteX13" fmla="*/ 9143 w 103328"/>
                <a:gd name="connsiteY13" fmla="*/ 1725 h 78661"/>
                <a:gd name="connsiteX14" fmla="*/ 9143 w 103328"/>
                <a:gd name="connsiteY14" fmla="*/ 14835 h 78661"/>
                <a:gd name="connsiteX15" fmla="*/ 9487 w 103328"/>
                <a:gd name="connsiteY15" fmla="*/ 15008 h 78661"/>
                <a:gd name="connsiteX16" fmla="*/ 33465 w 103328"/>
                <a:gd name="connsiteY16" fmla="*/ 0 h 78661"/>
                <a:gd name="connsiteX17" fmla="*/ 53820 w 103328"/>
                <a:gd name="connsiteY17" fmla="*/ 16215 h 78661"/>
                <a:gd name="connsiteX18" fmla="*/ 54165 w 103328"/>
                <a:gd name="connsiteY18" fmla="*/ 16215 h 78661"/>
                <a:gd name="connsiteX19" fmla="*/ 78833 w 103328"/>
                <a:gd name="connsiteY19" fmla="*/ 0 h 78661"/>
                <a:gd name="connsiteX20" fmla="*/ 103328 w 103328"/>
                <a:gd name="connsiteY20" fmla="*/ 25703 h 78661"/>
                <a:gd name="connsiteX21" fmla="*/ 103328 w 103328"/>
                <a:gd name="connsiteY21" fmla="*/ 78661 h 78661"/>
                <a:gd name="connsiteX22" fmla="*/ 93495 w 103328"/>
                <a:gd name="connsiteY22" fmla="*/ 78661 h 78661"/>
                <a:gd name="connsiteX23" fmla="*/ 93495 w 103328"/>
                <a:gd name="connsiteY23" fmla="*/ 78661 h 78661"/>
                <a:gd name="connsiteX24" fmla="*/ 93495 w 103328"/>
                <a:gd name="connsiteY24" fmla="*/ 78661 h 7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328" h="78661">
                  <a:moveTo>
                    <a:pt x="93495" y="78661"/>
                  </a:moveTo>
                  <a:lnTo>
                    <a:pt x="93495" y="27428"/>
                  </a:lnTo>
                  <a:cubicBezTo>
                    <a:pt x="93495" y="16561"/>
                    <a:pt x="89356" y="7935"/>
                    <a:pt x="77280" y="7935"/>
                  </a:cubicBezTo>
                  <a:cubicBezTo>
                    <a:pt x="66758" y="7935"/>
                    <a:pt x="56408" y="16905"/>
                    <a:pt x="56408" y="36053"/>
                  </a:cubicBezTo>
                  <a:lnTo>
                    <a:pt x="56408" y="78661"/>
                  </a:lnTo>
                  <a:lnTo>
                    <a:pt x="46920" y="78661"/>
                  </a:lnTo>
                  <a:lnTo>
                    <a:pt x="46920" y="27428"/>
                  </a:lnTo>
                  <a:cubicBezTo>
                    <a:pt x="46920" y="16561"/>
                    <a:pt x="42780" y="7935"/>
                    <a:pt x="30705" y="7935"/>
                  </a:cubicBezTo>
                  <a:cubicBezTo>
                    <a:pt x="20355" y="7935"/>
                    <a:pt x="10178" y="16905"/>
                    <a:pt x="10178" y="36053"/>
                  </a:cubicBezTo>
                  <a:lnTo>
                    <a:pt x="10178" y="78661"/>
                  </a:lnTo>
                  <a:lnTo>
                    <a:pt x="690" y="78661"/>
                  </a:lnTo>
                  <a:lnTo>
                    <a:pt x="690" y="20010"/>
                  </a:lnTo>
                  <a:cubicBezTo>
                    <a:pt x="690" y="13973"/>
                    <a:pt x="690" y="7935"/>
                    <a:pt x="0" y="1725"/>
                  </a:cubicBezTo>
                  <a:lnTo>
                    <a:pt x="9143" y="1725"/>
                  </a:lnTo>
                  <a:lnTo>
                    <a:pt x="9143" y="14835"/>
                  </a:lnTo>
                  <a:lnTo>
                    <a:pt x="9487" y="15008"/>
                  </a:lnTo>
                  <a:cubicBezTo>
                    <a:pt x="12420" y="9833"/>
                    <a:pt x="16905" y="0"/>
                    <a:pt x="33465" y="0"/>
                  </a:cubicBezTo>
                  <a:cubicBezTo>
                    <a:pt x="40365" y="0"/>
                    <a:pt x="51405" y="2760"/>
                    <a:pt x="53820" y="16215"/>
                  </a:cubicBezTo>
                  <a:lnTo>
                    <a:pt x="54165" y="16215"/>
                  </a:lnTo>
                  <a:cubicBezTo>
                    <a:pt x="57615" y="7245"/>
                    <a:pt x="66585" y="0"/>
                    <a:pt x="78833" y="0"/>
                  </a:cubicBezTo>
                  <a:cubicBezTo>
                    <a:pt x="94530" y="0"/>
                    <a:pt x="103328" y="10696"/>
                    <a:pt x="103328" y="25703"/>
                  </a:cubicBezTo>
                  <a:lnTo>
                    <a:pt x="103328" y="78661"/>
                  </a:lnTo>
                  <a:lnTo>
                    <a:pt x="93495" y="78661"/>
                  </a:lnTo>
                  <a:lnTo>
                    <a:pt x="93495" y="78661"/>
                  </a:lnTo>
                  <a:lnTo>
                    <a:pt x="93495" y="78661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59" name="Gráfico 1344">
              <a:extLst>
                <a:ext uri="{FF2B5EF4-FFF2-40B4-BE49-F238E27FC236}">
                  <a16:creationId xmlns:a16="http://schemas.microsoft.com/office/drawing/2014/main" id="{180FB9C3-BAB4-49D0-B286-F8E94CCD8CA4}"/>
                </a:ext>
              </a:extLst>
            </p:cNvPr>
            <p:cNvSpPr/>
            <p:nvPr/>
          </p:nvSpPr>
          <p:spPr>
            <a:xfrm>
              <a:off x="10550759" y="5023396"/>
              <a:ext cx="63998" cy="109711"/>
            </a:xfrm>
            <a:custGeom>
              <a:avLst/>
              <a:gdLst>
                <a:gd name="connsiteX0" fmla="*/ 173 w 63998"/>
                <a:gd name="connsiteY0" fmla="*/ 1725 h 109711"/>
                <a:gd name="connsiteX1" fmla="*/ 9315 w 63998"/>
                <a:gd name="connsiteY1" fmla="*/ 1725 h 109711"/>
                <a:gd name="connsiteX2" fmla="*/ 8625 w 63998"/>
                <a:gd name="connsiteY2" fmla="*/ 15698 h 109711"/>
                <a:gd name="connsiteX3" fmla="*/ 8798 w 63998"/>
                <a:gd name="connsiteY3" fmla="*/ 15698 h 109711"/>
                <a:gd name="connsiteX4" fmla="*/ 32948 w 63998"/>
                <a:gd name="connsiteY4" fmla="*/ 0 h 109711"/>
                <a:gd name="connsiteX5" fmla="*/ 63998 w 63998"/>
                <a:gd name="connsiteY5" fmla="*/ 40020 h 109711"/>
                <a:gd name="connsiteX6" fmla="*/ 32948 w 63998"/>
                <a:gd name="connsiteY6" fmla="*/ 80041 h 109711"/>
                <a:gd name="connsiteX7" fmla="*/ 9488 w 63998"/>
                <a:gd name="connsiteY7" fmla="*/ 65205 h 109711"/>
                <a:gd name="connsiteX8" fmla="*/ 9143 w 63998"/>
                <a:gd name="connsiteY8" fmla="*/ 65205 h 109711"/>
                <a:gd name="connsiteX9" fmla="*/ 9143 w 63998"/>
                <a:gd name="connsiteY9" fmla="*/ 109711 h 109711"/>
                <a:gd name="connsiteX10" fmla="*/ 0 w 63998"/>
                <a:gd name="connsiteY10" fmla="*/ 109711 h 109711"/>
                <a:gd name="connsiteX11" fmla="*/ 0 w 63998"/>
                <a:gd name="connsiteY11" fmla="*/ 1725 h 109711"/>
                <a:gd name="connsiteX12" fmla="*/ 173 w 63998"/>
                <a:gd name="connsiteY12" fmla="*/ 1725 h 109711"/>
                <a:gd name="connsiteX13" fmla="*/ 173 w 63998"/>
                <a:gd name="connsiteY13" fmla="*/ 1725 h 109711"/>
                <a:gd name="connsiteX14" fmla="*/ 31913 w 63998"/>
                <a:gd name="connsiteY14" fmla="*/ 8108 h 109711"/>
                <a:gd name="connsiteX15" fmla="*/ 9488 w 63998"/>
                <a:gd name="connsiteY15" fmla="*/ 40020 h 109711"/>
                <a:gd name="connsiteX16" fmla="*/ 31913 w 63998"/>
                <a:gd name="connsiteY16" fmla="*/ 71933 h 109711"/>
                <a:gd name="connsiteX17" fmla="*/ 54166 w 63998"/>
                <a:gd name="connsiteY17" fmla="*/ 40020 h 109711"/>
                <a:gd name="connsiteX18" fmla="*/ 31913 w 63998"/>
                <a:gd name="connsiteY18" fmla="*/ 8108 h 10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3998" h="109711">
                  <a:moveTo>
                    <a:pt x="173" y="1725"/>
                  </a:moveTo>
                  <a:lnTo>
                    <a:pt x="9315" y="1725"/>
                  </a:lnTo>
                  <a:lnTo>
                    <a:pt x="8625" y="15698"/>
                  </a:lnTo>
                  <a:lnTo>
                    <a:pt x="8798" y="15698"/>
                  </a:lnTo>
                  <a:cubicBezTo>
                    <a:pt x="11040" y="11385"/>
                    <a:pt x="16905" y="0"/>
                    <a:pt x="32948" y="0"/>
                  </a:cubicBezTo>
                  <a:cubicBezTo>
                    <a:pt x="55201" y="0"/>
                    <a:pt x="63998" y="16905"/>
                    <a:pt x="63998" y="40020"/>
                  </a:cubicBezTo>
                  <a:cubicBezTo>
                    <a:pt x="63998" y="62618"/>
                    <a:pt x="53648" y="80041"/>
                    <a:pt x="32948" y="80041"/>
                  </a:cubicBezTo>
                  <a:cubicBezTo>
                    <a:pt x="21218" y="80041"/>
                    <a:pt x="14145" y="75211"/>
                    <a:pt x="9488" y="65205"/>
                  </a:cubicBezTo>
                  <a:lnTo>
                    <a:pt x="9143" y="65205"/>
                  </a:lnTo>
                  <a:lnTo>
                    <a:pt x="9143" y="109711"/>
                  </a:lnTo>
                  <a:lnTo>
                    <a:pt x="0" y="109711"/>
                  </a:lnTo>
                  <a:lnTo>
                    <a:pt x="0" y="1725"/>
                  </a:lnTo>
                  <a:lnTo>
                    <a:pt x="173" y="1725"/>
                  </a:lnTo>
                  <a:lnTo>
                    <a:pt x="173" y="1725"/>
                  </a:lnTo>
                  <a:close/>
                  <a:moveTo>
                    <a:pt x="31913" y="8108"/>
                  </a:moveTo>
                  <a:cubicBezTo>
                    <a:pt x="15353" y="8108"/>
                    <a:pt x="9488" y="26221"/>
                    <a:pt x="9488" y="40020"/>
                  </a:cubicBezTo>
                  <a:cubicBezTo>
                    <a:pt x="9488" y="53993"/>
                    <a:pt x="15180" y="71933"/>
                    <a:pt x="31913" y="71933"/>
                  </a:cubicBezTo>
                  <a:cubicBezTo>
                    <a:pt x="49508" y="71933"/>
                    <a:pt x="54166" y="54856"/>
                    <a:pt x="54166" y="40020"/>
                  </a:cubicBezTo>
                  <a:cubicBezTo>
                    <a:pt x="54166" y="25186"/>
                    <a:pt x="49508" y="8108"/>
                    <a:pt x="31913" y="8108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0" name="Gráfico 1344">
              <a:extLst>
                <a:ext uri="{FF2B5EF4-FFF2-40B4-BE49-F238E27FC236}">
                  <a16:creationId xmlns:a16="http://schemas.microsoft.com/office/drawing/2014/main" id="{1C9F40D9-A560-4B0C-9A99-B75E141E3715}"/>
                </a:ext>
              </a:extLst>
            </p:cNvPr>
            <p:cNvSpPr/>
            <p:nvPr/>
          </p:nvSpPr>
          <p:spPr>
            <a:xfrm>
              <a:off x="10633560" y="4990276"/>
              <a:ext cx="10350" cy="111780"/>
            </a:xfrm>
            <a:custGeom>
              <a:avLst/>
              <a:gdLst>
                <a:gd name="connsiteX0" fmla="*/ 0 w 10350"/>
                <a:gd name="connsiteY0" fmla="*/ 0 h 111780"/>
                <a:gd name="connsiteX1" fmla="*/ 10350 w 10350"/>
                <a:gd name="connsiteY1" fmla="*/ 0 h 111780"/>
                <a:gd name="connsiteX2" fmla="*/ 10350 w 10350"/>
                <a:gd name="connsiteY2" fmla="*/ 111781 h 111780"/>
                <a:gd name="connsiteX3" fmla="*/ 0 w 10350"/>
                <a:gd name="connsiteY3" fmla="*/ 111781 h 111780"/>
                <a:gd name="connsiteX4" fmla="*/ 0 w 10350"/>
                <a:gd name="connsiteY4" fmla="*/ 0 h 11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0" h="111780">
                  <a:moveTo>
                    <a:pt x="0" y="0"/>
                  </a:moveTo>
                  <a:lnTo>
                    <a:pt x="10350" y="0"/>
                  </a:lnTo>
                  <a:lnTo>
                    <a:pt x="10350" y="111781"/>
                  </a:lnTo>
                  <a:lnTo>
                    <a:pt x="0" y="1117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1" name="Gráfico 1344">
              <a:extLst>
                <a:ext uri="{FF2B5EF4-FFF2-40B4-BE49-F238E27FC236}">
                  <a16:creationId xmlns:a16="http://schemas.microsoft.com/office/drawing/2014/main" id="{86167F32-4685-4233-B9F1-404C8E4DFA09}"/>
                </a:ext>
              </a:extLst>
            </p:cNvPr>
            <p:cNvSpPr/>
            <p:nvPr/>
          </p:nvSpPr>
          <p:spPr>
            <a:xfrm>
              <a:off x="10662540" y="5023396"/>
              <a:ext cx="62100" cy="80730"/>
            </a:xfrm>
            <a:custGeom>
              <a:avLst/>
              <a:gdLst>
                <a:gd name="connsiteX0" fmla="*/ 56408 w 62100"/>
                <a:gd name="connsiteY0" fmla="*/ 76418 h 80730"/>
                <a:gd name="connsiteX1" fmla="*/ 34328 w 62100"/>
                <a:gd name="connsiteY1" fmla="*/ 80731 h 80730"/>
                <a:gd name="connsiteX2" fmla="*/ 0 w 62100"/>
                <a:gd name="connsiteY2" fmla="*/ 40366 h 80730"/>
                <a:gd name="connsiteX3" fmla="*/ 31913 w 62100"/>
                <a:gd name="connsiteY3" fmla="*/ 0 h 80730"/>
                <a:gd name="connsiteX4" fmla="*/ 62101 w 62100"/>
                <a:gd name="connsiteY4" fmla="*/ 38295 h 80730"/>
                <a:gd name="connsiteX5" fmla="*/ 62101 w 62100"/>
                <a:gd name="connsiteY5" fmla="*/ 43298 h 80730"/>
                <a:gd name="connsiteX6" fmla="*/ 10350 w 62100"/>
                <a:gd name="connsiteY6" fmla="*/ 43298 h 80730"/>
                <a:gd name="connsiteX7" fmla="*/ 35190 w 62100"/>
                <a:gd name="connsiteY7" fmla="*/ 72968 h 80730"/>
                <a:gd name="connsiteX8" fmla="*/ 56408 w 62100"/>
                <a:gd name="connsiteY8" fmla="*/ 67103 h 80730"/>
                <a:gd name="connsiteX9" fmla="*/ 56408 w 62100"/>
                <a:gd name="connsiteY9" fmla="*/ 76418 h 80730"/>
                <a:gd name="connsiteX10" fmla="*/ 56408 w 62100"/>
                <a:gd name="connsiteY10" fmla="*/ 76418 h 80730"/>
                <a:gd name="connsiteX11" fmla="*/ 56408 w 62100"/>
                <a:gd name="connsiteY11" fmla="*/ 76418 h 80730"/>
                <a:gd name="connsiteX12" fmla="*/ 51750 w 62100"/>
                <a:gd name="connsiteY12" fmla="*/ 34846 h 80730"/>
                <a:gd name="connsiteX13" fmla="*/ 32430 w 62100"/>
                <a:gd name="connsiteY13" fmla="*/ 7935 h 80730"/>
                <a:gd name="connsiteX14" fmla="*/ 10178 w 62100"/>
                <a:gd name="connsiteY14" fmla="*/ 34846 h 80730"/>
                <a:gd name="connsiteX15" fmla="*/ 51750 w 62100"/>
                <a:gd name="connsiteY15" fmla="*/ 34846 h 80730"/>
                <a:gd name="connsiteX16" fmla="*/ 51750 w 62100"/>
                <a:gd name="connsiteY16" fmla="*/ 34846 h 80730"/>
                <a:gd name="connsiteX17" fmla="*/ 51750 w 62100"/>
                <a:gd name="connsiteY17" fmla="*/ 34846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100" h="80730">
                  <a:moveTo>
                    <a:pt x="56408" y="76418"/>
                  </a:moveTo>
                  <a:cubicBezTo>
                    <a:pt x="49853" y="79179"/>
                    <a:pt x="41400" y="80731"/>
                    <a:pt x="34328" y="80731"/>
                  </a:cubicBezTo>
                  <a:cubicBezTo>
                    <a:pt x="9315" y="80731"/>
                    <a:pt x="0" y="63481"/>
                    <a:pt x="0" y="40366"/>
                  </a:cubicBezTo>
                  <a:cubicBezTo>
                    <a:pt x="0" y="16733"/>
                    <a:pt x="12765" y="0"/>
                    <a:pt x="31913" y="0"/>
                  </a:cubicBezTo>
                  <a:cubicBezTo>
                    <a:pt x="53130" y="0"/>
                    <a:pt x="62101" y="17423"/>
                    <a:pt x="62101" y="38295"/>
                  </a:cubicBezTo>
                  <a:lnTo>
                    <a:pt x="62101" y="43298"/>
                  </a:lnTo>
                  <a:lnTo>
                    <a:pt x="10350" y="43298"/>
                  </a:lnTo>
                  <a:cubicBezTo>
                    <a:pt x="10350" y="59686"/>
                    <a:pt x="18975" y="72968"/>
                    <a:pt x="35190" y="72968"/>
                  </a:cubicBezTo>
                  <a:cubicBezTo>
                    <a:pt x="41918" y="72968"/>
                    <a:pt x="52095" y="70036"/>
                    <a:pt x="56408" y="67103"/>
                  </a:cubicBezTo>
                  <a:lnTo>
                    <a:pt x="56408" y="76418"/>
                  </a:lnTo>
                  <a:lnTo>
                    <a:pt x="56408" y="76418"/>
                  </a:lnTo>
                  <a:lnTo>
                    <a:pt x="56408" y="76418"/>
                  </a:lnTo>
                  <a:close/>
                  <a:moveTo>
                    <a:pt x="51750" y="34846"/>
                  </a:moveTo>
                  <a:cubicBezTo>
                    <a:pt x="51750" y="21563"/>
                    <a:pt x="46403" y="7935"/>
                    <a:pt x="32430" y="7935"/>
                  </a:cubicBezTo>
                  <a:cubicBezTo>
                    <a:pt x="18458" y="7935"/>
                    <a:pt x="10178" y="22080"/>
                    <a:pt x="10178" y="34846"/>
                  </a:cubicBezTo>
                  <a:lnTo>
                    <a:pt x="51750" y="34846"/>
                  </a:lnTo>
                  <a:lnTo>
                    <a:pt x="51750" y="34846"/>
                  </a:lnTo>
                  <a:lnTo>
                    <a:pt x="51750" y="3484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2" name="Gráfico 1344">
              <a:extLst>
                <a:ext uri="{FF2B5EF4-FFF2-40B4-BE49-F238E27FC236}">
                  <a16:creationId xmlns:a16="http://schemas.microsoft.com/office/drawing/2014/main" id="{6E295949-12A8-4326-8852-B88B49088ED5}"/>
                </a:ext>
              </a:extLst>
            </p:cNvPr>
            <p:cNvSpPr/>
            <p:nvPr/>
          </p:nvSpPr>
          <p:spPr>
            <a:xfrm>
              <a:off x="10732920" y="5025467"/>
              <a:ext cx="64170" cy="76590"/>
            </a:xfrm>
            <a:custGeom>
              <a:avLst/>
              <a:gdLst>
                <a:gd name="connsiteX0" fmla="*/ 26910 w 64170"/>
                <a:gd name="connsiteY0" fmla="*/ 36053 h 76590"/>
                <a:gd name="connsiteX1" fmla="*/ 2415 w 64170"/>
                <a:gd name="connsiteY1" fmla="*/ 0 h 76590"/>
                <a:gd name="connsiteX2" fmla="*/ 14145 w 64170"/>
                <a:gd name="connsiteY2" fmla="*/ 0 h 76590"/>
                <a:gd name="connsiteX3" fmla="*/ 32430 w 64170"/>
                <a:gd name="connsiteY3" fmla="*/ 28635 h 76590"/>
                <a:gd name="connsiteX4" fmla="*/ 50715 w 64170"/>
                <a:gd name="connsiteY4" fmla="*/ 0 h 76590"/>
                <a:gd name="connsiteX5" fmla="*/ 61583 w 64170"/>
                <a:gd name="connsiteY5" fmla="*/ 0 h 76590"/>
                <a:gd name="connsiteX6" fmla="*/ 37950 w 64170"/>
                <a:gd name="connsiteY6" fmla="*/ 36053 h 76590"/>
                <a:gd name="connsiteX7" fmla="*/ 64170 w 64170"/>
                <a:gd name="connsiteY7" fmla="*/ 76591 h 76590"/>
                <a:gd name="connsiteX8" fmla="*/ 52441 w 64170"/>
                <a:gd name="connsiteY8" fmla="*/ 76591 h 76590"/>
                <a:gd name="connsiteX9" fmla="*/ 32430 w 64170"/>
                <a:gd name="connsiteY9" fmla="*/ 43470 h 76590"/>
                <a:gd name="connsiteX10" fmla="*/ 10868 w 64170"/>
                <a:gd name="connsiteY10" fmla="*/ 76591 h 76590"/>
                <a:gd name="connsiteX11" fmla="*/ 0 w 64170"/>
                <a:gd name="connsiteY11" fmla="*/ 76591 h 76590"/>
                <a:gd name="connsiteX12" fmla="*/ 26910 w 64170"/>
                <a:gd name="connsiteY12" fmla="*/ 36053 h 7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170" h="76590">
                  <a:moveTo>
                    <a:pt x="26910" y="36053"/>
                  </a:moveTo>
                  <a:lnTo>
                    <a:pt x="2415" y="0"/>
                  </a:lnTo>
                  <a:lnTo>
                    <a:pt x="14145" y="0"/>
                  </a:lnTo>
                  <a:lnTo>
                    <a:pt x="32430" y="28635"/>
                  </a:lnTo>
                  <a:lnTo>
                    <a:pt x="50715" y="0"/>
                  </a:lnTo>
                  <a:lnTo>
                    <a:pt x="61583" y="0"/>
                  </a:lnTo>
                  <a:lnTo>
                    <a:pt x="37950" y="36053"/>
                  </a:lnTo>
                  <a:lnTo>
                    <a:pt x="64170" y="76591"/>
                  </a:lnTo>
                  <a:lnTo>
                    <a:pt x="52441" y="76591"/>
                  </a:lnTo>
                  <a:lnTo>
                    <a:pt x="32430" y="43470"/>
                  </a:lnTo>
                  <a:lnTo>
                    <a:pt x="10868" y="76591"/>
                  </a:lnTo>
                  <a:lnTo>
                    <a:pt x="0" y="76591"/>
                  </a:lnTo>
                  <a:lnTo>
                    <a:pt x="26910" y="3605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3" name="Gráfico 1344">
              <a:extLst>
                <a:ext uri="{FF2B5EF4-FFF2-40B4-BE49-F238E27FC236}">
                  <a16:creationId xmlns:a16="http://schemas.microsoft.com/office/drawing/2014/main" id="{6F56B9D2-C034-4FEB-ADE8-CB2AA86A5B9E}"/>
                </a:ext>
              </a:extLst>
            </p:cNvPr>
            <p:cNvSpPr/>
            <p:nvPr/>
          </p:nvSpPr>
          <p:spPr>
            <a:xfrm>
              <a:off x="10803301" y="5023396"/>
              <a:ext cx="72450" cy="80730"/>
            </a:xfrm>
            <a:custGeom>
              <a:avLst/>
              <a:gdLst>
                <a:gd name="connsiteX0" fmla="*/ 36225 w 72450"/>
                <a:gd name="connsiteY0" fmla="*/ 0 h 80730"/>
                <a:gd name="connsiteX1" fmla="*/ 72450 w 72450"/>
                <a:gd name="connsiteY1" fmla="*/ 40366 h 80730"/>
                <a:gd name="connsiteX2" fmla="*/ 36225 w 72450"/>
                <a:gd name="connsiteY2" fmla="*/ 80731 h 80730"/>
                <a:gd name="connsiteX3" fmla="*/ 0 w 72450"/>
                <a:gd name="connsiteY3" fmla="*/ 40366 h 80730"/>
                <a:gd name="connsiteX4" fmla="*/ 36225 w 72450"/>
                <a:gd name="connsiteY4" fmla="*/ 0 h 80730"/>
                <a:gd name="connsiteX5" fmla="*/ 36225 w 72450"/>
                <a:gd name="connsiteY5" fmla="*/ 72623 h 80730"/>
                <a:gd name="connsiteX6" fmla="*/ 61928 w 72450"/>
                <a:gd name="connsiteY6" fmla="*/ 40366 h 80730"/>
                <a:gd name="connsiteX7" fmla="*/ 36225 w 72450"/>
                <a:gd name="connsiteY7" fmla="*/ 8108 h 80730"/>
                <a:gd name="connsiteX8" fmla="*/ 10522 w 72450"/>
                <a:gd name="connsiteY8" fmla="*/ 40366 h 80730"/>
                <a:gd name="connsiteX9" fmla="*/ 36225 w 7245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80730">
                  <a:moveTo>
                    <a:pt x="36225" y="0"/>
                  </a:moveTo>
                  <a:cubicBezTo>
                    <a:pt x="61238" y="0"/>
                    <a:pt x="72450" y="19321"/>
                    <a:pt x="72450" y="40366"/>
                  </a:cubicBezTo>
                  <a:cubicBezTo>
                    <a:pt x="72450" y="61411"/>
                    <a:pt x="61410" y="80731"/>
                    <a:pt x="36225" y="80731"/>
                  </a:cubicBezTo>
                  <a:cubicBezTo>
                    <a:pt x="11212" y="80731"/>
                    <a:pt x="0" y="61411"/>
                    <a:pt x="0" y="40366"/>
                  </a:cubicBezTo>
                  <a:cubicBezTo>
                    <a:pt x="173" y="19321"/>
                    <a:pt x="11212" y="0"/>
                    <a:pt x="36225" y="0"/>
                  </a:cubicBezTo>
                  <a:moveTo>
                    <a:pt x="36225" y="72623"/>
                  </a:moveTo>
                  <a:cubicBezTo>
                    <a:pt x="52785" y="72623"/>
                    <a:pt x="61928" y="58306"/>
                    <a:pt x="61928" y="40366"/>
                  </a:cubicBezTo>
                  <a:cubicBezTo>
                    <a:pt x="61928" y="22598"/>
                    <a:pt x="52785" y="8108"/>
                    <a:pt x="36225" y="8108"/>
                  </a:cubicBezTo>
                  <a:cubicBezTo>
                    <a:pt x="19665" y="8108"/>
                    <a:pt x="10522" y="22425"/>
                    <a:pt x="10522" y="40366"/>
                  </a:cubicBezTo>
                  <a:cubicBezTo>
                    <a:pt x="10522" y="58133"/>
                    <a:pt x="19665" y="72623"/>
                    <a:pt x="36225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4" name="Gráfico 1344">
              <a:extLst>
                <a:ext uri="{FF2B5EF4-FFF2-40B4-BE49-F238E27FC236}">
                  <a16:creationId xmlns:a16="http://schemas.microsoft.com/office/drawing/2014/main" id="{20998CFA-5BAA-41BF-97F0-92CFE134F042}"/>
                </a:ext>
              </a:extLst>
            </p:cNvPr>
            <p:cNvSpPr/>
            <p:nvPr/>
          </p:nvSpPr>
          <p:spPr>
            <a:xfrm>
              <a:off x="10929399" y="4990276"/>
              <a:ext cx="66413" cy="113850"/>
            </a:xfrm>
            <a:custGeom>
              <a:avLst/>
              <a:gdLst>
                <a:gd name="connsiteX0" fmla="*/ 66413 w 66413"/>
                <a:gd name="connsiteY0" fmla="*/ 111953 h 113850"/>
                <a:gd name="connsiteX1" fmla="*/ 56925 w 66413"/>
                <a:gd name="connsiteY1" fmla="*/ 111953 h 113850"/>
                <a:gd name="connsiteX2" fmla="*/ 56925 w 66413"/>
                <a:gd name="connsiteY2" fmla="*/ 99878 h 113850"/>
                <a:gd name="connsiteX3" fmla="*/ 56408 w 66413"/>
                <a:gd name="connsiteY3" fmla="*/ 99878 h 113850"/>
                <a:gd name="connsiteX4" fmla="*/ 32085 w 66413"/>
                <a:gd name="connsiteY4" fmla="*/ 113851 h 113850"/>
                <a:gd name="connsiteX5" fmla="*/ 0 w 66413"/>
                <a:gd name="connsiteY5" fmla="*/ 74003 h 113850"/>
                <a:gd name="connsiteX6" fmla="*/ 32085 w 66413"/>
                <a:gd name="connsiteY6" fmla="*/ 34155 h 113850"/>
                <a:gd name="connsiteX7" fmla="*/ 56408 w 66413"/>
                <a:gd name="connsiteY7" fmla="*/ 48818 h 113850"/>
                <a:gd name="connsiteX8" fmla="*/ 56925 w 66413"/>
                <a:gd name="connsiteY8" fmla="*/ 48818 h 113850"/>
                <a:gd name="connsiteX9" fmla="*/ 56925 w 66413"/>
                <a:gd name="connsiteY9" fmla="*/ 0 h 113850"/>
                <a:gd name="connsiteX10" fmla="*/ 66413 w 66413"/>
                <a:gd name="connsiteY10" fmla="*/ 0 h 113850"/>
                <a:gd name="connsiteX11" fmla="*/ 66413 w 66413"/>
                <a:gd name="connsiteY11" fmla="*/ 111953 h 113850"/>
                <a:gd name="connsiteX12" fmla="*/ 66413 w 66413"/>
                <a:gd name="connsiteY12" fmla="*/ 111953 h 113850"/>
                <a:gd name="connsiteX13" fmla="*/ 66413 w 66413"/>
                <a:gd name="connsiteY13" fmla="*/ 111953 h 113850"/>
                <a:gd name="connsiteX14" fmla="*/ 33983 w 66413"/>
                <a:gd name="connsiteY14" fmla="*/ 105743 h 113850"/>
                <a:gd name="connsiteX15" fmla="*/ 56925 w 66413"/>
                <a:gd name="connsiteY15" fmla="*/ 74003 h 113850"/>
                <a:gd name="connsiteX16" fmla="*/ 33983 w 66413"/>
                <a:gd name="connsiteY16" fmla="*/ 42262 h 113850"/>
                <a:gd name="connsiteX17" fmla="*/ 11040 w 66413"/>
                <a:gd name="connsiteY17" fmla="*/ 74003 h 113850"/>
                <a:gd name="connsiteX18" fmla="*/ 33983 w 66413"/>
                <a:gd name="connsiteY18" fmla="*/ 105743 h 1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413" h="113850">
                  <a:moveTo>
                    <a:pt x="66413" y="111953"/>
                  </a:moveTo>
                  <a:lnTo>
                    <a:pt x="56925" y="111953"/>
                  </a:lnTo>
                  <a:lnTo>
                    <a:pt x="56925" y="99878"/>
                  </a:lnTo>
                  <a:lnTo>
                    <a:pt x="56408" y="99878"/>
                  </a:lnTo>
                  <a:cubicBezTo>
                    <a:pt x="51233" y="109711"/>
                    <a:pt x="43470" y="113851"/>
                    <a:pt x="32085" y="113851"/>
                  </a:cubicBezTo>
                  <a:cubicBezTo>
                    <a:pt x="10868" y="113851"/>
                    <a:pt x="0" y="96428"/>
                    <a:pt x="0" y="74003"/>
                  </a:cubicBezTo>
                  <a:cubicBezTo>
                    <a:pt x="0" y="50888"/>
                    <a:pt x="9143" y="34155"/>
                    <a:pt x="32085" y="34155"/>
                  </a:cubicBezTo>
                  <a:cubicBezTo>
                    <a:pt x="47265" y="34155"/>
                    <a:pt x="55028" y="45023"/>
                    <a:pt x="56408" y="48818"/>
                  </a:cubicBezTo>
                  <a:lnTo>
                    <a:pt x="56925" y="48818"/>
                  </a:lnTo>
                  <a:lnTo>
                    <a:pt x="56925" y="0"/>
                  </a:lnTo>
                  <a:lnTo>
                    <a:pt x="66413" y="0"/>
                  </a:lnTo>
                  <a:lnTo>
                    <a:pt x="66413" y="111953"/>
                  </a:lnTo>
                  <a:lnTo>
                    <a:pt x="66413" y="111953"/>
                  </a:lnTo>
                  <a:lnTo>
                    <a:pt x="66413" y="111953"/>
                  </a:lnTo>
                  <a:close/>
                  <a:moveTo>
                    <a:pt x="33983" y="105743"/>
                  </a:moveTo>
                  <a:cubicBezTo>
                    <a:pt x="51060" y="105743"/>
                    <a:pt x="56925" y="87976"/>
                    <a:pt x="56925" y="74003"/>
                  </a:cubicBezTo>
                  <a:cubicBezTo>
                    <a:pt x="56925" y="60203"/>
                    <a:pt x="51060" y="42262"/>
                    <a:pt x="33983" y="42262"/>
                  </a:cubicBezTo>
                  <a:cubicBezTo>
                    <a:pt x="15870" y="42262"/>
                    <a:pt x="11040" y="59168"/>
                    <a:pt x="11040" y="74003"/>
                  </a:cubicBezTo>
                  <a:cubicBezTo>
                    <a:pt x="10695" y="88665"/>
                    <a:pt x="15525" y="105743"/>
                    <a:pt x="33983" y="10574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5" name="Gráfico 1344">
              <a:extLst>
                <a:ext uri="{FF2B5EF4-FFF2-40B4-BE49-F238E27FC236}">
                  <a16:creationId xmlns:a16="http://schemas.microsoft.com/office/drawing/2014/main" id="{4FB478DC-8263-44C3-8748-212EFD572DEC}"/>
                </a:ext>
              </a:extLst>
            </p:cNvPr>
            <p:cNvSpPr/>
            <p:nvPr/>
          </p:nvSpPr>
          <p:spPr>
            <a:xfrm>
              <a:off x="11012372" y="5023396"/>
              <a:ext cx="64170" cy="80730"/>
            </a:xfrm>
            <a:custGeom>
              <a:avLst/>
              <a:gdLst>
                <a:gd name="connsiteX0" fmla="*/ 58306 w 64170"/>
                <a:gd name="connsiteY0" fmla="*/ 76418 h 80730"/>
                <a:gd name="connsiteX1" fmla="*/ 35535 w 64170"/>
                <a:gd name="connsiteY1" fmla="*/ 80731 h 80730"/>
                <a:gd name="connsiteX2" fmla="*/ 0 w 64170"/>
                <a:gd name="connsiteY2" fmla="*/ 40366 h 80730"/>
                <a:gd name="connsiteX3" fmla="*/ 33120 w 64170"/>
                <a:gd name="connsiteY3" fmla="*/ 0 h 80730"/>
                <a:gd name="connsiteX4" fmla="*/ 64170 w 64170"/>
                <a:gd name="connsiteY4" fmla="*/ 38295 h 80730"/>
                <a:gd name="connsiteX5" fmla="*/ 64170 w 64170"/>
                <a:gd name="connsiteY5" fmla="*/ 43298 h 80730"/>
                <a:gd name="connsiteX6" fmla="*/ 10695 w 64170"/>
                <a:gd name="connsiteY6" fmla="*/ 43298 h 80730"/>
                <a:gd name="connsiteX7" fmla="*/ 36398 w 64170"/>
                <a:gd name="connsiteY7" fmla="*/ 72968 h 80730"/>
                <a:gd name="connsiteX8" fmla="*/ 58306 w 64170"/>
                <a:gd name="connsiteY8" fmla="*/ 67103 h 80730"/>
                <a:gd name="connsiteX9" fmla="*/ 58306 w 64170"/>
                <a:gd name="connsiteY9" fmla="*/ 76418 h 80730"/>
                <a:gd name="connsiteX10" fmla="*/ 58306 w 64170"/>
                <a:gd name="connsiteY10" fmla="*/ 76418 h 80730"/>
                <a:gd name="connsiteX11" fmla="*/ 58306 w 64170"/>
                <a:gd name="connsiteY11" fmla="*/ 76418 h 80730"/>
                <a:gd name="connsiteX12" fmla="*/ 53475 w 64170"/>
                <a:gd name="connsiteY12" fmla="*/ 34846 h 80730"/>
                <a:gd name="connsiteX13" fmla="*/ 33465 w 64170"/>
                <a:gd name="connsiteY13" fmla="*/ 7935 h 80730"/>
                <a:gd name="connsiteX14" fmla="*/ 10350 w 64170"/>
                <a:gd name="connsiteY14" fmla="*/ 34846 h 80730"/>
                <a:gd name="connsiteX15" fmla="*/ 53475 w 64170"/>
                <a:gd name="connsiteY15" fmla="*/ 34846 h 80730"/>
                <a:gd name="connsiteX16" fmla="*/ 53475 w 64170"/>
                <a:gd name="connsiteY16" fmla="*/ 34846 h 80730"/>
                <a:gd name="connsiteX17" fmla="*/ 53475 w 64170"/>
                <a:gd name="connsiteY17" fmla="*/ 34846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170" h="80730">
                  <a:moveTo>
                    <a:pt x="58306" y="76418"/>
                  </a:moveTo>
                  <a:cubicBezTo>
                    <a:pt x="51578" y="79179"/>
                    <a:pt x="42781" y="80731"/>
                    <a:pt x="35535" y="80731"/>
                  </a:cubicBezTo>
                  <a:cubicBezTo>
                    <a:pt x="9660" y="80731"/>
                    <a:pt x="0" y="63481"/>
                    <a:pt x="0" y="40366"/>
                  </a:cubicBezTo>
                  <a:cubicBezTo>
                    <a:pt x="0" y="16733"/>
                    <a:pt x="13282" y="0"/>
                    <a:pt x="33120" y="0"/>
                  </a:cubicBezTo>
                  <a:cubicBezTo>
                    <a:pt x="55028" y="0"/>
                    <a:pt x="64170" y="17423"/>
                    <a:pt x="64170" y="38295"/>
                  </a:cubicBezTo>
                  <a:lnTo>
                    <a:pt x="64170" y="43298"/>
                  </a:lnTo>
                  <a:lnTo>
                    <a:pt x="10695" y="43298"/>
                  </a:lnTo>
                  <a:cubicBezTo>
                    <a:pt x="10695" y="59686"/>
                    <a:pt x="19665" y="72968"/>
                    <a:pt x="36398" y="72968"/>
                  </a:cubicBezTo>
                  <a:cubicBezTo>
                    <a:pt x="43643" y="72968"/>
                    <a:pt x="53820" y="70036"/>
                    <a:pt x="58306" y="67103"/>
                  </a:cubicBezTo>
                  <a:lnTo>
                    <a:pt x="58306" y="76418"/>
                  </a:lnTo>
                  <a:lnTo>
                    <a:pt x="58306" y="76418"/>
                  </a:lnTo>
                  <a:lnTo>
                    <a:pt x="58306" y="76418"/>
                  </a:lnTo>
                  <a:close/>
                  <a:moveTo>
                    <a:pt x="53475" y="34846"/>
                  </a:moveTo>
                  <a:cubicBezTo>
                    <a:pt x="53475" y="21563"/>
                    <a:pt x="47955" y="7935"/>
                    <a:pt x="33465" y="7935"/>
                  </a:cubicBezTo>
                  <a:cubicBezTo>
                    <a:pt x="19320" y="7935"/>
                    <a:pt x="10350" y="22080"/>
                    <a:pt x="10350" y="34846"/>
                  </a:cubicBezTo>
                  <a:lnTo>
                    <a:pt x="53475" y="34846"/>
                  </a:lnTo>
                  <a:lnTo>
                    <a:pt x="53475" y="34846"/>
                  </a:lnTo>
                  <a:lnTo>
                    <a:pt x="53475" y="3484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6" name="Gráfico 1344">
              <a:extLst>
                <a:ext uri="{FF2B5EF4-FFF2-40B4-BE49-F238E27FC236}">
                  <a16:creationId xmlns:a16="http://schemas.microsoft.com/office/drawing/2014/main" id="{B6251D07-7A04-464A-A7EB-8BC1CEF4E31A}"/>
                </a:ext>
              </a:extLst>
            </p:cNvPr>
            <p:cNvSpPr/>
            <p:nvPr/>
          </p:nvSpPr>
          <p:spPr>
            <a:xfrm>
              <a:off x="11126223" y="4996486"/>
              <a:ext cx="70380" cy="105571"/>
            </a:xfrm>
            <a:custGeom>
              <a:avLst/>
              <a:gdLst>
                <a:gd name="connsiteX0" fmla="*/ 30188 w 70380"/>
                <a:gd name="connsiteY0" fmla="*/ 8970 h 105571"/>
                <a:gd name="connsiteX1" fmla="*/ 0 w 70380"/>
                <a:gd name="connsiteY1" fmla="*/ 8970 h 105571"/>
                <a:gd name="connsiteX2" fmla="*/ 0 w 70380"/>
                <a:gd name="connsiteY2" fmla="*/ 0 h 105571"/>
                <a:gd name="connsiteX3" fmla="*/ 70380 w 70380"/>
                <a:gd name="connsiteY3" fmla="*/ 0 h 105571"/>
                <a:gd name="connsiteX4" fmla="*/ 70380 w 70380"/>
                <a:gd name="connsiteY4" fmla="*/ 8970 h 105571"/>
                <a:gd name="connsiteX5" fmla="*/ 40020 w 70380"/>
                <a:gd name="connsiteY5" fmla="*/ 8970 h 105571"/>
                <a:gd name="connsiteX6" fmla="*/ 40020 w 70380"/>
                <a:gd name="connsiteY6" fmla="*/ 105571 h 105571"/>
                <a:gd name="connsiteX7" fmla="*/ 30188 w 70380"/>
                <a:gd name="connsiteY7" fmla="*/ 105571 h 105571"/>
                <a:gd name="connsiteX8" fmla="*/ 30188 w 70380"/>
                <a:gd name="connsiteY8" fmla="*/ 8970 h 10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80" h="105571">
                  <a:moveTo>
                    <a:pt x="30188" y="8970"/>
                  </a:moveTo>
                  <a:lnTo>
                    <a:pt x="0" y="8970"/>
                  </a:lnTo>
                  <a:lnTo>
                    <a:pt x="0" y="0"/>
                  </a:lnTo>
                  <a:lnTo>
                    <a:pt x="70380" y="0"/>
                  </a:lnTo>
                  <a:lnTo>
                    <a:pt x="70380" y="8970"/>
                  </a:lnTo>
                  <a:lnTo>
                    <a:pt x="40020" y="8970"/>
                  </a:lnTo>
                  <a:lnTo>
                    <a:pt x="40020" y="105571"/>
                  </a:lnTo>
                  <a:lnTo>
                    <a:pt x="30188" y="105571"/>
                  </a:lnTo>
                  <a:lnTo>
                    <a:pt x="30188" y="897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7" name="Gráfico 1344">
              <a:extLst>
                <a:ext uri="{FF2B5EF4-FFF2-40B4-BE49-F238E27FC236}">
                  <a16:creationId xmlns:a16="http://schemas.microsoft.com/office/drawing/2014/main" id="{15623C39-8BF2-4D2A-8F63-ED60C238D14E}"/>
                </a:ext>
              </a:extLst>
            </p:cNvPr>
            <p:cNvSpPr/>
            <p:nvPr/>
          </p:nvSpPr>
          <p:spPr>
            <a:xfrm>
              <a:off x="11196603" y="5025294"/>
              <a:ext cx="60030" cy="78833"/>
            </a:xfrm>
            <a:custGeom>
              <a:avLst/>
              <a:gdLst>
                <a:gd name="connsiteX0" fmla="*/ 59340 w 60030"/>
                <a:gd name="connsiteY0" fmla="*/ 58995 h 78833"/>
                <a:gd name="connsiteX1" fmla="*/ 60030 w 60030"/>
                <a:gd name="connsiteY1" fmla="*/ 76935 h 78833"/>
                <a:gd name="connsiteX2" fmla="*/ 50888 w 60030"/>
                <a:gd name="connsiteY2" fmla="*/ 76935 h 78833"/>
                <a:gd name="connsiteX3" fmla="*/ 50888 w 60030"/>
                <a:gd name="connsiteY3" fmla="*/ 63308 h 78833"/>
                <a:gd name="connsiteX4" fmla="*/ 50715 w 60030"/>
                <a:gd name="connsiteY4" fmla="*/ 63308 h 78833"/>
                <a:gd name="connsiteX5" fmla="*/ 26048 w 60030"/>
                <a:gd name="connsiteY5" fmla="*/ 78833 h 78833"/>
                <a:gd name="connsiteX6" fmla="*/ 0 w 60030"/>
                <a:gd name="connsiteY6" fmla="*/ 49335 h 78833"/>
                <a:gd name="connsiteX7" fmla="*/ 0 w 60030"/>
                <a:gd name="connsiteY7" fmla="*/ 345 h 78833"/>
                <a:gd name="connsiteX8" fmla="*/ 9315 w 60030"/>
                <a:gd name="connsiteY8" fmla="*/ 345 h 78833"/>
                <a:gd name="connsiteX9" fmla="*/ 9315 w 60030"/>
                <a:gd name="connsiteY9" fmla="*/ 46748 h 78833"/>
                <a:gd name="connsiteX10" fmla="*/ 27428 w 60030"/>
                <a:gd name="connsiteY10" fmla="*/ 70380 h 78833"/>
                <a:gd name="connsiteX11" fmla="*/ 50198 w 60030"/>
                <a:gd name="connsiteY11" fmla="*/ 42435 h 78833"/>
                <a:gd name="connsiteX12" fmla="*/ 50198 w 60030"/>
                <a:gd name="connsiteY12" fmla="*/ 0 h 78833"/>
                <a:gd name="connsiteX13" fmla="*/ 59513 w 60030"/>
                <a:gd name="connsiteY13" fmla="*/ 0 h 78833"/>
                <a:gd name="connsiteX14" fmla="*/ 59513 w 60030"/>
                <a:gd name="connsiteY14" fmla="*/ 58995 h 78833"/>
                <a:gd name="connsiteX15" fmla="*/ 59340 w 60030"/>
                <a:gd name="connsiteY15" fmla="*/ 58995 h 78833"/>
                <a:gd name="connsiteX16" fmla="*/ 59340 w 60030"/>
                <a:gd name="connsiteY16" fmla="*/ 58995 h 7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030" h="78833">
                  <a:moveTo>
                    <a:pt x="59340" y="58995"/>
                  </a:moveTo>
                  <a:cubicBezTo>
                    <a:pt x="59340" y="64688"/>
                    <a:pt x="59340" y="70898"/>
                    <a:pt x="60030" y="76935"/>
                  </a:cubicBezTo>
                  <a:lnTo>
                    <a:pt x="50888" y="76935"/>
                  </a:lnTo>
                  <a:lnTo>
                    <a:pt x="50888" y="63308"/>
                  </a:lnTo>
                  <a:lnTo>
                    <a:pt x="50715" y="63308"/>
                  </a:lnTo>
                  <a:cubicBezTo>
                    <a:pt x="47611" y="70380"/>
                    <a:pt x="41745" y="78833"/>
                    <a:pt x="26048" y="78833"/>
                  </a:cubicBezTo>
                  <a:cubicBezTo>
                    <a:pt x="7245" y="78833"/>
                    <a:pt x="0" y="66240"/>
                    <a:pt x="0" y="49335"/>
                  </a:cubicBezTo>
                  <a:lnTo>
                    <a:pt x="0" y="345"/>
                  </a:lnTo>
                  <a:lnTo>
                    <a:pt x="9315" y="345"/>
                  </a:lnTo>
                  <a:lnTo>
                    <a:pt x="9315" y="46748"/>
                  </a:lnTo>
                  <a:cubicBezTo>
                    <a:pt x="9315" y="61238"/>
                    <a:pt x="14491" y="70380"/>
                    <a:pt x="27428" y="70380"/>
                  </a:cubicBezTo>
                  <a:cubicBezTo>
                    <a:pt x="44678" y="70380"/>
                    <a:pt x="50198" y="55201"/>
                    <a:pt x="50198" y="42435"/>
                  </a:cubicBezTo>
                  <a:lnTo>
                    <a:pt x="50198" y="0"/>
                  </a:lnTo>
                  <a:lnTo>
                    <a:pt x="59513" y="0"/>
                  </a:lnTo>
                  <a:lnTo>
                    <a:pt x="59513" y="58995"/>
                  </a:lnTo>
                  <a:lnTo>
                    <a:pt x="59340" y="58995"/>
                  </a:lnTo>
                  <a:lnTo>
                    <a:pt x="59340" y="5899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8" name="Gráfico 1344">
              <a:extLst>
                <a:ext uri="{FF2B5EF4-FFF2-40B4-BE49-F238E27FC236}">
                  <a16:creationId xmlns:a16="http://schemas.microsoft.com/office/drawing/2014/main" id="{EA89A04D-EC31-4214-8CE1-4FCCD6A27BB2}"/>
                </a:ext>
              </a:extLst>
            </p:cNvPr>
            <p:cNvSpPr/>
            <p:nvPr/>
          </p:nvSpPr>
          <p:spPr>
            <a:xfrm>
              <a:off x="11279404" y="4990276"/>
              <a:ext cx="64343" cy="113850"/>
            </a:xfrm>
            <a:custGeom>
              <a:avLst/>
              <a:gdLst>
                <a:gd name="connsiteX0" fmla="*/ 0 w 64343"/>
                <a:gd name="connsiteY0" fmla="*/ 0 h 113850"/>
                <a:gd name="connsiteX1" fmla="*/ 9316 w 64343"/>
                <a:gd name="connsiteY1" fmla="*/ 0 h 113850"/>
                <a:gd name="connsiteX2" fmla="*/ 9316 w 64343"/>
                <a:gd name="connsiteY2" fmla="*/ 48818 h 113850"/>
                <a:gd name="connsiteX3" fmla="*/ 9488 w 64343"/>
                <a:gd name="connsiteY3" fmla="*/ 48818 h 113850"/>
                <a:gd name="connsiteX4" fmla="*/ 33121 w 64343"/>
                <a:gd name="connsiteY4" fmla="*/ 34155 h 113850"/>
                <a:gd name="connsiteX5" fmla="*/ 64344 w 64343"/>
                <a:gd name="connsiteY5" fmla="*/ 74003 h 113850"/>
                <a:gd name="connsiteX6" fmla="*/ 33121 w 64343"/>
                <a:gd name="connsiteY6" fmla="*/ 113851 h 113850"/>
                <a:gd name="connsiteX7" fmla="*/ 9488 w 64343"/>
                <a:gd name="connsiteY7" fmla="*/ 100051 h 113850"/>
                <a:gd name="connsiteX8" fmla="*/ 9316 w 64343"/>
                <a:gd name="connsiteY8" fmla="*/ 100051 h 113850"/>
                <a:gd name="connsiteX9" fmla="*/ 9316 w 64343"/>
                <a:gd name="connsiteY9" fmla="*/ 112126 h 113850"/>
                <a:gd name="connsiteX10" fmla="*/ 0 w 64343"/>
                <a:gd name="connsiteY10" fmla="*/ 112126 h 113850"/>
                <a:gd name="connsiteX11" fmla="*/ 0 w 64343"/>
                <a:gd name="connsiteY11" fmla="*/ 0 h 113850"/>
                <a:gd name="connsiteX12" fmla="*/ 0 w 64343"/>
                <a:gd name="connsiteY12" fmla="*/ 0 h 113850"/>
                <a:gd name="connsiteX13" fmla="*/ 0 w 64343"/>
                <a:gd name="connsiteY13" fmla="*/ 0 h 113850"/>
                <a:gd name="connsiteX14" fmla="*/ 31741 w 64343"/>
                <a:gd name="connsiteY14" fmla="*/ 42262 h 113850"/>
                <a:gd name="connsiteX15" fmla="*/ 9143 w 64343"/>
                <a:gd name="connsiteY15" fmla="*/ 74003 h 113850"/>
                <a:gd name="connsiteX16" fmla="*/ 31741 w 64343"/>
                <a:gd name="connsiteY16" fmla="*/ 105743 h 113850"/>
                <a:gd name="connsiteX17" fmla="*/ 53993 w 64343"/>
                <a:gd name="connsiteY17" fmla="*/ 74003 h 113850"/>
                <a:gd name="connsiteX18" fmla="*/ 31741 w 64343"/>
                <a:gd name="connsiteY18" fmla="*/ 42262 h 1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343" h="113850">
                  <a:moveTo>
                    <a:pt x="0" y="0"/>
                  </a:moveTo>
                  <a:lnTo>
                    <a:pt x="9316" y="0"/>
                  </a:lnTo>
                  <a:lnTo>
                    <a:pt x="9316" y="48818"/>
                  </a:lnTo>
                  <a:lnTo>
                    <a:pt x="9488" y="48818"/>
                  </a:lnTo>
                  <a:cubicBezTo>
                    <a:pt x="10695" y="45023"/>
                    <a:pt x="18285" y="34155"/>
                    <a:pt x="33121" y="34155"/>
                  </a:cubicBezTo>
                  <a:cubicBezTo>
                    <a:pt x="55373" y="34155"/>
                    <a:pt x="64344" y="50888"/>
                    <a:pt x="64344" y="74003"/>
                  </a:cubicBezTo>
                  <a:cubicBezTo>
                    <a:pt x="64344" y="96428"/>
                    <a:pt x="53993" y="113851"/>
                    <a:pt x="33121" y="113851"/>
                  </a:cubicBezTo>
                  <a:cubicBezTo>
                    <a:pt x="22253" y="113851"/>
                    <a:pt x="14663" y="109538"/>
                    <a:pt x="9488" y="100051"/>
                  </a:cubicBezTo>
                  <a:lnTo>
                    <a:pt x="9316" y="100051"/>
                  </a:lnTo>
                  <a:lnTo>
                    <a:pt x="9316" y="112126"/>
                  </a:lnTo>
                  <a:lnTo>
                    <a:pt x="0" y="11212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31741" y="42262"/>
                  </a:moveTo>
                  <a:cubicBezTo>
                    <a:pt x="14663" y="42262"/>
                    <a:pt x="9143" y="60203"/>
                    <a:pt x="9143" y="74003"/>
                  </a:cubicBezTo>
                  <a:cubicBezTo>
                    <a:pt x="9143" y="87976"/>
                    <a:pt x="14836" y="105743"/>
                    <a:pt x="31741" y="105743"/>
                  </a:cubicBezTo>
                  <a:cubicBezTo>
                    <a:pt x="49336" y="105743"/>
                    <a:pt x="53993" y="88838"/>
                    <a:pt x="53993" y="74003"/>
                  </a:cubicBezTo>
                  <a:cubicBezTo>
                    <a:pt x="53993" y="59168"/>
                    <a:pt x="49508" y="42262"/>
                    <a:pt x="31741" y="42262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69" name="Gráfico 1344">
              <a:extLst>
                <a:ext uri="{FF2B5EF4-FFF2-40B4-BE49-F238E27FC236}">
                  <a16:creationId xmlns:a16="http://schemas.microsoft.com/office/drawing/2014/main" id="{00A3A06D-6220-4C6C-8C7E-CF5138CD687C}"/>
                </a:ext>
              </a:extLst>
            </p:cNvPr>
            <p:cNvSpPr/>
            <p:nvPr/>
          </p:nvSpPr>
          <p:spPr>
            <a:xfrm>
              <a:off x="11357893" y="5023396"/>
              <a:ext cx="60030" cy="80730"/>
            </a:xfrm>
            <a:custGeom>
              <a:avLst/>
              <a:gdLst>
                <a:gd name="connsiteX0" fmla="*/ 50887 w 60030"/>
                <a:gd name="connsiteY0" fmla="*/ 66586 h 80730"/>
                <a:gd name="connsiteX1" fmla="*/ 50370 w 60030"/>
                <a:gd name="connsiteY1" fmla="*/ 66586 h 80730"/>
                <a:gd name="connsiteX2" fmla="*/ 25703 w 60030"/>
                <a:gd name="connsiteY2" fmla="*/ 80731 h 80730"/>
                <a:gd name="connsiteX3" fmla="*/ 0 w 60030"/>
                <a:gd name="connsiteY3" fmla="*/ 58823 h 80730"/>
                <a:gd name="connsiteX4" fmla="*/ 47782 w 60030"/>
                <a:gd name="connsiteY4" fmla="*/ 31913 h 80730"/>
                <a:gd name="connsiteX5" fmla="*/ 49679 w 60030"/>
                <a:gd name="connsiteY5" fmla="*/ 31913 h 80730"/>
                <a:gd name="connsiteX6" fmla="*/ 49679 w 60030"/>
                <a:gd name="connsiteY6" fmla="*/ 27773 h 80730"/>
                <a:gd name="connsiteX7" fmla="*/ 31912 w 60030"/>
                <a:gd name="connsiteY7" fmla="*/ 8108 h 80730"/>
                <a:gd name="connsiteX8" fmla="*/ 8969 w 60030"/>
                <a:gd name="connsiteY8" fmla="*/ 14491 h 80730"/>
                <a:gd name="connsiteX9" fmla="*/ 8969 w 60030"/>
                <a:gd name="connsiteY9" fmla="*/ 5348 h 80730"/>
                <a:gd name="connsiteX10" fmla="*/ 31912 w 60030"/>
                <a:gd name="connsiteY10" fmla="*/ 0 h 80730"/>
                <a:gd name="connsiteX11" fmla="*/ 59168 w 60030"/>
                <a:gd name="connsiteY11" fmla="*/ 28463 h 80730"/>
                <a:gd name="connsiteX12" fmla="*/ 59168 w 60030"/>
                <a:gd name="connsiteY12" fmla="*/ 62446 h 80730"/>
                <a:gd name="connsiteX13" fmla="*/ 60030 w 60030"/>
                <a:gd name="connsiteY13" fmla="*/ 78488 h 80730"/>
                <a:gd name="connsiteX14" fmla="*/ 50543 w 60030"/>
                <a:gd name="connsiteY14" fmla="*/ 78488 h 80730"/>
                <a:gd name="connsiteX15" fmla="*/ 50543 w 60030"/>
                <a:gd name="connsiteY15" fmla="*/ 66413 h 80730"/>
                <a:gd name="connsiteX16" fmla="*/ 50887 w 60030"/>
                <a:gd name="connsiteY16" fmla="*/ 66413 h 80730"/>
                <a:gd name="connsiteX17" fmla="*/ 50887 w 60030"/>
                <a:gd name="connsiteY17" fmla="*/ 66586 h 80730"/>
                <a:gd name="connsiteX18" fmla="*/ 49852 w 60030"/>
                <a:gd name="connsiteY18" fmla="*/ 40538 h 80730"/>
                <a:gd name="connsiteX19" fmla="*/ 47093 w 60030"/>
                <a:gd name="connsiteY19" fmla="*/ 40538 h 80730"/>
                <a:gd name="connsiteX20" fmla="*/ 10867 w 60030"/>
                <a:gd name="connsiteY20" fmla="*/ 58996 h 80730"/>
                <a:gd name="connsiteX21" fmla="*/ 27082 w 60030"/>
                <a:gd name="connsiteY21" fmla="*/ 72968 h 80730"/>
                <a:gd name="connsiteX22" fmla="*/ 50025 w 60030"/>
                <a:gd name="connsiteY22" fmla="*/ 45196 h 80730"/>
                <a:gd name="connsiteX23" fmla="*/ 50025 w 60030"/>
                <a:gd name="connsiteY23" fmla="*/ 40538 h 80730"/>
                <a:gd name="connsiteX24" fmla="*/ 49852 w 60030"/>
                <a:gd name="connsiteY24" fmla="*/ 40538 h 80730"/>
                <a:gd name="connsiteX25" fmla="*/ 49852 w 60030"/>
                <a:gd name="connsiteY25" fmla="*/ 40538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0030" h="80730">
                  <a:moveTo>
                    <a:pt x="50887" y="66586"/>
                  </a:moveTo>
                  <a:lnTo>
                    <a:pt x="50370" y="66586"/>
                  </a:lnTo>
                  <a:cubicBezTo>
                    <a:pt x="46058" y="75728"/>
                    <a:pt x="35190" y="80731"/>
                    <a:pt x="25703" y="80731"/>
                  </a:cubicBezTo>
                  <a:cubicBezTo>
                    <a:pt x="3622" y="80731"/>
                    <a:pt x="0" y="65896"/>
                    <a:pt x="0" y="58823"/>
                  </a:cubicBezTo>
                  <a:cubicBezTo>
                    <a:pt x="0" y="33120"/>
                    <a:pt x="27600" y="31913"/>
                    <a:pt x="47782" y="31913"/>
                  </a:cubicBezTo>
                  <a:lnTo>
                    <a:pt x="49679" y="31913"/>
                  </a:lnTo>
                  <a:lnTo>
                    <a:pt x="49679" y="27773"/>
                  </a:lnTo>
                  <a:cubicBezTo>
                    <a:pt x="49679" y="14663"/>
                    <a:pt x="44850" y="8108"/>
                    <a:pt x="31912" y="8108"/>
                  </a:cubicBezTo>
                  <a:cubicBezTo>
                    <a:pt x="23633" y="8108"/>
                    <a:pt x="16214" y="10005"/>
                    <a:pt x="8969" y="14491"/>
                  </a:cubicBezTo>
                  <a:lnTo>
                    <a:pt x="8969" y="5348"/>
                  </a:lnTo>
                  <a:cubicBezTo>
                    <a:pt x="14835" y="2588"/>
                    <a:pt x="25012" y="0"/>
                    <a:pt x="31912" y="0"/>
                  </a:cubicBezTo>
                  <a:cubicBezTo>
                    <a:pt x="51060" y="0"/>
                    <a:pt x="59168" y="8625"/>
                    <a:pt x="59168" y="28463"/>
                  </a:cubicBezTo>
                  <a:lnTo>
                    <a:pt x="59168" y="62446"/>
                  </a:lnTo>
                  <a:cubicBezTo>
                    <a:pt x="59168" y="68656"/>
                    <a:pt x="59168" y="73313"/>
                    <a:pt x="60030" y="78488"/>
                  </a:cubicBezTo>
                  <a:lnTo>
                    <a:pt x="50543" y="78488"/>
                  </a:lnTo>
                  <a:lnTo>
                    <a:pt x="50543" y="66413"/>
                  </a:lnTo>
                  <a:lnTo>
                    <a:pt x="50887" y="66413"/>
                  </a:lnTo>
                  <a:lnTo>
                    <a:pt x="50887" y="66586"/>
                  </a:lnTo>
                  <a:close/>
                  <a:moveTo>
                    <a:pt x="49852" y="40538"/>
                  </a:moveTo>
                  <a:lnTo>
                    <a:pt x="47093" y="40538"/>
                  </a:lnTo>
                  <a:cubicBezTo>
                    <a:pt x="30532" y="40538"/>
                    <a:pt x="10867" y="42263"/>
                    <a:pt x="10867" y="58996"/>
                  </a:cubicBezTo>
                  <a:cubicBezTo>
                    <a:pt x="10867" y="69001"/>
                    <a:pt x="18285" y="72968"/>
                    <a:pt x="27082" y="72968"/>
                  </a:cubicBezTo>
                  <a:cubicBezTo>
                    <a:pt x="49508" y="72968"/>
                    <a:pt x="50025" y="53475"/>
                    <a:pt x="50025" y="45196"/>
                  </a:cubicBezTo>
                  <a:lnTo>
                    <a:pt x="50025" y="40538"/>
                  </a:lnTo>
                  <a:lnTo>
                    <a:pt x="49852" y="40538"/>
                  </a:lnTo>
                  <a:lnTo>
                    <a:pt x="49852" y="4053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0" name="Gráfico 1344">
              <a:extLst>
                <a:ext uri="{FF2B5EF4-FFF2-40B4-BE49-F238E27FC236}">
                  <a16:creationId xmlns:a16="http://schemas.microsoft.com/office/drawing/2014/main" id="{420A0485-BC56-4A4A-B945-C34E3FAA5FF0}"/>
                </a:ext>
              </a:extLst>
            </p:cNvPr>
            <p:cNvSpPr/>
            <p:nvPr/>
          </p:nvSpPr>
          <p:spPr>
            <a:xfrm>
              <a:off x="11438795" y="5023396"/>
              <a:ext cx="35018" cy="78661"/>
            </a:xfrm>
            <a:custGeom>
              <a:avLst/>
              <a:gdLst>
                <a:gd name="connsiteX0" fmla="*/ 691 w 35018"/>
                <a:gd name="connsiteY0" fmla="*/ 18803 h 78661"/>
                <a:gd name="connsiteX1" fmla="*/ 0 w 35018"/>
                <a:gd name="connsiteY1" fmla="*/ 1725 h 78661"/>
                <a:gd name="connsiteX2" fmla="*/ 9143 w 35018"/>
                <a:gd name="connsiteY2" fmla="*/ 1725 h 78661"/>
                <a:gd name="connsiteX3" fmla="*/ 9143 w 35018"/>
                <a:gd name="connsiteY3" fmla="*/ 16561 h 78661"/>
                <a:gd name="connsiteX4" fmla="*/ 9488 w 35018"/>
                <a:gd name="connsiteY4" fmla="*/ 16561 h 78661"/>
                <a:gd name="connsiteX5" fmla="*/ 28636 w 35018"/>
                <a:gd name="connsiteY5" fmla="*/ 0 h 78661"/>
                <a:gd name="connsiteX6" fmla="*/ 35018 w 35018"/>
                <a:gd name="connsiteY6" fmla="*/ 863 h 78661"/>
                <a:gd name="connsiteX7" fmla="*/ 35018 w 35018"/>
                <a:gd name="connsiteY7" fmla="*/ 10696 h 78661"/>
                <a:gd name="connsiteX8" fmla="*/ 28290 w 35018"/>
                <a:gd name="connsiteY8" fmla="*/ 9833 h 78661"/>
                <a:gd name="connsiteX9" fmla="*/ 9833 w 35018"/>
                <a:gd name="connsiteY9" fmla="*/ 40711 h 78661"/>
                <a:gd name="connsiteX10" fmla="*/ 9833 w 35018"/>
                <a:gd name="connsiteY10" fmla="*/ 78661 h 78661"/>
                <a:gd name="connsiteX11" fmla="*/ 691 w 35018"/>
                <a:gd name="connsiteY11" fmla="*/ 78661 h 78661"/>
                <a:gd name="connsiteX12" fmla="*/ 691 w 35018"/>
                <a:gd name="connsiteY12" fmla="*/ 18803 h 78661"/>
                <a:gd name="connsiteX13" fmla="*/ 691 w 35018"/>
                <a:gd name="connsiteY13" fmla="*/ 18803 h 78661"/>
                <a:gd name="connsiteX14" fmla="*/ 691 w 35018"/>
                <a:gd name="connsiteY14" fmla="*/ 18803 h 7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018" h="78661">
                  <a:moveTo>
                    <a:pt x="691" y="18803"/>
                  </a:moveTo>
                  <a:cubicBezTo>
                    <a:pt x="691" y="10178"/>
                    <a:pt x="691" y="7245"/>
                    <a:pt x="0" y="1725"/>
                  </a:cubicBezTo>
                  <a:lnTo>
                    <a:pt x="9143" y="1725"/>
                  </a:lnTo>
                  <a:lnTo>
                    <a:pt x="9143" y="16561"/>
                  </a:lnTo>
                  <a:lnTo>
                    <a:pt x="9488" y="16561"/>
                  </a:lnTo>
                  <a:cubicBezTo>
                    <a:pt x="12766" y="7935"/>
                    <a:pt x="19148" y="0"/>
                    <a:pt x="28636" y="0"/>
                  </a:cubicBezTo>
                  <a:cubicBezTo>
                    <a:pt x="30878" y="0"/>
                    <a:pt x="33465" y="345"/>
                    <a:pt x="35018" y="863"/>
                  </a:cubicBezTo>
                  <a:lnTo>
                    <a:pt x="35018" y="10696"/>
                  </a:lnTo>
                  <a:cubicBezTo>
                    <a:pt x="33121" y="10005"/>
                    <a:pt x="30706" y="9833"/>
                    <a:pt x="28290" y="9833"/>
                  </a:cubicBezTo>
                  <a:cubicBezTo>
                    <a:pt x="13801" y="9833"/>
                    <a:pt x="9833" y="26738"/>
                    <a:pt x="9833" y="40711"/>
                  </a:cubicBezTo>
                  <a:lnTo>
                    <a:pt x="9833" y="78661"/>
                  </a:lnTo>
                  <a:lnTo>
                    <a:pt x="691" y="78661"/>
                  </a:lnTo>
                  <a:lnTo>
                    <a:pt x="691" y="18803"/>
                  </a:lnTo>
                  <a:lnTo>
                    <a:pt x="691" y="18803"/>
                  </a:lnTo>
                  <a:lnTo>
                    <a:pt x="691" y="1880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1" name="Gráfico 1344">
              <a:extLst>
                <a:ext uri="{FF2B5EF4-FFF2-40B4-BE49-F238E27FC236}">
                  <a16:creationId xmlns:a16="http://schemas.microsoft.com/office/drawing/2014/main" id="{F3DB6091-703B-46BA-BBDF-3BDE2DD03331}"/>
                </a:ext>
              </a:extLst>
            </p:cNvPr>
            <p:cNvSpPr/>
            <p:nvPr/>
          </p:nvSpPr>
          <p:spPr>
            <a:xfrm>
              <a:off x="11484508" y="4998384"/>
              <a:ext cx="58132" cy="105743"/>
            </a:xfrm>
            <a:custGeom>
              <a:avLst/>
              <a:gdLst>
                <a:gd name="connsiteX0" fmla="*/ 48645 w 58132"/>
                <a:gd name="connsiteY0" fmla="*/ 91598 h 105743"/>
                <a:gd name="connsiteX1" fmla="*/ 48473 w 58132"/>
                <a:gd name="connsiteY1" fmla="*/ 91598 h 105743"/>
                <a:gd name="connsiteX2" fmla="*/ 24668 w 58132"/>
                <a:gd name="connsiteY2" fmla="*/ 105743 h 105743"/>
                <a:gd name="connsiteX3" fmla="*/ 0 w 58132"/>
                <a:gd name="connsiteY3" fmla="*/ 83835 h 105743"/>
                <a:gd name="connsiteX4" fmla="*/ 46230 w 58132"/>
                <a:gd name="connsiteY4" fmla="*/ 56753 h 105743"/>
                <a:gd name="connsiteX5" fmla="*/ 47956 w 58132"/>
                <a:gd name="connsiteY5" fmla="*/ 56753 h 105743"/>
                <a:gd name="connsiteX6" fmla="*/ 47956 w 58132"/>
                <a:gd name="connsiteY6" fmla="*/ 52613 h 105743"/>
                <a:gd name="connsiteX7" fmla="*/ 30877 w 58132"/>
                <a:gd name="connsiteY7" fmla="*/ 32775 h 105743"/>
                <a:gd name="connsiteX8" fmla="*/ 8625 w 58132"/>
                <a:gd name="connsiteY8" fmla="*/ 39158 h 105743"/>
                <a:gd name="connsiteX9" fmla="*/ 8625 w 58132"/>
                <a:gd name="connsiteY9" fmla="*/ 29842 h 105743"/>
                <a:gd name="connsiteX10" fmla="*/ 30877 w 58132"/>
                <a:gd name="connsiteY10" fmla="*/ 24495 h 105743"/>
                <a:gd name="connsiteX11" fmla="*/ 57271 w 58132"/>
                <a:gd name="connsiteY11" fmla="*/ 53303 h 105743"/>
                <a:gd name="connsiteX12" fmla="*/ 57271 w 58132"/>
                <a:gd name="connsiteY12" fmla="*/ 87630 h 105743"/>
                <a:gd name="connsiteX13" fmla="*/ 58133 w 58132"/>
                <a:gd name="connsiteY13" fmla="*/ 103846 h 105743"/>
                <a:gd name="connsiteX14" fmla="*/ 48991 w 58132"/>
                <a:gd name="connsiteY14" fmla="*/ 103846 h 105743"/>
                <a:gd name="connsiteX15" fmla="*/ 48991 w 58132"/>
                <a:gd name="connsiteY15" fmla="*/ 91598 h 105743"/>
                <a:gd name="connsiteX16" fmla="*/ 48645 w 58132"/>
                <a:gd name="connsiteY16" fmla="*/ 91598 h 105743"/>
                <a:gd name="connsiteX17" fmla="*/ 48645 w 58132"/>
                <a:gd name="connsiteY17" fmla="*/ 91598 h 105743"/>
                <a:gd name="connsiteX18" fmla="*/ 47783 w 58132"/>
                <a:gd name="connsiteY18" fmla="*/ 65205 h 105743"/>
                <a:gd name="connsiteX19" fmla="*/ 45023 w 58132"/>
                <a:gd name="connsiteY19" fmla="*/ 65205 h 105743"/>
                <a:gd name="connsiteX20" fmla="*/ 9833 w 58132"/>
                <a:gd name="connsiteY20" fmla="*/ 83663 h 105743"/>
                <a:gd name="connsiteX21" fmla="*/ 25530 w 58132"/>
                <a:gd name="connsiteY21" fmla="*/ 97636 h 105743"/>
                <a:gd name="connsiteX22" fmla="*/ 47783 w 58132"/>
                <a:gd name="connsiteY22" fmla="*/ 69691 h 105743"/>
                <a:gd name="connsiteX23" fmla="*/ 47783 w 58132"/>
                <a:gd name="connsiteY23" fmla="*/ 65205 h 105743"/>
                <a:gd name="connsiteX24" fmla="*/ 47783 w 58132"/>
                <a:gd name="connsiteY24" fmla="*/ 65205 h 105743"/>
                <a:gd name="connsiteX25" fmla="*/ 47783 w 58132"/>
                <a:gd name="connsiteY25" fmla="*/ 65205 h 105743"/>
                <a:gd name="connsiteX26" fmla="*/ 10350 w 58132"/>
                <a:gd name="connsiteY26" fmla="*/ 15180 h 105743"/>
                <a:gd name="connsiteX27" fmla="*/ 22252 w 58132"/>
                <a:gd name="connsiteY27" fmla="*/ 1552 h 105743"/>
                <a:gd name="connsiteX28" fmla="*/ 31223 w 58132"/>
                <a:gd name="connsiteY28" fmla="*/ 3278 h 105743"/>
                <a:gd name="connsiteX29" fmla="*/ 37778 w 58132"/>
                <a:gd name="connsiteY29" fmla="*/ 5175 h 105743"/>
                <a:gd name="connsiteX30" fmla="*/ 44850 w 58132"/>
                <a:gd name="connsiteY30" fmla="*/ 0 h 105743"/>
                <a:gd name="connsiteX31" fmla="*/ 50370 w 58132"/>
                <a:gd name="connsiteY31" fmla="*/ 0 h 105743"/>
                <a:gd name="connsiteX32" fmla="*/ 37950 w 58132"/>
                <a:gd name="connsiteY32" fmla="*/ 13282 h 105743"/>
                <a:gd name="connsiteX33" fmla="*/ 28807 w 58132"/>
                <a:gd name="connsiteY33" fmla="*/ 11385 h 105743"/>
                <a:gd name="connsiteX34" fmla="*/ 21908 w 58132"/>
                <a:gd name="connsiteY34" fmla="*/ 9487 h 105743"/>
                <a:gd name="connsiteX35" fmla="*/ 15353 w 58132"/>
                <a:gd name="connsiteY35" fmla="*/ 14835 h 105743"/>
                <a:gd name="connsiteX36" fmla="*/ 10350 w 58132"/>
                <a:gd name="connsiteY36" fmla="*/ 14835 h 105743"/>
                <a:gd name="connsiteX37" fmla="*/ 10350 w 58132"/>
                <a:gd name="connsiteY37" fmla="*/ 15180 h 105743"/>
                <a:gd name="connsiteX38" fmla="*/ 10350 w 58132"/>
                <a:gd name="connsiteY38" fmla="*/ 15180 h 10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8132" h="105743">
                  <a:moveTo>
                    <a:pt x="48645" y="91598"/>
                  </a:moveTo>
                  <a:lnTo>
                    <a:pt x="48473" y="91598"/>
                  </a:lnTo>
                  <a:cubicBezTo>
                    <a:pt x="44333" y="100913"/>
                    <a:pt x="33811" y="105743"/>
                    <a:pt x="24668" y="105743"/>
                  </a:cubicBezTo>
                  <a:cubicBezTo>
                    <a:pt x="3278" y="105743"/>
                    <a:pt x="0" y="90908"/>
                    <a:pt x="0" y="83835"/>
                  </a:cubicBezTo>
                  <a:cubicBezTo>
                    <a:pt x="0" y="57960"/>
                    <a:pt x="26737" y="56753"/>
                    <a:pt x="46230" y="56753"/>
                  </a:cubicBezTo>
                  <a:lnTo>
                    <a:pt x="47956" y="56753"/>
                  </a:lnTo>
                  <a:lnTo>
                    <a:pt x="47956" y="52613"/>
                  </a:lnTo>
                  <a:cubicBezTo>
                    <a:pt x="47956" y="39503"/>
                    <a:pt x="43298" y="32775"/>
                    <a:pt x="30877" y="32775"/>
                  </a:cubicBezTo>
                  <a:cubicBezTo>
                    <a:pt x="23116" y="32775"/>
                    <a:pt x="15526" y="34673"/>
                    <a:pt x="8625" y="39158"/>
                  </a:cubicBezTo>
                  <a:lnTo>
                    <a:pt x="8625" y="29842"/>
                  </a:lnTo>
                  <a:cubicBezTo>
                    <a:pt x="14318" y="27083"/>
                    <a:pt x="24151" y="24495"/>
                    <a:pt x="30877" y="24495"/>
                  </a:cubicBezTo>
                  <a:cubicBezTo>
                    <a:pt x="49508" y="24495"/>
                    <a:pt x="57271" y="33120"/>
                    <a:pt x="57271" y="53303"/>
                  </a:cubicBezTo>
                  <a:lnTo>
                    <a:pt x="57271" y="87630"/>
                  </a:lnTo>
                  <a:cubicBezTo>
                    <a:pt x="57271" y="93841"/>
                    <a:pt x="57271" y="98671"/>
                    <a:pt x="58133" y="103846"/>
                  </a:cubicBezTo>
                  <a:lnTo>
                    <a:pt x="48991" y="103846"/>
                  </a:lnTo>
                  <a:lnTo>
                    <a:pt x="48991" y="91598"/>
                  </a:lnTo>
                  <a:lnTo>
                    <a:pt x="48645" y="91598"/>
                  </a:lnTo>
                  <a:lnTo>
                    <a:pt x="48645" y="91598"/>
                  </a:lnTo>
                  <a:close/>
                  <a:moveTo>
                    <a:pt x="47783" y="65205"/>
                  </a:moveTo>
                  <a:lnTo>
                    <a:pt x="45023" y="65205"/>
                  </a:lnTo>
                  <a:cubicBezTo>
                    <a:pt x="28980" y="65205"/>
                    <a:pt x="9833" y="66931"/>
                    <a:pt x="9833" y="83663"/>
                  </a:cubicBezTo>
                  <a:cubicBezTo>
                    <a:pt x="9833" y="93841"/>
                    <a:pt x="16905" y="97636"/>
                    <a:pt x="25530" y="97636"/>
                  </a:cubicBezTo>
                  <a:cubicBezTo>
                    <a:pt x="47265" y="97636"/>
                    <a:pt x="47783" y="77970"/>
                    <a:pt x="47783" y="69691"/>
                  </a:cubicBezTo>
                  <a:lnTo>
                    <a:pt x="47783" y="65205"/>
                  </a:lnTo>
                  <a:lnTo>
                    <a:pt x="47783" y="65205"/>
                  </a:lnTo>
                  <a:lnTo>
                    <a:pt x="47783" y="65205"/>
                  </a:lnTo>
                  <a:close/>
                  <a:moveTo>
                    <a:pt x="10350" y="15180"/>
                  </a:moveTo>
                  <a:cubicBezTo>
                    <a:pt x="11557" y="8798"/>
                    <a:pt x="15353" y="1552"/>
                    <a:pt x="22252" y="1552"/>
                  </a:cubicBezTo>
                  <a:cubicBezTo>
                    <a:pt x="25186" y="1552"/>
                    <a:pt x="28463" y="2415"/>
                    <a:pt x="31223" y="3278"/>
                  </a:cubicBezTo>
                  <a:cubicBezTo>
                    <a:pt x="33983" y="4140"/>
                    <a:pt x="36743" y="5175"/>
                    <a:pt x="37778" y="5175"/>
                  </a:cubicBezTo>
                  <a:cubicBezTo>
                    <a:pt x="40883" y="5175"/>
                    <a:pt x="43988" y="3450"/>
                    <a:pt x="44850" y="0"/>
                  </a:cubicBezTo>
                  <a:lnTo>
                    <a:pt x="50370" y="0"/>
                  </a:lnTo>
                  <a:cubicBezTo>
                    <a:pt x="48991" y="11040"/>
                    <a:pt x="41745" y="13282"/>
                    <a:pt x="37950" y="13282"/>
                  </a:cubicBezTo>
                  <a:cubicBezTo>
                    <a:pt x="34673" y="13282"/>
                    <a:pt x="31395" y="12247"/>
                    <a:pt x="28807" y="11385"/>
                  </a:cubicBezTo>
                  <a:cubicBezTo>
                    <a:pt x="26221" y="10522"/>
                    <a:pt x="23805" y="9487"/>
                    <a:pt x="21908" y="9487"/>
                  </a:cubicBezTo>
                  <a:cubicBezTo>
                    <a:pt x="18112" y="9487"/>
                    <a:pt x="16905" y="11385"/>
                    <a:pt x="15353" y="14835"/>
                  </a:cubicBezTo>
                  <a:lnTo>
                    <a:pt x="10350" y="14835"/>
                  </a:lnTo>
                  <a:lnTo>
                    <a:pt x="10350" y="15180"/>
                  </a:lnTo>
                  <a:lnTo>
                    <a:pt x="10350" y="1518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2" name="Gráfico 1344">
              <a:extLst>
                <a:ext uri="{FF2B5EF4-FFF2-40B4-BE49-F238E27FC236}">
                  <a16:creationId xmlns:a16="http://schemas.microsoft.com/office/drawing/2014/main" id="{E0C79E73-78A9-4A27-B889-0A2AB6828BF5}"/>
                </a:ext>
              </a:extLst>
            </p:cNvPr>
            <p:cNvSpPr/>
            <p:nvPr/>
          </p:nvSpPr>
          <p:spPr>
            <a:xfrm>
              <a:off x="11558856" y="5023396"/>
              <a:ext cx="70380" cy="80730"/>
            </a:xfrm>
            <a:custGeom>
              <a:avLst/>
              <a:gdLst>
                <a:gd name="connsiteX0" fmla="*/ 35190 w 70380"/>
                <a:gd name="connsiteY0" fmla="*/ 0 h 80730"/>
                <a:gd name="connsiteX1" fmla="*/ 70381 w 70380"/>
                <a:gd name="connsiteY1" fmla="*/ 40366 h 80730"/>
                <a:gd name="connsiteX2" fmla="*/ 35190 w 70380"/>
                <a:gd name="connsiteY2" fmla="*/ 80731 h 80730"/>
                <a:gd name="connsiteX3" fmla="*/ 0 w 70380"/>
                <a:gd name="connsiteY3" fmla="*/ 40366 h 80730"/>
                <a:gd name="connsiteX4" fmla="*/ 35190 w 70380"/>
                <a:gd name="connsiteY4" fmla="*/ 0 h 80730"/>
                <a:gd name="connsiteX5" fmla="*/ 35190 w 70380"/>
                <a:gd name="connsiteY5" fmla="*/ 72623 h 80730"/>
                <a:gd name="connsiteX6" fmla="*/ 60203 w 70380"/>
                <a:gd name="connsiteY6" fmla="*/ 40366 h 80730"/>
                <a:gd name="connsiteX7" fmla="*/ 35190 w 70380"/>
                <a:gd name="connsiteY7" fmla="*/ 8108 h 80730"/>
                <a:gd name="connsiteX8" fmla="*/ 10351 w 70380"/>
                <a:gd name="connsiteY8" fmla="*/ 40366 h 80730"/>
                <a:gd name="connsiteX9" fmla="*/ 35190 w 70380"/>
                <a:gd name="connsiteY9" fmla="*/ 72623 h 8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380" h="80730">
                  <a:moveTo>
                    <a:pt x="35190" y="0"/>
                  </a:moveTo>
                  <a:cubicBezTo>
                    <a:pt x="59513" y="0"/>
                    <a:pt x="70381" y="19321"/>
                    <a:pt x="70381" y="40366"/>
                  </a:cubicBezTo>
                  <a:cubicBezTo>
                    <a:pt x="70381" y="61411"/>
                    <a:pt x="59686" y="80731"/>
                    <a:pt x="35190" y="80731"/>
                  </a:cubicBezTo>
                  <a:cubicBezTo>
                    <a:pt x="10868" y="80731"/>
                    <a:pt x="0" y="61411"/>
                    <a:pt x="0" y="40366"/>
                  </a:cubicBezTo>
                  <a:cubicBezTo>
                    <a:pt x="173" y="19321"/>
                    <a:pt x="10868" y="0"/>
                    <a:pt x="35190" y="0"/>
                  </a:cubicBezTo>
                  <a:moveTo>
                    <a:pt x="35190" y="72623"/>
                  </a:moveTo>
                  <a:cubicBezTo>
                    <a:pt x="51233" y="72623"/>
                    <a:pt x="60203" y="58306"/>
                    <a:pt x="60203" y="40366"/>
                  </a:cubicBezTo>
                  <a:cubicBezTo>
                    <a:pt x="60203" y="22598"/>
                    <a:pt x="51405" y="8108"/>
                    <a:pt x="35190" y="8108"/>
                  </a:cubicBezTo>
                  <a:cubicBezTo>
                    <a:pt x="18976" y="8108"/>
                    <a:pt x="10351" y="22425"/>
                    <a:pt x="10351" y="40366"/>
                  </a:cubicBezTo>
                  <a:cubicBezTo>
                    <a:pt x="10351" y="58133"/>
                    <a:pt x="18976" y="72623"/>
                    <a:pt x="35190" y="7262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73" name="Agrupar 872">
            <a:extLst>
              <a:ext uri="{FF2B5EF4-FFF2-40B4-BE49-F238E27FC236}">
                <a16:creationId xmlns:a16="http://schemas.microsoft.com/office/drawing/2014/main" id="{45D59100-64FF-49FC-9BE8-47D050AD9AEB}"/>
              </a:ext>
            </a:extLst>
          </p:cNvPr>
          <p:cNvGrpSpPr/>
          <p:nvPr/>
        </p:nvGrpSpPr>
        <p:grpSpPr>
          <a:xfrm>
            <a:off x="7433285" y="5082797"/>
            <a:ext cx="521816" cy="101431"/>
            <a:chOff x="7265645" y="5104127"/>
            <a:chExt cx="521816" cy="101431"/>
          </a:xfrm>
        </p:grpSpPr>
        <p:sp>
          <p:nvSpPr>
            <p:cNvPr id="874" name="Gráfico 1344">
              <a:extLst>
                <a:ext uri="{FF2B5EF4-FFF2-40B4-BE49-F238E27FC236}">
                  <a16:creationId xmlns:a16="http://schemas.microsoft.com/office/drawing/2014/main" id="{C98DA7F0-2A0C-4179-B496-74F903B7161A}"/>
                </a:ext>
              </a:extLst>
            </p:cNvPr>
            <p:cNvSpPr/>
            <p:nvPr/>
          </p:nvSpPr>
          <p:spPr>
            <a:xfrm>
              <a:off x="7265645" y="5108267"/>
              <a:ext cx="74520" cy="95220"/>
            </a:xfrm>
            <a:custGeom>
              <a:avLst/>
              <a:gdLst>
                <a:gd name="connsiteX0" fmla="*/ 26048 w 74520"/>
                <a:gd name="connsiteY0" fmla="*/ 18112 h 95220"/>
                <a:gd name="connsiteX1" fmla="*/ 0 w 74520"/>
                <a:gd name="connsiteY1" fmla="*/ 18112 h 95220"/>
                <a:gd name="connsiteX2" fmla="*/ 0 w 74520"/>
                <a:gd name="connsiteY2" fmla="*/ 0 h 95220"/>
                <a:gd name="connsiteX3" fmla="*/ 74521 w 74520"/>
                <a:gd name="connsiteY3" fmla="*/ 0 h 95220"/>
                <a:gd name="connsiteX4" fmla="*/ 74521 w 74520"/>
                <a:gd name="connsiteY4" fmla="*/ 18112 h 95220"/>
                <a:gd name="connsiteX5" fmla="*/ 47955 w 74520"/>
                <a:gd name="connsiteY5" fmla="*/ 18112 h 95220"/>
                <a:gd name="connsiteX6" fmla="*/ 47955 w 74520"/>
                <a:gd name="connsiteY6" fmla="*/ 95221 h 95220"/>
                <a:gd name="connsiteX7" fmla="*/ 26048 w 74520"/>
                <a:gd name="connsiteY7" fmla="*/ 95221 h 95220"/>
                <a:gd name="connsiteX8" fmla="*/ 26048 w 74520"/>
                <a:gd name="connsiteY8" fmla="*/ 18112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5220">
                  <a:moveTo>
                    <a:pt x="26048" y="18112"/>
                  </a:moveTo>
                  <a:lnTo>
                    <a:pt x="0" y="18112"/>
                  </a:lnTo>
                  <a:lnTo>
                    <a:pt x="0" y="0"/>
                  </a:lnTo>
                  <a:lnTo>
                    <a:pt x="74521" y="0"/>
                  </a:lnTo>
                  <a:lnTo>
                    <a:pt x="74521" y="18112"/>
                  </a:lnTo>
                  <a:lnTo>
                    <a:pt x="47955" y="18112"/>
                  </a:lnTo>
                  <a:lnTo>
                    <a:pt x="47955" y="95221"/>
                  </a:lnTo>
                  <a:lnTo>
                    <a:pt x="26048" y="95221"/>
                  </a:lnTo>
                  <a:lnTo>
                    <a:pt x="26048" y="18112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5" name="Gráfico 1344">
              <a:extLst>
                <a:ext uri="{FF2B5EF4-FFF2-40B4-BE49-F238E27FC236}">
                  <a16:creationId xmlns:a16="http://schemas.microsoft.com/office/drawing/2014/main" id="{5825DA6C-5205-420E-86F7-335E0FC983AE}"/>
                </a:ext>
              </a:extLst>
            </p:cNvPr>
            <p:cNvSpPr/>
            <p:nvPr/>
          </p:nvSpPr>
          <p:spPr>
            <a:xfrm>
              <a:off x="7352586" y="5108267"/>
              <a:ext cx="20700" cy="95220"/>
            </a:xfrm>
            <a:custGeom>
              <a:avLst/>
              <a:gdLst>
                <a:gd name="connsiteX0" fmla="*/ 0 w 20700"/>
                <a:gd name="connsiteY0" fmla="*/ 0 h 95220"/>
                <a:gd name="connsiteX1" fmla="*/ 20700 w 20700"/>
                <a:gd name="connsiteY1" fmla="*/ 0 h 95220"/>
                <a:gd name="connsiteX2" fmla="*/ 20700 w 20700"/>
                <a:gd name="connsiteY2" fmla="*/ 95221 h 95220"/>
                <a:gd name="connsiteX3" fmla="*/ 0 w 20700"/>
                <a:gd name="connsiteY3" fmla="*/ 95221 h 95220"/>
                <a:gd name="connsiteX4" fmla="*/ 0 w 20700"/>
                <a:gd name="connsiteY4" fmla="*/ 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0" h="95220">
                  <a:moveTo>
                    <a:pt x="0" y="0"/>
                  </a:moveTo>
                  <a:lnTo>
                    <a:pt x="20700" y="0"/>
                  </a:lnTo>
                  <a:lnTo>
                    <a:pt x="2070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6" name="Gráfico 1344">
              <a:extLst>
                <a:ext uri="{FF2B5EF4-FFF2-40B4-BE49-F238E27FC236}">
                  <a16:creationId xmlns:a16="http://schemas.microsoft.com/office/drawing/2014/main" id="{8A4B157E-9BD3-4739-88A1-B02A9EB6818B}"/>
                </a:ext>
              </a:extLst>
            </p:cNvPr>
            <p:cNvSpPr/>
            <p:nvPr/>
          </p:nvSpPr>
          <p:spPr>
            <a:xfrm>
              <a:off x="7416929" y="5106025"/>
              <a:ext cx="85042" cy="99533"/>
            </a:xfrm>
            <a:custGeom>
              <a:avLst/>
              <a:gdLst>
                <a:gd name="connsiteX0" fmla="*/ 84526 w 85042"/>
                <a:gd name="connsiteY0" fmla="*/ 94186 h 99533"/>
                <a:gd name="connsiteX1" fmla="*/ 52613 w 85042"/>
                <a:gd name="connsiteY1" fmla="*/ 99534 h 99533"/>
                <a:gd name="connsiteX2" fmla="*/ 13627 w 85042"/>
                <a:gd name="connsiteY2" fmla="*/ 86251 h 99533"/>
                <a:gd name="connsiteX3" fmla="*/ 0 w 85042"/>
                <a:gd name="connsiteY3" fmla="*/ 50888 h 99533"/>
                <a:gd name="connsiteX4" fmla="*/ 54855 w 85042"/>
                <a:gd name="connsiteY4" fmla="*/ 0 h 99533"/>
                <a:gd name="connsiteX5" fmla="*/ 81593 w 85042"/>
                <a:gd name="connsiteY5" fmla="*/ 4830 h 99533"/>
                <a:gd name="connsiteX6" fmla="*/ 77108 w 85042"/>
                <a:gd name="connsiteY6" fmla="*/ 22598 h 99533"/>
                <a:gd name="connsiteX7" fmla="*/ 54855 w 85042"/>
                <a:gd name="connsiteY7" fmla="*/ 18458 h 99533"/>
                <a:gd name="connsiteX8" fmla="*/ 23115 w 85042"/>
                <a:gd name="connsiteY8" fmla="*/ 49853 h 99533"/>
                <a:gd name="connsiteX9" fmla="*/ 53130 w 85042"/>
                <a:gd name="connsiteY9" fmla="*/ 81938 h 99533"/>
                <a:gd name="connsiteX10" fmla="*/ 63825 w 85042"/>
                <a:gd name="connsiteY10" fmla="*/ 80386 h 99533"/>
                <a:gd name="connsiteX11" fmla="*/ 63825 w 85042"/>
                <a:gd name="connsiteY11" fmla="*/ 60031 h 99533"/>
                <a:gd name="connsiteX12" fmla="*/ 49163 w 85042"/>
                <a:gd name="connsiteY12" fmla="*/ 60031 h 99533"/>
                <a:gd name="connsiteX13" fmla="*/ 49163 w 85042"/>
                <a:gd name="connsiteY13" fmla="*/ 42781 h 99533"/>
                <a:gd name="connsiteX14" fmla="*/ 85043 w 85042"/>
                <a:gd name="connsiteY14" fmla="*/ 42781 h 99533"/>
                <a:gd name="connsiteX15" fmla="*/ 85043 w 85042"/>
                <a:gd name="connsiteY15" fmla="*/ 94013 h 99533"/>
                <a:gd name="connsiteX16" fmla="*/ 84526 w 85042"/>
                <a:gd name="connsiteY16" fmla="*/ 94013 h 99533"/>
                <a:gd name="connsiteX17" fmla="*/ 84526 w 85042"/>
                <a:gd name="connsiteY17" fmla="*/ 94186 h 9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5042" h="99533">
                  <a:moveTo>
                    <a:pt x="84526" y="94186"/>
                  </a:moveTo>
                  <a:cubicBezTo>
                    <a:pt x="77970" y="96428"/>
                    <a:pt x="65205" y="99534"/>
                    <a:pt x="52613" y="99534"/>
                  </a:cubicBezTo>
                  <a:cubicBezTo>
                    <a:pt x="35190" y="99534"/>
                    <a:pt x="22598" y="95221"/>
                    <a:pt x="13627" y="86251"/>
                  </a:cubicBezTo>
                  <a:cubicBezTo>
                    <a:pt x="4830" y="77798"/>
                    <a:pt x="0" y="65033"/>
                    <a:pt x="0" y="50888"/>
                  </a:cubicBezTo>
                  <a:cubicBezTo>
                    <a:pt x="172" y="18458"/>
                    <a:pt x="23288" y="0"/>
                    <a:pt x="54855" y="0"/>
                  </a:cubicBezTo>
                  <a:cubicBezTo>
                    <a:pt x="67275" y="0"/>
                    <a:pt x="76763" y="2415"/>
                    <a:pt x="81593" y="4830"/>
                  </a:cubicBezTo>
                  <a:lnTo>
                    <a:pt x="77108" y="22598"/>
                  </a:lnTo>
                  <a:cubicBezTo>
                    <a:pt x="71761" y="20183"/>
                    <a:pt x="65378" y="18458"/>
                    <a:pt x="54855" y="18458"/>
                  </a:cubicBezTo>
                  <a:cubicBezTo>
                    <a:pt x="36743" y="18458"/>
                    <a:pt x="23115" y="28808"/>
                    <a:pt x="23115" y="49853"/>
                  </a:cubicBezTo>
                  <a:cubicBezTo>
                    <a:pt x="23115" y="70035"/>
                    <a:pt x="35535" y="81938"/>
                    <a:pt x="53130" y="81938"/>
                  </a:cubicBezTo>
                  <a:cubicBezTo>
                    <a:pt x="58306" y="81938"/>
                    <a:pt x="62101" y="81248"/>
                    <a:pt x="63825" y="80386"/>
                  </a:cubicBezTo>
                  <a:lnTo>
                    <a:pt x="63825" y="60031"/>
                  </a:lnTo>
                  <a:lnTo>
                    <a:pt x="49163" y="60031"/>
                  </a:lnTo>
                  <a:lnTo>
                    <a:pt x="49163" y="42781"/>
                  </a:lnTo>
                  <a:lnTo>
                    <a:pt x="85043" y="42781"/>
                  </a:lnTo>
                  <a:lnTo>
                    <a:pt x="85043" y="94013"/>
                  </a:lnTo>
                  <a:lnTo>
                    <a:pt x="84526" y="94013"/>
                  </a:lnTo>
                  <a:lnTo>
                    <a:pt x="84526" y="9418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7" name="Gráfico 1344">
              <a:extLst>
                <a:ext uri="{FF2B5EF4-FFF2-40B4-BE49-F238E27FC236}">
                  <a16:creationId xmlns:a16="http://schemas.microsoft.com/office/drawing/2014/main" id="{27888C3B-D7F3-4067-8DF8-0C6FB4A81415}"/>
                </a:ext>
              </a:extLst>
            </p:cNvPr>
            <p:cNvSpPr/>
            <p:nvPr/>
          </p:nvSpPr>
          <p:spPr>
            <a:xfrm>
              <a:off x="7518187" y="5135177"/>
              <a:ext cx="66240" cy="70380"/>
            </a:xfrm>
            <a:custGeom>
              <a:avLst/>
              <a:gdLst>
                <a:gd name="connsiteX0" fmla="*/ 65896 w 66240"/>
                <a:gd name="connsiteY0" fmla="*/ 46748 h 70380"/>
                <a:gd name="connsiteX1" fmla="*/ 66240 w 66240"/>
                <a:gd name="connsiteY1" fmla="*/ 68828 h 70380"/>
                <a:gd name="connsiteX2" fmla="*/ 47611 w 66240"/>
                <a:gd name="connsiteY2" fmla="*/ 68828 h 70380"/>
                <a:gd name="connsiteX3" fmla="*/ 46576 w 66240"/>
                <a:gd name="connsiteY3" fmla="*/ 59168 h 70380"/>
                <a:gd name="connsiteX4" fmla="*/ 46230 w 66240"/>
                <a:gd name="connsiteY4" fmla="*/ 59168 h 70380"/>
                <a:gd name="connsiteX5" fmla="*/ 24495 w 66240"/>
                <a:gd name="connsiteY5" fmla="*/ 70381 h 70380"/>
                <a:gd name="connsiteX6" fmla="*/ 0 w 66240"/>
                <a:gd name="connsiteY6" fmla="*/ 40538 h 70380"/>
                <a:gd name="connsiteX7" fmla="*/ 0 w 66240"/>
                <a:gd name="connsiteY7" fmla="*/ 0 h 70380"/>
                <a:gd name="connsiteX8" fmla="*/ 21735 w 66240"/>
                <a:gd name="connsiteY8" fmla="*/ 0 h 70380"/>
                <a:gd name="connsiteX9" fmla="*/ 21735 w 66240"/>
                <a:gd name="connsiteY9" fmla="*/ 37088 h 70380"/>
                <a:gd name="connsiteX10" fmla="*/ 32602 w 66240"/>
                <a:gd name="connsiteY10" fmla="*/ 53131 h 70380"/>
                <a:gd name="connsiteX11" fmla="*/ 43470 w 66240"/>
                <a:gd name="connsiteY11" fmla="*/ 45713 h 70380"/>
                <a:gd name="connsiteX12" fmla="*/ 44160 w 66240"/>
                <a:gd name="connsiteY12" fmla="*/ 41055 h 70380"/>
                <a:gd name="connsiteX13" fmla="*/ 44160 w 66240"/>
                <a:gd name="connsiteY13" fmla="*/ 173 h 70380"/>
                <a:gd name="connsiteX14" fmla="*/ 65896 w 66240"/>
                <a:gd name="connsiteY14" fmla="*/ 173 h 70380"/>
                <a:gd name="connsiteX15" fmla="*/ 65896 w 66240"/>
                <a:gd name="connsiteY15" fmla="*/ 46748 h 70380"/>
                <a:gd name="connsiteX16" fmla="*/ 65896 w 66240"/>
                <a:gd name="connsiteY16" fmla="*/ 46748 h 70380"/>
                <a:gd name="connsiteX17" fmla="*/ 65896 w 66240"/>
                <a:gd name="connsiteY17" fmla="*/ 46748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0380">
                  <a:moveTo>
                    <a:pt x="65896" y="46748"/>
                  </a:moveTo>
                  <a:cubicBezTo>
                    <a:pt x="65896" y="55890"/>
                    <a:pt x="66068" y="62963"/>
                    <a:pt x="66240" y="68828"/>
                  </a:cubicBezTo>
                  <a:lnTo>
                    <a:pt x="47611" y="68828"/>
                  </a:lnTo>
                  <a:lnTo>
                    <a:pt x="46576" y="59168"/>
                  </a:lnTo>
                  <a:lnTo>
                    <a:pt x="46230" y="59168"/>
                  </a:lnTo>
                  <a:cubicBezTo>
                    <a:pt x="43470" y="63308"/>
                    <a:pt x="37088" y="70381"/>
                    <a:pt x="24495" y="70381"/>
                  </a:cubicBezTo>
                  <a:cubicBezTo>
                    <a:pt x="10522" y="70381"/>
                    <a:pt x="0" y="61756"/>
                    <a:pt x="0" y="40538"/>
                  </a:cubicBezTo>
                  <a:lnTo>
                    <a:pt x="0" y="0"/>
                  </a:lnTo>
                  <a:lnTo>
                    <a:pt x="21735" y="0"/>
                  </a:lnTo>
                  <a:lnTo>
                    <a:pt x="21735" y="37088"/>
                  </a:lnTo>
                  <a:cubicBezTo>
                    <a:pt x="21735" y="46920"/>
                    <a:pt x="24840" y="53131"/>
                    <a:pt x="32602" y="53131"/>
                  </a:cubicBezTo>
                  <a:cubicBezTo>
                    <a:pt x="38468" y="53131"/>
                    <a:pt x="41918" y="49163"/>
                    <a:pt x="43470" y="45713"/>
                  </a:cubicBezTo>
                  <a:cubicBezTo>
                    <a:pt x="44160" y="44506"/>
                    <a:pt x="44160" y="42781"/>
                    <a:pt x="44160" y="41055"/>
                  </a:cubicBezTo>
                  <a:lnTo>
                    <a:pt x="44160" y="173"/>
                  </a:lnTo>
                  <a:lnTo>
                    <a:pt x="65896" y="173"/>
                  </a:lnTo>
                  <a:lnTo>
                    <a:pt x="65896" y="46748"/>
                  </a:lnTo>
                  <a:lnTo>
                    <a:pt x="65896" y="46748"/>
                  </a:lnTo>
                  <a:lnTo>
                    <a:pt x="65896" y="4674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8" name="Gráfico 1344">
              <a:extLst>
                <a:ext uri="{FF2B5EF4-FFF2-40B4-BE49-F238E27FC236}">
                  <a16:creationId xmlns:a16="http://schemas.microsoft.com/office/drawing/2014/main" id="{96A03043-23E0-4F6F-8A56-4E27CDEA0C2E}"/>
                </a:ext>
              </a:extLst>
            </p:cNvPr>
            <p:cNvSpPr/>
            <p:nvPr/>
          </p:nvSpPr>
          <p:spPr>
            <a:xfrm>
              <a:off x="7596847" y="5132763"/>
              <a:ext cx="63997" cy="72622"/>
            </a:xfrm>
            <a:custGeom>
              <a:avLst/>
              <a:gdLst>
                <a:gd name="connsiteX0" fmla="*/ 44160 w 63997"/>
                <a:gd name="connsiteY0" fmla="*/ 71243 h 72622"/>
                <a:gd name="connsiteX1" fmla="*/ 42953 w 63997"/>
                <a:gd name="connsiteY1" fmla="*/ 64170 h 72622"/>
                <a:gd name="connsiteX2" fmla="*/ 42608 w 63997"/>
                <a:gd name="connsiteY2" fmla="*/ 64170 h 72622"/>
                <a:gd name="connsiteX3" fmla="*/ 22598 w 63997"/>
                <a:gd name="connsiteY3" fmla="*/ 72623 h 72622"/>
                <a:gd name="connsiteX4" fmla="*/ 0 w 63997"/>
                <a:gd name="connsiteY4" fmla="*/ 51405 h 72622"/>
                <a:gd name="connsiteX5" fmla="*/ 41228 w 63997"/>
                <a:gd name="connsiteY5" fmla="*/ 24840 h 72622"/>
                <a:gd name="connsiteX6" fmla="*/ 41228 w 63997"/>
                <a:gd name="connsiteY6" fmla="*/ 23805 h 72622"/>
                <a:gd name="connsiteX7" fmla="*/ 28290 w 63997"/>
                <a:gd name="connsiteY7" fmla="*/ 14835 h 72622"/>
                <a:gd name="connsiteX8" fmla="*/ 8970 w 63997"/>
                <a:gd name="connsiteY8" fmla="*/ 20182 h 72622"/>
                <a:gd name="connsiteX9" fmla="*/ 4830 w 63997"/>
                <a:gd name="connsiteY9" fmla="*/ 6210 h 72622"/>
                <a:gd name="connsiteX10" fmla="*/ 32085 w 63997"/>
                <a:gd name="connsiteY10" fmla="*/ 0 h 72622"/>
                <a:gd name="connsiteX11" fmla="*/ 62963 w 63997"/>
                <a:gd name="connsiteY11" fmla="*/ 29842 h 72622"/>
                <a:gd name="connsiteX12" fmla="*/ 62963 w 63997"/>
                <a:gd name="connsiteY12" fmla="*/ 53820 h 72622"/>
                <a:gd name="connsiteX13" fmla="*/ 63998 w 63997"/>
                <a:gd name="connsiteY13" fmla="*/ 70725 h 72622"/>
                <a:gd name="connsiteX14" fmla="*/ 43988 w 63997"/>
                <a:gd name="connsiteY14" fmla="*/ 70725 h 72622"/>
                <a:gd name="connsiteX15" fmla="*/ 43988 w 63997"/>
                <a:gd name="connsiteY15" fmla="*/ 71243 h 72622"/>
                <a:gd name="connsiteX16" fmla="*/ 44160 w 63997"/>
                <a:gd name="connsiteY16" fmla="*/ 71243 h 72622"/>
                <a:gd name="connsiteX17" fmla="*/ 41573 w 63997"/>
                <a:gd name="connsiteY17" fmla="*/ 38640 h 72622"/>
                <a:gd name="connsiteX18" fmla="*/ 21218 w 63997"/>
                <a:gd name="connsiteY18" fmla="*/ 49508 h 72622"/>
                <a:gd name="connsiteX19" fmla="*/ 29843 w 63997"/>
                <a:gd name="connsiteY19" fmla="*/ 57787 h 72622"/>
                <a:gd name="connsiteX20" fmla="*/ 41228 w 63997"/>
                <a:gd name="connsiteY20" fmla="*/ 50025 h 72622"/>
                <a:gd name="connsiteX21" fmla="*/ 41573 w 63997"/>
                <a:gd name="connsiteY21" fmla="*/ 46402 h 72622"/>
                <a:gd name="connsiteX22" fmla="*/ 41573 w 63997"/>
                <a:gd name="connsiteY22" fmla="*/ 38640 h 72622"/>
                <a:gd name="connsiteX23" fmla="*/ 41573 w 63997"/>
                <a:gd name="connsiteY23" fmla="*/ 38640 h 72622"/>
                <a:gd name="connsiteX24" fmla="*/ 41573 w 63997"/>
                <a:gd name="connsiteY24" fmla="*/ 38640 h 7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997" h="72622">
                  <a:moveTo>
                    <a:pt x="44160" y="71243"/>
                  </a:moveTo>
                  <a:lnTo>
                    <a:pt x="42953" y="64170"/>
                  </a:lnTo>
                  <a:lnTo>
                    <a:pt x="42608" y="64170"/>
                  </a:lnTo>
                  <a:cubicBezTo>
                    <a:pt x="38123" y="69690"/>
                    <a:pt x="30878" y="72623"/>
                    <a:pt x="22598" y="72623"/>
                  </a:cubicBezTo>
                  <a:cubicBezTo>
                    <a:pt x="8452" y="72623"/>
                    <a:pt x="0" y="62445"/>
                    <a:pt x="0" y="51405"/>
                  </a:cubicBezTo>
                  <a:cubicBezTo>
                    <a:pt x="0" y="33465"/>
                    <a:pt x="16388" y="24668"/>
                    <a:pt x="41228" y="24840"/>
                  </a:cubicBezTo>
                  <a:lnTo>
                    <a:pt x="41228" y="23805"/>
                  </a:lnTo>
                  <a:cubicBezTo>
                    <a:pt x="41228" y="20182"/>
                    <a:pt x="39330" y="14835"/>
                    <a:pt x="28290" y="14835"/>
                  </a:cubicBezTo>
                  <a:cubicBezTo>
                    <a:pt x="21218" y="14835"/>
                    <a:pt x="13455" y="17250"/>
                    <a:pt x="8970" y="20182"/>
                  </a:cubicBezTo>
                  <a:lnTo>
                    <a:pt x="4830" y="6210"/>
                  </a:lnTo>
                  <a:cubicBezTo>
                    <a:pt x="9833" y="3622"/>
                    <a:pt x="19147" y="0"/>
                    <a:pt x="32085" y="0"/>
                  </a:cubicBezTo>
                  <a:cubicBezTo>
                    <a:pt x="55545" y="0"/>
                    <a:pt x="62963" y="13627"/>
                    <a:pt x="62963" y="29842"/>
                  </a:cubicBezTo>
                  <a:lnTo>
                    <a:pt x="62963" y="53820"/>
                  </a:lnTo>
                  <a:cubicBezTo>
                    <a:pt x="62963" y="60375"/>
                    <a:pt x="63136" y="66758"/>
                    <a:pt x="63998" y="70725"/>
                  </a:cubicBezTo>
                  <a:lnTo>
                    <a:pt x="43988" y="70725"/>
                  </a:lnTo>
                  <a:lnTo>
                    <a:pt x="43988" y="71243"/>
                  </a:lnTo>
                  <a:lnTo>
                    <a:pt x="44160" y="71243"/>
                  </a:lnTo>
                  <a:close/>
                  <a:moveTo>
                    <a:pt x="41573" y="38640"/>
                  </a:moveTo>
                  <a:cubicBezTo>
                    <a:pt x="30015" y="38467"/>
                    <a:pt x="21218" y="41228"/>
                    <a:pt x="21218" y="49508"/>
                  </a:cubicBezTo>
                  <a:cubicBezTo>
                    <a:pt x="21218" y="55027"/>
                    <a:pt x="24840" y="57787"/>
                    <a:pt x="29843" y="57787"/>
                  </a:cubicBezTo>
                  <a:cubicBezTo>
                    <a:pt x="35190" y="57787"/>
                    <a:pt x="39675" y="54165"/>
                    <a:pt x="41228" y="50025"/>
                  </a:cubicBezTo>
                  <a:cubicBezTo>
                    <a:pt x="41400" y="48990"/>
                    <a:pt x="41573" y="47438"/>
                    <a:pt x="41573" y="46402"/>
                  </a:cubicBezTo>
                  <a:lnTo>
                    <a:pt x="41573" y="38640"/>
                  </a:lnTo>
                  <a:lnTo>
                    <a:pt x="41573" y="38640"/>
                  </a:lnTo>
                  <a:lnTo>
                    <a:pt x="41573" y="3864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79" name="Gráfico 1344">
              <a:extLst>
                <a:ext uri="{FF2B5EF4-FFF2-40B4-BE49-F238E27FC236}">
                  <a16:creationId xmlns:a16="http://schemas.microsoft.com/office/drawing/2014/main" id="{034EE0B3-54B1-41F9-BD0A-B53E128C6BF2}"/>
                </a:ext>
              </a:extLst>
            </p:cNvPr>
            <p:cNvSpPr/>
            <p:nvPr/>
          </p:nvSpPr>
          <p:spPr>
            <a:xfrm>
              <a:off x="7675508" y="5132935"/>
              <a:ext cx="43642" cy="70380"/>
            </a:xfrm>
            <a:custGeom>
              <a:avLst/>
              <a:gdLst>
                <a:gd name="connsiteX0" fmla="*/ 690 w 43642"/>
                <a:gd name="connsiteY0" fmla="*/ 24323 h 70380"/>
                <a:gd name="connsiteX1" fmla="*/ 0 w 43642"/>
                <a:gd name="connsiteY1" fmla="*/ 1552 h 70380"/>
                <a:gd name="connsiteX2" fmla="*/ 18803 w 43642"/>
                <a:gd name="connsiteY2" fmla="*/ 1552 h 70380"/>
                <a:gd name="connsiteX3" fmla="*/ 19493 w 43642"/>
                <a:gd name="connsiteY3" fmla="*/ 14145 h 70380"/>
                <a:gd name="connsiteX4" fmla="*/ 20183 w 43642"/>
                <a:gd name="connsiteY4" fmla="*/ 14145 h 70380"/>
                <a:gd name="connsiteX5" fmla="*/ 39158 w 43642"/>
                <a:gd name="connsiteY5" fmla="*/ 0 h 70380"/>
                <a:gd name="connsiteX6" fmla="*/ 43643 w 43642"/>
                <a:gd name="connsiteY6" fmla="*/ 345 h 70380"/>
                <a:gd name="connsiteX7" fmla="*/ 43643 w 43642"/>
                <a:gd name="connsiteY7" fmla="*/ 20355 h 70380"/>
                <a:gd name="connsiteX8" fmla="*/ 37778 w 43642"/>
                <a:gd name="connsiteY8" fmla="*/ 20010 h 70380"/>
                <a:gd name="connsiteX9" fmla="*/ 22943 w 43642"/>
                <a:gd name="connsiteY9" fmla="*/ 30705 h 70380"/>
                <a:gd name="connsiteX10" fmla="*/ 22598 w 43642"/>
                <a:gd name="connsiteY10" fmla="*/ 35535 h 70380"/>
                <a:gd name="connsiteX11" fmla="*/ 22598 w 43642"/>
                <a:gd name="connsiteY11" fmla="*/ 70381 h 70380"/>
                <a:gd name="connsiteX12" fmla="*/ 862 w 43642"/>
                <a:gd name="connsiteY12" fmla="*/ 70381 h 70380"/>
                <a:gd name="connsiteX13" fmla="*/ 862 w 43642"/>
                <a:gd name="connsiteY13" fmla="*/ 24323 h 70380"/>
                <a:gd name="connsiteX14" fmla="*/ 690 w 43642"/>
                <a:gd name="connsiteY14" fmla="*/ 24323 h 70380"/>
                <a:gd name="connsiteX15" fmla="*/ 690 w 43642"/>
                <a:gd name="connsiteY15" fmla="*/ 24323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0380">
                  <a:moveTo>
                    <a:pt x="690" y="24323"/>
                  </a:moveTo>
                  <a:cubicBezTo>
                    <a:pt x="690" y="14145"/>
                    <a:pt x="517" y="7417"/>
                    <a:pt x="0" y="1552"/>
                  </a:cubicBezTo>
                  <a:lnTo>
                    <a:pt x="18803" y="1552"/>
                  </a:lnTo>
                  <a:lnTo>
                    <a:pt x="19493" y="14145"/>
                  </a:lnTo>
                  <a:lnTo>
                    <a:pt x="20183" y="14145"/>
                  </a:lnTo>
                  <a:cubicBezTo>
                    <a:pt x="23805" y="4313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345"/>
                  </a:cubicBezTo>
                  <a:lnTo>
                    <a:pt x="43643" y="20355"/>
                  </a:lnTo>
                  <a:cubicBezTo>
                    <a:pt x="42090" y="20183"/>
                    <a:pt x="40193" y="20010"/>
                    <a:pt x="37778" y="20010"/>
                  </a:cubicBezTo>
                  <a:cubicBezTo>
                    <a:pt x="29670" y="20010"/>
                    <a:pt x="24150" y="24150"/>
                    <a:pt x="22943" y="30705"/>
                  </a:cubicBezTo>
                  <a:cubicBezTo>
                    <a:pt x="22770" y="32258"/>
                    <a:pt x="22598" y="33638"/>
                    <a:pt x="22598" y="35535"/>
                  </a:cubicBezTo>
                  <a:lnTo>
                    <a:pt x="22598" y="70381"/>
                  </a:lnTo>
                  <a:lnTo>
                    <a:pt x="862" y="70381"/>
                  </a:lnTo>
                  <a:lnTo>
                    <a:pt x="862" y="24323"/>
                  </a:lnTo>
                  <a:lnTo>
                    <a:pt x="690" y="24323"/>
                  </a:lnTo>
                  <a:lnTo>
                    <a:pt x="690" y="243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0" name="Gráfico 1344">
              <a:extLst>
                <a:ext uri="{FF2B5EF4-FFF2-40B4-BE49-F238E27FC236}">
                  <a16:creationId xmlns:a16="http://schemas.microsoft.com/office/drawing/2014/main" id="{3175BA55-E1B8-43BB-BE7F-312609D72F82}"/>
                </a:ext>
              </a:extLst>
            </p:cNvPr>
            <p:cNvSpPr/>
            <p:nvPr/>
          </p:nvSpPr>
          <p:spPr>
            <a:xfrm>
              <a:off x="7725361" y="5104127"/>
              <a:ext cx="62100" cy="101430"/>
            </a:xfrm>
            <a:custGeom>
              <a:avLst/>
              <a:gdLst>
                <a:gd name="connsiteX0" fmla="*/ 42780 w 62100"/>
                <a:gd name="connsiteY0" fmla="*/ 99878 h 101430"/>
                <a:gd name="connsiteX1" fmla="*/ 41572 w 62100"/>
                <a:gd name="connsiteY1" fmla="*/ 92806 h 101430"/>
                <a:gd name="connsiteX2" fmla="*/ 41228 w 62100"/>
                <a:gd name="connsiteY2" fmla="*/ 92806 h 101430"/>
                <a:gd name="connsiteX3" fmla="*/ 21907 w 62100"/>
                <a:gd name="connsiteY3" fmla="*/ 101431 h 101430"/>
                <a:gd name="connsiteX4" fmla="*/ 0 w 62100"/>
                <a:gd name="connsiteY4" fmla="*/ 80040 h 101430"/>
                <a:gd name="connsiteX5" fmla="*/ 39848 w 62100"/>
                <a:gd name="connsiteY5" fmla="*/ 53303 h 101430"/>
                <a:gd name="connsiteX6" fmla="*/ 39848 w 62100"/>
                <a:gd name="connsiteY6" fmla="*/ 52268 h 101430"/>
                <a:gd name="connsiteX7" fmla="*/ 27600 w 62100"/>
                <a:gd name="connsiteY7" fmla="*/ 43297 h 101430"/>
                <a:gd name="connsiteX8" fmla="*/ 8797 w 62100"/>
                <a:gd name="connsiteY8" fmla="*/ 48645 h 101430"/>
                <a:gd name="connsiteX9" fmla="*/ 4830 w 62100"/>
                <a:gd name="connsiteY9" fmla="*/ 34500 h 101430"/>
                <a:gd name="connsiteX10" fmla="*/ 31223 w 62100"/>
                <a:gd name="connsiteY10" fmla="*/ 28290 h 101430"/>
                <a:gd name="connsiteX11" fmla="*/ 61065 w 62100"/>
                <a:gd name="connsiteY11" fmla="*/ 58478 h 101430"/>
                <a:gd name="connsiteX12" fmla="*/ 61065 w 62100"/>
                <a:gd name="connsiteY12" fmla="*/ 82628 h 101430"/>
                <a:gd name="connsiteX13" fmla="*/ 62100 w 62100"/>
                <a:gd name="connsiteY13" fmla="*/ 99706 h 101430"/>
                <a:gd name="connsiteX14" fmla="*/ 42953 w 62100"/>
                <a:gd name="connsiteY14" fmla="*/ 99706 h 101430"/>
                <a:gd name="connsiteX15" fmla="*/ 42953 w 62100"/>
                <a:gd name="connsiteY15" fmla="*/ 99878 h 101430"/>
                <a:gd name="connsiteX16" fmla="*/ 42780 w 62100"/>
                <a:gd name="connsiteY16" fmla="*/ 99878 h 101430"/>
                <a:gd name="connsiteX17" fmla="*/ 40193 w 62100"/>
                <a:gd name="connsiteY17" fmla="*/ 67103 h 101430"/>
                <a:gd name="connsiteX18" fmla="*/ 20355 w 62100"/>
                <a:gd name="connsiteY18" fmla="*/ 77970 h 101430"/>
                <a:gd name="connsiteX19" fmla="*/ 28635 w 62100"/>
                <a:gd name="connsiteY19" fmla="*/ 86251 h 101430"/>
                <a:gd name="connsiteX20" fmla="*/ 39675 w 62100"/>
                <a:gd name="connsiteY20" fmla="*/ 78143 h 101430"/>
                <a:gd name="connsiteX21" fmla="*/ 40020 w 62100"/>
                <a:gd name="connsiteY21" fmla="*/ 74520 h 101430"/>
                <a:gd name="connsiteX22" fmla="*/ 40020 w 62100"/>
                <a:gd name="connsiteY22" fmla="*/ 67103 h 101430"/>
                <a:gd name="connsiteX23" fmla="*/ 40193 w 62100"/>
                <a:gd name="connsiteY23" fmla="*/ 67103 h 101430"/>
                <a:gd name="connsiteX24" fmla="*/ 40193 w 62100"/>
                <a:gd name="connsiteY24" fmla="*/ 67103 h 101430"/>
                <a:gd name="connsiteX25" fmla="*/ 54165 w 62100"/>
                <a:gd name="connsiteY25" fmla="*/ 0 h 101430"/>
                <a:gd name="connsiteX26" fmla="*/ 37260 w 62100"/>
                <a:gd name="connsiteY26" fmla="*/ 21563 h 101430"/>
                <a:gd name="connsiteX27" fmla="*/ 22598 w 62100"/>
                <a:gd name="connsiteY27" fmla="*/ 21563 h 101430"/>
                <a:gd name="connsiteX28" fmla="*/ 34672 w 62100"/>
                <a:gd name="connsiteY28" fmla="*/ 0 h 101430"/>
                <a:gd name="connsiteX29" fmla="*/ 54165 w 62100"/>
                <a:gd name="connsiteY29" fmla="*/ 0 h 101430"/>
                <a:gd name="connsiteX30" fmla="*/ 54165 w 62100"/>
                <a:gd name="connsiteY30" fmla="*/ 0 h 101430"/>
                <a:gd name="connsiteX31" fmla="*/ 54165 w 62100"/>
                <a:gd name="connsiteY31" fmla="*/ 0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2100" h="101430">
                  <a:moveTo>
                    <a:pt x="42780" y="99878"/>
                  </a:moveTo>
                  <a:lnTo>
                    <a:pt x="41572" y="92806"/>
                  </a:lnTo>
                  <a:lnTo>
                    <a:pt x="41228" y="92806"/>
                  </a:lnTo>
                  <a:cubicBezTo>
                    <a:pt x="36915" y="98325"/>
                    <a:pt x="29842" y="101431"/>
                    <a:pt x="21907" y="101431"/>
                  </a:cubicBezTo>
                  <a:cubicBezTo>
                    <a:pt x="8108" y="101431"/>
                    <a:pt x="0" y="91253"/>
                    <a:pt x="0" y="80040"/>
                  </a:cubicBezTo>
                  <a:cubicBezTo>
                    <a:pt x="0" y="61928"/>
                    <a:pt x="15870" y="53130"/>
                    <a:pt x="39848" y="53303"/>
                  </a:cubicBezTo>
                  <a:lnTo>
                    <a:pt x="39848" y="52268"/>
                  </a:lnTo>
                  <a:cubicBezTo>
                    <a:pt x="39848" y="48645"/>
                    <a:pt x="37950" y="43297"/>
                    <a:pt x="27600" y="43297"/>
                  </a:cubicBezTo>
                  <a:cubicBezTo>
                    <a:pt x="20700" y="43297"/>
                    <a:pt x="13282" y="45885"/>
                    <a:pt x="8797" y="48645"/>
                  </a:cubicBezTo>
                  <a:lnTo>
                    <a:pt x="4830" y="34500"/>
                  </a:lnTo>
                  <a:cubicBezTo>
                    <a:pt x="9487" y="31912"/>
                    <a:pt x="18803" y="28290"/>
                    <a:pt x="31223" y="28290"/>
                  </a:cubicBezTo>
                  <a:cubicBezTo>
                    <a:pt x="53992" y="28290"/>
                    <a:pt x="61065" y="41918"/>
                    <a:pt x="61065" y="58478"/>
                  </a:cubicBezTo>
                  <a:lnTo>
                    <a:pt x="61065" y="82628"/>
                  </a:lnTo>
                  <a:cubicBezTo>
                    <a:pt x="61065" y="89528"/>
                    <a:pt x="61238" y="95911"/>
                    <a:pt x="62100" y="99706"/>
                  </a:cubicBezTo>
                  <a:lnTo>
                    <a:pt x="42953" y="99706"/>
                  </a:lnTo>
                  <a:lnTo>
                    <a:pt x="42953" y="99878"/>
                  </a:lnTo>
                  <a:lnTo>
                    <a:pt x="42780" y="99878"/>
                  </a:lnTo>
                  <a:close/>
                  <a:moveTo>
                    <a:pt x="40193" y="67103"/>
                  </a:moveTo>
                  <a:cubicBezTo>
                    <a:pt x="29153" y="66931"/>
                    <a:pt x="20355" y="69690"/>
                    <a:pt x="20355" y="77970"/>
                  </a:cubicBezTo>
                  <a:cubicBezTo>
                    <a:pt x="20355" y="83491"/>
                    <a:pt x="23977" y="86251"/>
                    <a:pt x="28635" y="86251"/>
                  </a:cubicBezTo>
                  <a:cubicBezTo>
                    <a:pt x="33810" y="86251"/>
                    <a:pt x="38295" y="82628"/>
                    <a:pt x="39675" y="78143"/>
                  </a:cubicBezTo>
                  <a:cubicBezTo>
                    <a:pt x="39848" y="77108"/>
                    <a:pt x="40020" y="75728"/>
                    <a:pt x="40020" y="74520"/>
                  </a:cubicBezTo>
                  <a:lnTo>
                    <a:pt x="40020" y="67103"/>
                  </a:lnTo>
                  <a:lnTo>
                    <a:pt x="40193" y="67103"/>
                  </a:lnTo>
                  <a:lnTo>
                    <a:pt x="40193" y="67103"/>
                  </a:lnTo>
                  <a:close/>
                  <a:moveTo>
                    <a:pt x="54165" y="0"/>
                  </a:moveTo>
                  <a:lnTo>
                    <a:pt x="37260" y="21563"/>
                  </a:lnTo>
                  <a:lnTo>
                    <a:pt x="22598" y="21563"/>
                  </a:lnTo>
                  <a:lnTo>
                    <a:pt x="34672" y="0"/>
                  </a:lnTo>
                  <a:lnTo>
                    <a:pt x="54165" y="0"/>
                  </a:lnTo>
                  <a:lnTo>
                    <a:pt x="54165" y="0"/>
                  </a:lnTo>
                  <a:lnTo>
                    <a:pt x="54165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81" name="Agrupar 880">
            <a:extLst>
              <a:ext uri="{FF2B5EF4-FFF2-40B4-BE49-F238E27FC236}">
                <a16:creationId xmlns:a16="http://schemas.microsoft.com/office/drawing/2014/main" id="{5FA8269A-8475-45E7-A322-0B8A4EDD16D5}"/>
              </a:ext>
            </a:extLst>
          </p:cNvPr>
          <p:cNvGrpSpPr/>
          <p:nvPr/>
        </p:nvGrpSpPr>
        <p:grpSpPr>
          <a:xfrm>
            <a:off x="7271824" y="4789399"/>
            <a:ext cx="683105" cy="103673"/>
            <a:chOff x="7104184" y="4783275"/>
            <a:chExt cx="683105" cy="103673"/>
          </a:xfrm>
        </p:grpSpPr>
        <p:sp>
          <p:nvSpPr>
            <p:cNvPr id="882" name="Gráfico 1344">
              <a:extLst>
                <a:ext uri="{FF2B5EF4-FFF2-40B4-BE49-F238E27FC236}">
                  <a16:creationId xmlns:a16="http://schemas.microsoft.com/office/drawing/2014/main" id="{1E1A9F3F-3926-4C53-82F0-69CA908D4F8A}"/>
                </a:ext>
              </a:extLst>
            </p:cNvPr>
            <p:cNvSpPr/>
            <p:nvPr/>
          </p:nvSpPr>
          <p:spPr>
            <a:xfrm>
              <a:off x="7104184" y="4789485"/>
              <a:ext cx="74520" cy="95221"/>
            </a:xfrm>
            <a:custGeom>
              <a:avLst/>
              <a:gdLst>
                <a:gd name="connsiteX0" fmla="*/ 26220 w 74520"/>
                <a:gd name="connsiteY0" fmla="*/ 18113 h 95221"/>
                <a:gd name="connsiteX1" fmla="*/ 0 w 74520"/>
                <a:gd name="connsiteY1" fmla="*/ 18113 h 95221"/>
                <a:gd name="connsiteX2" fmla="*/ 0 w 74520"/>
                <a:gd name="connsiteY2" fmla="*/ 0 h 95221"/>
                <a:gd name="connsiteX3" fmla="*/ 74521 w 74520"/>
                <a:gd name="connsiteY3" fmla="*/ 0 h 95221"/>
                <a:gd name="connsiteX4" fmla="*/ 74521 w 74520"/>
                <a:gd name="connsiteY4" fmla="*/ 18113 h 95221"/>
                <a:gd name="connsiteX5" fmla="*/ 48128 w 74520"/>
                <a:gd name="connsiteY5" fmla="*/ 18113 h 95221"/>
                <a:gd name="connsiteX6" fmla="*/ 48128 w 74520"/>
                <a:gd name="connsiteY6" fmla="*/ 95221 h 95221"/>
                <a:gd name="connsiteX7" fmla="*/ 26220 w 74520"/>
                <a:gd name="connsiteY7" fmla="*/ 95221 h 95221"/>
                <a:gd name="connsiteX8" fmla="*/ 26220 w 74520"/>
                <a:gd name="connsiteY8" fmla="*/ 18113 h 9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5221">
                  <a:moveTo>
                    <a:pt x="26220" y="18113"/>
                  </a:moveTo>
                  <a:lnTo>
                    <a:pt x="0" y="18113"/>
                  </a:lnTo>
                  <a:lnTo>
                    <a:pt x="0" y="0"/>
                  </a:lnTo>
                  <a:lnTo>
                    <a:pt x="74521" y="0"/>
                  </a:lnTo>
                  <a:lnTo>
                    <a:pt x="74521" y="18113"/>
                  </a:lnTo>
                  <a:lnTo>
                    <a:pt x="48128" y="18113"/>
                  </a:lnTo>
                  <a:lnTo>
                    <a:pt x="48128" y="95221"/>
                  </a:lnTo>
                  <a:lnTo>
                    <a:pt x="26220" y="95221"/>
                  </a:lnTo>
                  <a:lnTo>
                    <a:pt x="26220" y="181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3" name="Gráfico 1344">
              <a:extLst>
                <a:ext uri="{FF2B5EF4-FFF2-40B4-BE49-F238E27FC236}">
                  <a16:creationId xmlns:a16="http://schemas.microsoft.com/office/drawing/2014/main" id="{304C2AC6-A545-492C-B8D0-721A2B5A23A6}"/>
                </a:ext>
              </a:extLst>
            </p:cNvPr>
            <p:cNvSpPr/>
            <p:nvPr/>
          </p:nvSpPr>
          <p:spPr>
            <a:xfrm>
              <a:off x="7189054" y="4789485"/>
              <a:ext cx="22770" cy="95221"/>
            </a:xfrm>
            <a:custGeom>
              <a:avLst/>
              <a:gdLst>
                <a:gd name="connsiteX0" fmla="*/ 0 w 22770"/>
                <a:gd name="connsiteY0" fmla="*/ 0 h 95221"/>
                <a:gd name="connsiteX1" fmla="*/ 22770 w 22770"/>
                <a:gd name="connsiteY1" fmla="*/ 0 h 95221"/>
                <a:gd name="connsiteX2" fmla="*/ 22770 w 22770"/>
                <a:gd name="connsiteY2" fmla="*/ 95221 h 95221"/>
                <a:gd name="connsiteX3" fmla="*/ 0 w 22770"/>
                <a:gd name="connsiteY3" fmla="*/ 95221 h 95221"/>
                <a:gd name="connsiteX4" fmla="*/ 0 w 22770"/>
                <a:gd name="connsiteY4" fmla="*/ 0 h 9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0" h="95221">
                  <a:moveTo>
                    <a:pt x="0" y="0"/>
                  </a:moveTo>
                  <a:lnTo>
                    <a:pt x="22770" y="0"/>
                  </a:lnTo>
                  <a:lnTo>
                    <a:pt x="2277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4" name="Gráfico 1344">
              <a:extLst>
                <a:ext uri="{FF2B5EF4-FFF2-40B4-BE49-F238E27FC236}">
                  <a16:creationId xmlns:a16="http://schemas.microsoft.com/office/drawing/2014/main" id="{C42E306A-6E65-452C-BBA1-F742A4C8C5C8}"/>
                </a:ext>
              </a:extLst>
            </p:cNvPr>
            <p:cNvSpPr/>
            <p:nvPr/>
          </p:nvSpPr>
          <p:spPr>
            <a:xfrm>
              <a:off x="7257365" y="4789485"/>
              <a:ext cx="78660" cy="97290"/>
            </a:xfrm>
            <a:custGeom>
              <a:avLst/>
              <a:gdLst>
                <a:gd name="connsiteX0" fmla="*/ 22080 w 78660"/>
                <a:gd name="connsiteY0" fmla="*/ 0 h 97290"/>
                <a:gd name="connsiteX1" fmla="*/ 22080 w 78660"/>
                <a:gd name="connsiteY1" fmla="*/ 55201 h 97290"/>
                <a:gd name="connsiteX2" fmla="*/ 39330 w 78660"/>
                <a:gd name="connsiteY2" fmla="*/ 80041 h 97290"/>
                <a:gd name="connsiteX3" fmla="*/ 57098 w 78660"/>
                <a:gd name="connsiteY3" fmla="*/ 55201 h 97290"/>
                <a:gd name="connsiteX4" fmla="*/ 57098 w 78660"/>
                <a:gd name="connsiteY4" fmla="*/ 0 h 97290"/>
                <a:gd name="connsiteX5" fmla="*/ 78661 w 78660"/>
                <a:gd name="connsiteY5" fmla="*/ 0 h 97290"/>
                <a:gd name="connsiteX6" fmla="*/ 78661 w 78660"/>
                <a:gd name="connsiteY6" fmla="*/ 53648 h 97290"/>
                <a:gd name="connsiteX7" fmla="*/ 38467 w 78660"/>
                <a:gd name="connsiteY7" fmla="*/ 97291 h 97290"/>
                <a:gd name="connsiteX8" fmla="*/ 0 w 78660"/>
                <a:gd name="connsiteY8" fmla="*/ 53475 h 97290"/>
                <a:gd name="connsiteX9" fmla="*/ 0 w 78660"/>
                <a:gd name="connsiteY9" fmla="*/ 0 h 97290"/>
                <a:gd name="connsiteX10" fmla="*/ 22080 w 78660"/>
                <a:gd name="connsiteY10" fmla="*/ 0 h 97290"/>
                <a:gd name="connsiteX11" fmla="*/ 22080 w 78660"/>
                <a:gd name="connsiteY11" fmla="*/ 0 h 97290"/>
                <a:gd name="connsiteX12" fmla="*/ 22080 w 78660"/>
                <a:gd name="connsiteY12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60" h="97290">
                  <a:moveTo>
                    <a:pt x="22080" y="0"/>
                  </a:moveTo>
                  <a:lnTo>
                    <a:pt x="22080" y="55201"/>
                  </a:lnTo>
                  <a:cubicBezTo>
                    <a:pt x="22080" y="71588"/>
                    <a:pt x="28290" y="80041"/>
                    <a:pt x="39330" y="80041"/>
                  </a:cubicBezTo>
                  <a:cubicBezTo>
                    <a:pt x="50715" y="80041"/>
                    <a:pt x="57098" y="72106"/>
                    <a:pt x="57098" y="55201"/>
                  </a:cubicBezTo>
                  <a:lnTo>
                    <a:pt x="57098" y="0"/>
                  </a:lnTo>
                  <a:lnTo>
                    <a:pt x="78661" y="0"/>
                  </a:lnTo>
                  <a:lnTo>
                    <a:pt x="78661" y="53648"/>
                  </a:lnTo>
                  <a:cubicBezTo>
                    <a:pt x="78661" y="83318"/>
                    <a:pt x="63653" y="97291"/>
                    <a:pt x="38467" y="97291"/>
                  </a:cubicBezTo>
                  <a:cubicBezTo>
                    <a:pt x="14317" y="97291"/>
                    <a:pt x="0" y="84009"/>
                    <a:pt x="0" y="53475"/>
                  </a:cubicBezTo>
                  <a:lnTo>
                    <a:pt x="0" y="0"/>
                  </a:lnTo>
                  <a:lnTo>
                    <a:pt x="22080" y="0"/>
                  </a:lnTo>
                  <a:lnTo>
                    <a:pt x="22080" y="0"/>
                  </a:lnTo>
                  <a:lnTo>
                    <a:pt x="2208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5" name="Gráfico 1344">
              <a:extLst>
                <a:ext uri="{FF2B5EF4-FFF2-40B4-BE49-F238E27FC236}">
                  <a16:creationId xmlns:a16="http://schemas.microsoft.com/office/drawing/2014/main" id="{AE4E4255-BCB1-4BBB-BD5E-61845A410E51}"/>
                </a:ext>
              </a:extLst>
            </p:cNvPr>
            <p:cNvSpPr/>
            <p:nvPr/>
          </p:nvSpPr>
          <p:spPr>
            <a:xfrm>
              <a:off x="7354655" y="4783275"/>
              <a:ext cx="72450" cy="103500"/>
            </a:xfrm>
            <a:custGeom>
              <a:avLst/>
              <a:gdLst>
                <a:gd name="connsiteX0" fmla="*/ 0 w 72450"/>
                <a:gd name="connsiteY0" fmla="*/ 101948 h 103500"/>
                <a:gd name="connsiteX1" fmla="*/ 690 w 72450"/>
                <a:gd name="connsiteY1" fmla="*/ 81075 h 103500"/>
                <a:gd name="connsiteX2" fmla="*/ 690 w 72450"/>
                <a:gd name="connsiteY2" fmla="*/ 0 h 103500"/>
                <a:gd name="connsiteX3" fmla="*/ 22425 w 72450"/>
                <a:gd name="connsiteY3" fmla="*/ 0 h 103500"/>
                <a:gd name="connsiteX4" fmla="*/ 22425 w 72450"/>
                <a:gd name="connsiteY4" fmla="*/ 40020 h 103500"/>
                <a:gd name="connsiteX5" fmla="*/ 22598 w 72450"/>
                <a:gd name="connsiteY5" fmla="*/ 40020 h 103500"/>
                <a:gd name="connsiteX6" fmla="*/ 43643 w 72450"/>
                <a:gd name="connsiteY6" fmla="*/ 30188 h 103500"/>
                <a:gd name="connsiteX7" fmla="*/ 72451 w 72450"/>
                <a:gd name="connsiteY7" fmla="*/ 65550 h 103500"/>
                <a:gd name="connsiteX8" fmla="*/ 40711 w 72450"/>
                <a:gd name="connsiteY8" fmla="*/ 103501 h 103500"/>
                <a:gd name="connsiteX9" fmla="*/ 19838 w 72450"/>
                <a:gd name="connsiteY9" fmla="*/ 92116 h 103500"/>
                <a:gd name="connsiteX10" fmla="*/ 19665 w 72450"/>
                <a:gd name="connsiteY10" fmla="*/ 92116 h 103500"/>
                <a:gd name="connsiteX11" fmla="*/ 18803 w 72450"/>
                <a:gd name="connsiteY11" fmla="*/ 101776 h 103500"/>
                <a:gd name="connsiteX12" fmla="*/ 0 w 72450"/>
                <a:gd name="connsiteY12" fmla="*/ 101776 h 103500"/>
                <a:gd name="connsiteX13" fmla="*/ 0 w 72450"/>
                <a:gd name="connsiteY13" fmla="*/ 101948 h 103500"/>
                <a:gd name="connsiteX14" fmla="*/ 0 w 72450"/>
                <a:gd name="connsiteY14" fmla="*/ 101948 h 103500"/>
                <a:gd name="connsiteX15" fmla="*/ 22080 w 72450"/>
                <a:gd name="connsiteY15" fmla="*/ 71933 h 103500"/>
                <a:gd name="connsiteX16" fmla="*/ 22425 w 72450"/>
                <a:gd name="connsiteY16" fmla="*/ 75728 h 103500"/>
                <a:gd name="connsiteX17" fmla="*/ 35018 w 72450"/>
                <a:gd name="connsiteY17" fmla="*/ 86078 h 103500"/>
                <a:gd name="connsiteX18" fmla="*/ 49853 w 72450"/>
                <a:gd name="connsiteY18" fmla="*/ 66240 h 103500"/>
                <a:gd name="connsiteX19" fmla="*/ 35018 w 72450"/>
                <a:gd name="connsiteY19" fmla="*/ 46575 h 103500"/>
                <a:gd name="connsiteX20" fmla="*/ 22425 w 72450"/>
                <a:gd name="connsiteY20" fmla="*/ 57443 h 103500"/>
                <a:gd name="connsiteX21" fmla="*/ 22080 w 72450"/>
                <a:gd name="connsiteY21" fmla="*/ 61583 h 103500"/>
                <a:gd name="connsiteX22" fmla="*/ 22080 w 72450"/>
                <a:gd name="connsiteY22" fmla="*/ 71933 h 103500"/>
                <a:gd name="connsiteX23" fmla="*/ 22080 w 72450"/>
                <a:gd name="connsiteY23" fmla="*/ 71933 h 103500"/>
                <a:gd name="connsiteX24" fmla="*/ 22080 w 72450"/>
                <a:gd name="connsiteY24" fmla="*/ 7193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2450" h="103500">
                  <a:moveTo>
                    <a:pt x="0" y="101948"/>
                  </a:moveTo>
                  <a:cubicBezTo>
                    <a:pt x="173" y="97463"/>
                    <a:pt x="690" y="88838"/>
                    <a:pt x="690" y="81075"/>
                  </a:cubicBezTo>
                  <a:lnTo>
                    <a:pt x="690" y="0"/>
                  </a:lnTo>
                  <a:lnTo>
                    <a:pt x="22425" y="0"/>
                  </a:lnTo>
                  <a:lnTo>
                    <a:pt x="22425" y="40020"/>
                  </a:lnTo>
                  <a:lnTo>
                    <a:pt x="22598" y="40020"/>
                  </a:lnTo>
                  <a:cubicBezTo>
                    <a:pt x="26565" y="33983"/>
                    <a:pt x="33811" y="30188"/>
                    <a:pt x="43643" y="30188"/>
                  </a:cubicBezTo>
                  <a:cubicBezTo>
                    <a:pt x="60203" y="30188"/>
                    <a:pt x="72451" y="44160"/>
                    <a:pt x="72451" y="65550"/>
                  </a:cubicBezTo>
                  <a:cubicBezTo>
                    <a:pt x="72451" y="90908"/>
                    <a:pt x="56408" y="103501"/>
                    <a:pt x="40711" y="103501"/>
                  </a:cubicBezTo>
                  <a:cubicBezTo>
                    <a:pt x="32603" y="103501"/>
                    <a:pt x="24668" y="100396"/>
                    <a:pt x="19838" y="92116"/>
                  </a:cubicBezTo>
                  <a:lnTo>
                    <a:pt x="19665" y="92116"/>
                  </a:lnTo>
                  <a:lnTo>
                    <a:pt x="18803" y="101776"/>
                  </a:lnTo>
                  <a:lnTo>
                    <a:pt x="0" y="101776"/>
                  </a:lnTo>
                  <a:lnTo>
                    <a:pt x="0" y="101948"/>
                  </a:lnTo>
                  <a:lnTo>
                    <a:pt x="0" y="101948"/>
                  </a:lnTo>
                  <a:close/>
                  <a:moveTo>
                    <a:pt x="22080" y="71933"/>
                  </a:moveTo>
                  <a:cubicBezTo>
                    <a:pt x="22080" y="73486"/>
                    <a:pt x="22253" y="74521"/>
                    <a:pt x="22425" y="75728"/>
                  </a:cubicBezTo>
                  <a:cubicBezTo>
                    <a:pt x="23978" y="81593"/>
                    <a:pt x="28808" y="86078"/>
                    <a:pt x="35018" y="86078"/>
                  </a:cubicBezTo>
                  <a:cubicBezTo>
                    <a:pt x="44160" y="86078"/>
                    <a:pt x="49853" y="79005"/>
                    <a:pt x="49853" y="66240"/>
                  </a:cubicBezTo>
                  <a:cubicBezTo>
                    <a:pt x="49853" y="55200"/>
                    <a:pt x="45023" y="46575"/>
                    <a:pt x="35018" y="46575"/>
                  </a:cubicBezTo>
                  <a:cubicBezTo>
                    <a:pt x="29325" y="46575"/>
                    <a:pt x="23805" y="50888"/>
                    <a:pt x="22425" y="57443"/>
                  </a:cubicBezTo>
                  <a:cubicBezTo>
                    <a:pt x="22253" y="58650"/>
                    <a:pt x="22080" y="60031"/>
                    <a:pt x="22080" y="61583"/>
                  </a:cubicBezTo>
                  <a:lnTo>
                    <a:pt x="22080" y="71933"/>
                  </a:lnTo>
                  <a:lnTo>
                    <a:pt x="22080" y="71933"/>
                  </a:lnTo>
                  <a:lnTo>
                    <a:pt x="22080" y="719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6" name="Gráfico 1344">
              <a:extLst>
                <a:ext uri="{FF2B5EF4-FFF2-40B4-BE49-F238E27FC236}">
                  <a16:creationId xmlns:a16="http://schemas.microsoft.com/office/drawing/2014/main" id="{A9BEE326-E8B1-414A-AA2E-797C8C89D276}"/>
                </a:ext>
              </a:extLst>
            </p:cNvPr>
            <p:cNvSpPr/>
            <p:nvPr/>
          </p:nvSpPr>
          <p:spPr>
            <a:xfrm>
              <a:off x="7437284" y="4814498"/>
              <a:ext cx="64170" cy="72450"/>
            </a:xfrm>
            <a:custGeom>
              <a:avLst/>
              <a:gdLst>
                <a:gd name="connsiteX0" fmla="*/ 20183 w 64170"/>
                <a:gd name="connsiteY0" fmla="*/ 42953 h 72450"/>
                <a:gd name="connsiteX1" fmla="*/ 39158 w 64170"/>
                <a:gd name="connsiteY1" fmla="*/ 56236 h 72450"/>
                <a:gd name="connsiteX2" fmla="*/ 57788 w 64170"/>
                <a:gd name="connsiteY2" fmla="*/ 53475 h 72450"/>
                <a:gd name="connsiteX3" fmla="*/ 60548 w 64170"/>
                <a:gd name="connsiteY3" fmla="*/ 68138 h 72450"/>
                <a:gd name="connsiteX4" fmla="*/ 36053 w 64170"/>
                <a:gd name="connsiteY4" fmla="*/ 72451 h 72450"/>
                <a:gd name="connsiteX5" fmla="*/ 0 w 64170"/>
                <a:gd name="connsiteY5" fmla="*/ 37088 h 72450"/>
                <a:gd name="connsiteX6" fmla="*/ 34155 w 64170"/>
                <a:gd name="connsiteY6" fmla="*/ 0 h 72450"/>
                <a:gd name="connsiteX7" fmla="*/ 64170 w 64170"/>
                <a:gd name="connsiteY7" fmla="*/ 34673 h 72450"/>
                <a:gd name="connsiteX8" fmla="*/ 63480 w 64170"/>
                <a:gd name="connsiteY8" fmla="*/ 43125 h 72450"/>
                <a:gd name="connsiteX9" fmla="*/ 20010 w 64170"/>
                <a:gd name="connsiteY9" fmla="*/ 43125 h 72450"/>
                <a:gd name="connsiteX10" fmla="*/ 20010 w 64170"/>
                <a:gd name="connsiteY10" fmla="*/ 42953 h 72450"/>
                <a:gd name="connsiteX11" fmla="*/ 20183 w 64170"/>
                <a:gd name="connsiteY11" fmla="*/ 42953 h 72450"/>
                <a:gd name="connsiteX12" fmla="*/ 45023 w 64170"/>
                <a:gd name="connsiteY12" fmla="*/ 28118 h 72450"/>
                <a:gd name="connsiteX13" fmla="*/ 32948 w 64170"/>
                <a:gd name="connsiteY13" fmla="*/ 13973 h 72450"/>
                <a:gd name="connsiteX14" fmla="*/ 19838 w 64170"/>
                <a:gd name="connsiteY14" fmla="*/ 28118 h 72450"/>
                <a:gd name="connsiteX15" fmla="*/ 45023 w 64170"/>
                <a:gd name="connsiteY15" fmla="*/ 28118 h 72450"/>
                <a:gd name="connsiteX16" fmla="*/ 45023 w 64170"/>
                <a:gd name="connsiteY16" fmla="*/ 28118 h 72450"/>
                <a:gd name="connsiteX17" fmla="*/ 45023 w 64170"/>
                <a:gd name="connsiteY17" fmla="*/ 2811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170" h="72450">
                  <a:moveTo>
                    <a:pt x="20183" y="42953"/>
                  </a:moveTo>
                  <a:cubicBezTo>
                    <a:pt x="20873" y="51923"/>
                    <a:pt x="29498" y="56236"/>
                    <a:pt x="39158" y="56236"/>
                  </a:cubicBezTo>
                  <a:cubicBezTo>
                    <a:pt x="46403" y="56236"/>
                    <a:pt x="52268" y="55201"/>
                    <a:pt x="57788" y="53475"/>
                  </a:cubicBezTo>
                  <a:lnTo>
                    <a:pt x="60548" y="68138"/>
                  </a:lnTo>
                  <a:cubicBezTo>
                    <a:pt x="53648" y="70898"/>
                    <a:pt x="45195" y="72451"/>
                    <a:pt x="36053" y="72451"/>
                  </a:cubicBezTo>
                  <a:cubicBezTo>
                    <a:pt x="13110" y="72451"/>
                    <a:pt x="0" y="58823"/>
                    <a:pt x="0" y="37088"/>
                  </a:cubicBezTo>
                  <a:cubicBezTo>
                    <a:pt x="0" y="19320"/>
                    <a:pt x="10522" y="0"/>
                    <a:pt x="34155" y="0"/>
                  </a:cubicBezTo>
                  <a:cubicBezTo>
                    <a:pt x="55890" y="0"/>
                    <a:pt x="64170" y="17423"/>
                    <a:pt x="64170" y="34673"/>
                  </a:cubicBezTo>
                  <a:cubicBezTo>
                    <a:pt x="64170" y="38295"/>
                    <a:pt x="63826" y="41746"/>
                    <a:pt x="63480" y="43125"/>
                  </a:cubicBezTo>
                  <a:lnTo>
                    <a:pt x="20010" y="43125"/>
                  </a:lnTo>
                  <a:lnTo>
                    <a:pt x="20010" y="42953"/>
                  </a:lnTo>
                  <a:lnTo>
                    <a:pt x="20183" y="42953"/>
                  </a:lnTo>
                  <a:close/>
                  <a:moveTo>
                    <a:pt x="45023" y="28118"/>
                  </a:moveTo>
                  <a:cubicBezTo>
                    <a:pt x="45023" y="22770"/>
                    <a:pt x="42781" y="13973"/>
                    <a:pt x="32948" y="13973"/>
                  </a:cubicBezTo>
                  <a:cubicBezTo>
                    <a:pt x="23978" y="13973"/>
                    <a:pt x="20528" y="22253"/>
                    <a:pt x="19838" y="28118"/>
                  </a:cubicBezTo>
                  <a:lnTo>
                    <a:pt x="45023" y="28118"/>
                  </a:lnTo>
                  <a:lnTo>
                    <a:pt x="45023" y="28118"/>
                  </a:lnTo>
                  <a:lnTo>
                    <a:pt x="45023" y="2811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7" name="Gráfico 1344">
              <a:extLst>
                <a:ext uri="{FF2B5EF4-FFF2-40B4-BE49-F238E27FC236}">
                  <a16:creationId xmlns:a16="http://schemas.microsoft.com/office/drawing/2014/main" id="{B4533F53-C0AA-485E-A785-7DA2E5C36336}"/>
                </a:ext>
              </a:extLst>
            </p:cNvPr>
            <p:cNvSpPr/>
            <p:nvPr/>
          </p:nvSpPr>
          <p:spPr>
            <a:xfrm>
              <a:off x="7516117" y="4814498"/>
              <a:ext cx="41572" cy="70035"/>
            </a:xfrm>
            <a:custGeom>
              <a:avLst/>
              <a:gdLst>
                <a:gd name="connsiteX0" fmla="*/ 690 w 41572"/>
                <a:gd name="connsiteY0" fmla="*/ 24150 h 70035"/>
                <a:gd name="connsiteX1" fmla="*/ 0 w 41572"/>
                <a:gd name="connsiteY1" fmla="*/ 1380 h 70035"/>
                <a:gd name="connsiteX2" fmla="*/ 17768 w 41572"/>
                <a:gd name="connsiteY2" fmla="*/ 1380 h 70035"/>
                <a:gd name="connsiteX3" fmla="*/ 18458 w 41572"/>
                <a:gd name="connsiteY3" fmla="*/ 14145 h 70035"/>
                <a:gd name="connsiteX4" fmla="*/ 19147 w 41572"/>
                <a:gd name="connsiteY4" fmla="*/ 14145 h 70035"/>
                <a:gd name="connsiteX5" fmla="*/ 37260 w 41572"/>
                <a:gd name="connsiteY5" fmla="*/ 0 h 70035"/>
                <a:gd name="connsiteX6" fmla="*/ 41573 w 41572"/>
                <a:gd name="connsiteY6" fmla="*/ 173 h 70035"/>
                <a:gd name="connsiteX7" fmla="*/ 41573 w 41572"/>
                <a:gd name="connsiteY7" fmla="*/ 20183 h 70035"/>
                <a:gd name="connsiteX8" fmla="*/ 36053 w 41572"/>
                <a:gd name="connsiteY8" fmla="*/ 19493 h 70035"/>
                <a:gd name="connsiteX9" fmla="*/ 21907 w 41572"/>
                <a:gd name="connsiteY9" fmla="*/ 30188 h 70035"/>
                <a:gd name="connsiteX10" fmla="*/ 21563 w 41572"/>
                <a:gd name="connsiteY10" fmla="*/ 35018 h 70035"/>
                <a:gd name="connsiteX11" fmla="*/ 21563 w 41572"/>
                <a:gd name="connsiteY11" fmla="*/ 70035 h 70035"/>
                <a:gd name="connsiteX12" fmla="*/ 862 w 41572"/>
                <a:gd name="connsiteY12" fmla="*/ 70035 h 70035"/>
                <a:gd name="connsiteX13" fmla="*/ 862 w 41572"/>
                <a:gd name="connsiteY13" fmla="*/ 24150 h 70035"/>
                <a:gd name="connsiteX14" fmla="*/ 690 w 41572"/>
                <a:gd name="connsiteY14" fmla="*/ 24150 h 70035"/>
                <a:gd name="connsiteX15" fmla="*/ 690 w 41572"/>
                <a:gd name="connsiteY15" fmla="*/ 24150 h 70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572" h="70035">
                  <a:moveTo>
                    <a:pt x="690" y="24150"/>
                  </a:moveTo>
                  <a:cubicBezTo>
                    <a:pt x="690" y="13973"/>
                    <a:pt x="517" y="7417"/>
                    <a:pt x="0" y="1380"/>
                  </a:cubicBezTo>
                  <a:lnTo>
                    <a:pt x="17768" y="1380"/>
                  </a:lnTo>
                  <a:lnTo>
                    <a:pt x="18458" y="14145"/>
                  </a:lnTo>
                  <a:lnTo>
                    <a:pt x="19147" y="14145"/>
                  </a:lnTo>
                  <a:cubicBezTo>
                    <a:pt x="22598" y="4140"/>
                    <a:pt x="30877" y="0"/>
                    <a:pt x="37260" y="0"/>
                  </a:cubicBezTo>
                  <a:cubicBezTo>
                    <a:pt x="39158" y="0"/>
                    <a:pt x="40193" y="0"/>
                    <a:pt x="41573" y="173"/>
                  </a:cubicBezTo>
                  <a:lnTo>
                    <a:pt x="41573" y="20183"/>
                  </a:lnTo>
                  <a:cubicBezTo>
                    <a:pt x="40193" y="20010"/>
                    <a:pt x="38295" y="19493"/>
                    <a:pt x="36053" y="19493"/>
                  </a:cubicBezTo>
                  <a:cubicBezTo>
                    <a:pt x="28463" y="19493"/>
                    <a:pt x="23115" y="23805"/>
                    <a:pt x="21907" y="30188"/>
                  </a:cubicBezTo>
                  <a:cubicBezTo>
                    <a:pt x="21735" y="31740"/>
                    <a:pt x="21563" y="33293"/>
                    <a:pt x="21563" y="35018"/>
                  </a:cubicBezTo>
                  <a:lnTo>
                    <a:pt x="21563" y="70035"/>
                  </a:lnTo>
                  <a:lnTo>
                    <a:pt x="862" y="70035"/>
                  </a:lnTo>
                  <a:lnTo>
                    <a:pt x="862" y="24150"/>
                  </a:lnTo>
                  <a:lnTo>
                    <a:pt x="690" y="24150"/>
                  </a:lnTo>
                  <a:lnTo>
                    <a:pt x="690" y="2415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8" name="Gráfico 1344">
              <a:extLst>
                <a:ext uri="{FF2B5EF4-FFF2-40B4-BE49-F238E27FC236}">
                  <a16:creationId xmlns:a16="http://schemas.microsoft.com/office/drawing/2014/main" id="{897E515D-8E7A-46D4-9CE4-AB78A3443804}"/>
                </a:ext>
              </a:extLst>
            </p:cNvPr>
            <p:cNvSpPr/>
            <p:nvPr/>
          </p:nvSpPr>
          <p:spPr>
            <a:xfrm>
              <a:off x="7563727" y="4814325"/>
              <a:ext cx="64170" cy="72278"/>
            </a:xfrm>
            <a:custGeom>
              <a:avLst/>
              <a:gdLst>
                <a:gd name="connsiteX0" fmla="*/ 44161 w 64170"/>
                <a:gd name="connsiteY0" fmla="*/ 70898 h 72278"/>
                <a:gd name="connsiteX1" fmla="*/ 42953 w 64170"/>
                <a:gd name="connsiteY1" fmla="*/ 63826 h 72278"/>
                <a:gd name="connsiteX2" fmla="*/ 42608 w 64170"/>
                <a:gd name="connsiteY2" fmla="*/ 63826 h 72278"/>
                <a:gd name="connsiteX3" fmla="*/ 22598 w 64170"/>
                <a:gd name="connsiteY3" fmla="*/ 72278 h 72278"/>
                <a:gd name="connsiteX4" fmla="*/ 0 w 64170"/>
                <a:gd name="connsiteY4" fmla="*/ 51061 h 72278"/>
                <a:gd name="connsiteX5" fmla="*/ 41055 w 64170"/>
                <a:gd name="connsiteY5" fmla="*/ 24495 h 72278"/>
                <a:gd name="connsiteX6" fmla="*/ 41055 w 64170"/>
                <a:gd name="connsiteY6" fmla="*/ 23460 h 72278"/>
                <a:gd name="connsiteX7" fmla="*/ 28463 w 64170"/>
                <a:gd name="connsiteY7" fmla="*/ 14490 h 72278"/>
                <a:gd name="connsiteX8" fmla="*/ 9143 w 64170"/>
                <a:gd name="connsiteY8" fmla="*/ 19665 h 72278"/>
                <a:gd name="connsiteX9" fmla="*/ 5003 w 64170"/>
                <a:gd name="connsiteY9" fmla="*/ 5865 h 72278"/>
                <a:gd name="connsiteX10" fmla="*/ 32258 w 64170"/>
                <a:gd name="connsiteY10" fmla="*/ 0 h 72278"/>
                <a:gd name="connsiteX11" fmla="*/ 63136 w 64170"/>
                <a:gd name="connsiteY11" fmla="*/ 30016 h 72278"/>
                <a:gd name="connsiteX12" fmla="*/ 63136 w 64170"/>
                <a:gd name="connsiteY12" fmla="*/ 53993 h 72278"/>
                <a:gd name="connsiteX13" fmla="*/ 64170 w 64170"/>
                <a:gd name="connsiteY13" fmla="*/ 71070 h 72278"/>
                <a:gd name="connsiteX14" fmla="*/ 44161 w 64170"/>
                <a:gd name="connsiteY14" fmla="*/ 71070 h 72278"/>
                <a:gd name="connsiteX15" fmla="*/ 44161 w 64170"/>
                <a:gd name="connsiteY15" fmla="*/ 70898 h 72278"/>
                <a:gd name="connsiteX16" fmla="*/ 44161 w 64170"/>
                <a:gd name="connsiteY16" fmla="*/ 70898 h 72278"/>
                <a:gd name="connsiteX17" fmla="*/ 41573 w 64170"/>
                <a:gd name="connsiteY17" fmla="*/ 38295 h 72278"/>
                <a:gd name="connsiteX18" fmla="*/ 21218 w 64170"/>
                <a:gd name="connsiteY18" fmla="*/ 49163 h 72278"/>
                <a:gd name="connsiteX19" fmla="*/ 29843 w 64170"/>
                <a:gd name="connsiteY19" fmla="*/ 57271 h 72278"/>
                <a:gd name="connsiteX20" fmla="*/ 41228 w 64170"/>
                <a:gd name="connsiteY20" fmla="*/ 49336 h 72278"/>
                <a:gd name="connsiteX21" fmla="*/ 41573 w 64170"/>
                <a:gd name="connsiteY21" fmla="*/ 45541 h 72278"/>
                <a:gd name="connsiteX22" fmla="*/ 41573 w 64170"/>
                <a:gd name="connsiteY22" fmla="*/ 38295 h 72278"/>
                <a:gd name="connsiteX23" fmla="*/ 41573 w 64170"/>
                <a:gd name="connsiteY23" fmla="*/ 38295 h 72278"/>
                <a:gd name="connsiteX24" fmla="*/ 41573 w 64170"/>
                <a:gd name="connsiteY24" fmla="*/ 38295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278">
                  <a:moveTo>
                    <a:pt x="44161" y="70898"/>
                  </a:moveTo>
                  <a:lnTo>
                    <a:pt x="42953" y="63826"/>
                  </a:lnTo>
                  <a:lnTo>
                    <a:pt x="42608" y="63826"/>
                  </a:lnTo>
                  <a:cubicBezTo>
                    <a:pt x="38123" y="69346"/>
                    <a:pt x="30878" y="72278"/>
                    <a:pt x="22598" y="72278"/>
                  </a:cubicBezTo>
                  <a:cubicBezTo>
                    <a:pt x="8453" y="72278"/>
                    <a:pt x="0" y="62101"/>
                    <a:pt x="0" y="51061"/>
                  </a:cubicBezTo>
                  <a:cubicBezTo>
                    <a:pt x="0" y="32948"/>
                    <a:pt x="16388" y="24495"/>
                    <a:pt x="41055" y="24495"/>
                  </a:cubicBezTo>
                  <a:lnTo>
                    <a:pt x="41055" y="23460"/>
                  </a:lnTo>
                  <a:cubicBezTo>
                    <a:pt x="41055" y="19665"/>
                    <a:pt x="39158" y="14490"/>
                    <a:pt x="28463" y="14490"/>
                  </a:cubicBezTo>
                  <a:cubicBezTo>
                    <a:pt x="21391" y="14490"/>
                    <a:pt x="13628" y="16905"/>
                    <a:pt x="9143" y="19665"/>
                  </a:cubicBezTo>
                  <a:lnTo>
                    <a:pt x="5003" y="5865"/>
                  </a:lnTo>
                  <a:cubicBezTo>
                    <a:pt x="10005" y="3278"/>
                    <a:pt x="19321" y="0"/>
                    <a:pt x="32258" y="0"/>
                  </a:cubicBezTo>
                  <a:cubicBezTo>
                    <a:pt x="55718" y="0"/>
                    <a:pt x="63136" y="13628"/>
                    <a:pt x="63136" y="30016"/>
                  </a:cubicBezTo>
                  <a:lnTo>
                    <a:pt x="63136" y="53993"/>
                  </a:lnTo>
                  <a:cubicBezTo>
                    <a:pt x="63136" y="60548"/>
                    <a:pt x="63308" y="66931"/>
                    <a:pt x="64170" y="71070"/>
                  </a:cubicBezTo>
                  <a:lnTo>
                    <a:pt x="44161" y="71070"/>
                  </a:lnTo>
                  <a:lnTo>
                    <a:pt x="44161" y="70898"/>
                  </a:lnTo>
                  <a:lnTo>
                    <a:pt x="44161" y="70898"/>
                  </a:lnTo>
                  <a:close/>
                  <a:moveTo>
                    <a:pt x="41573" y="38295"/>
                  </a:moveTo>
                  <a:cubicBezTo>
                    <a:pt x="30016" y="38123"/>
                    <a:pt x="21218" y="40883"/>
                    <a:pt x="21218" y="49163"/>
                  </a:cubicBezTo>
                  <a:cubicBezTo>
                    <a:pt x="21218" y="54683"/>
                    <a:pt x="24840" y="57271"/>
                    <a:pt x="29843" y="57271"/>
                  </a:cubicBezTo>
                  <a:cubicBezTo>
                    <a:pt x="35190" y="57271"/>
                    <a:pt x="39676" y="53648"/>
                    <a:pt x="41228" y="49336"/>
                  </a:cubicBezTo>
                  <a:cubicBezTo>
                    <a:pt x="41401" y="48301"/>
                    <a:pt x="41573" y="46920"/>
                    <a:pt x="41573" y="45541"/>
                  </a:cubicBezTo>
                  <a:lnTo>
                    <a:pt x="41573" y="38295"/>
                  </a:lnTo>
                  <a:lnTo>
                    <a:pt x="41573" y="38295"/>
                  </a:lnTo>
                  <a:lnTo>
                    <a:pt x="41573" y="3829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89" name="Gráfico 1344">
              <a:extLst>
                <a:ext uri="{FF2B5EF4-FFF2-40B4-BE49-F238E27FC236}">
                  <a16:creationId xmlns:a16="http://schemas.microsoft.com/office/drawing/2014/main" id="{8C12B1C4-8F62-4126-8210-5A2B98AB451B}"/>
                </a:ext>
              </a:extLst>
            </p:cNvPr>
            <p:cNvSpPr/>
            <p:nvPr/>
          </p:nvSpPr>
          <p:spPr>
            <a:xfrm>
              <a:off x="7642388" y="4783275"/>
              <a:ext cx="72450" cy="103500"/>
            </a:xfrm>
            <a:custGeom>
              <a:avLst/>
              <a:gdLst>
                <a:gd name="connsiteX0" fmla="*/ 0 w 72450"/>
                <a:gd name="connsiteY0" fmla="*/ 101948 h 103500"/>
                <a:gd name="connsiteX1" fmla="*/ 690 w 72450"/>
                <a:gd name="connsiteY1" fmla="*/ 81075 h 103500"/>
                <a:gd name="connsiteX2" fmla="*/ 690 w 72450"/>
                <a:gd name="connsiteY2" fmla="*/ 0 h 103500"/>
                <a:gd name="connsiteX3" fmla="*/ 22252 w 72450"/>
                <a:gd name="connsiteY3" fmla="*/ 0 h 103500"/>
                <a:gd name="connsiteX4" fmla="*/ 22252 w 72450"/>
                <a:gd name="connsiteY4" fmla="*/ 40020 h 103500"/>
                <a:gd name="connsiteX5" fmla="*/ 22425 w 72450"/>
                <a:gd name="connsiteY5" fmla="*/ 40020 h 103500"/>
                <a:gd name="connsiteX6" fmla="*/ 43643 w 72450"/>
                <a:gd name="connsiteY6" fmla="*/ 30188 h 103500"/>
                <a:gd name="connsiteX7" fmla="*/ 72450 w 72450"/>
                <a:gd name="connsiteY7" fmla="*/ 65550 h 103500"/>
                <a:gd name="connsiteX8" fmla="*/ 40537 w 72450"/>
                <a:gd name="connsiteY8" fmla="*/ 103501 h 103500"/>
                <a:gd name="connsiteX9" fmla="*/ 19665 w 72450"/>
                <a:gd name="connsiteY9" fmla="*/ 92116 h 103500"/>
                <a:gd name="connsiteX10" fmla="*/ 19492 w 72450"/>
                <a:gd name="connsiteY10" fmla="*/ 92116 h 103500"/>
                <a:gd name="connsiteX11" fmla="*/ 18630 w 72450"/>
                <a:gd name="connsiteY11" fmla="*/ 101776 h 103500"/>
                <a:gd name="connsiteX12" fmla="*/ 0 w 72450"/>
                <a:gd name="connsiteY12" fmla="*/ 101776 h 103500"/>
                <a:gd name="connsiteX13" fmla="*/ 0 w 72450"/>
                <a:gd name="connsiteY13" fmla="*/ 101948 h 103500"/>
                <a:gd name="connsiteX14" fmla="*/ 0 w 72450"/>
                <a:gd name="connsiteY14" fmla="*/ 101948 h 103500"/>
                <a:gd name="connsiteX15" fmla="*/ 22252 w 72450"/>
                <a:gd name="connsiteY15" fmla="*/ 71933 h 103500"/>
                <a:gd name="connsiteX16" fmla="*/ 22598 w 72450"/>
                <a:gd name="connsiteY16" fmla="*/ 75728 h 103500"/>
                <a:gd name="connsiteX17" fmla="*/ 35190 w 72450"/>
                <a:gd name="connsiteY17" fmla="*/ 86078 h 103500"/>
                <a:gd name="connsiteX18" fmla="*/ 50197 w 72450"/>
                <a:gd name="connsiteY18" fmla="*/ 66240 h 103500"/>
                <a:gd name="connsiteX19" fmla="*/ 35190 w 72450"/>
                <a:gd name="connsiteY19" fmla="*/ 46575 h 103500"/>
                <a:gd name="connsiteX20" fmla="*/ 22598 w 72450"/>
                <a:gd name="connsiteY20" fmla="*/ 57443 h 103500"/>
                <a:gd name="connsiteX21" fmla="*/ 22252 w 72450"/>
                <a:gd name="connsiteY21" fmla="*/ 61583 h 103500"/>
                <a:gd name="connsiteX22" fmla="*/ 22252 w 72450"/>
                <a:gd name="connsiteY22" fmla="*/ 71933 h 103500"/>
                <a:gd name="connsiteX23" fmla="*/ 22252 w 72450"/>
                <a:gd name="connsiteY23" fmla="*/ 71933 h 103500"/>
                <a:gd name="connsiteX24" fmla="*/ 22252 w 72450"/>
                <a:gd name="connsiteY24" fmla="*/ 71933 h 1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2450" h="103500">
                  <a:moveTo>
                    <a:pt x="0" y="101948"/>
                  </a:moveTo>
                  <a:cubicBezTo>
                    <a:pt x="172" y="97463"/>
                    <a:pt x="690" y="88838"/>
                    <a:pt x="690" y="81075"/>
                  </a:cubicBezTo>
                  <a:lnTo>
                    <a:pt x="690" y="0"/>
                  </a:lnTo>
                  <a:lnTo>
                    <a:pt x="22252" y="0"/>
                  </a:lnTo>
                  <a:lnTo>
                    <a:pt x="22252" y="40020"/>
                  </a:lnTo>
                  <a:lnTo>
                    <a:pt x="22425" y="40020"/>
                  </a:lnTo>
                  <a:cubicBezTo>
                    <a:pt x="26565" y="33983"/>
                    <a:pt x="33810" y="30188"/>
                    <a:pt x="43643" y="30188"/>
                  </a:cubicBezTo>
                  <a:cubicBezTo>
                    <a:pt x="60375" y="30188"/>
                    <a:pt x="72450" y="44160"/>
                    <a:pt x="72450" y="65550"/>
                  </a:cubicBezTo>
                  <a:cubicBezTo>
                    <a:pt x="72450" y="90908"/>
                    <a:pt x="56408" y="103501"/>
                    <a:pt x="40537" y="103501"/>
                  </a:cubicBezTo>
                  <a:cubicBezTo>
                    <a:pt x="32430" y="103501"/>
                    <a:pt x="24495" y="100396"/>
                    <a:pt x="19665" y="92116"/>
                  </a:cubicBezTo>
                  <a:lnTo>
                    <a:pt x="19492" y="92116"/>
                  </a:lnTo>
                  <a:lnTo>
                    <a:pt x="18630" y="101776"/>
                  </a:lnTo>
                  <a:lnTo>
                    <a:pt x="0" y="101776"/>
                  </a:lnTo>
                  <a:lnTo>
                    <a:pt x="0" y="101948"/>
                  </a:lnTo>
                  <a:lnTo>
                    <a:pt x="0" y="101948"/>
                  </a:lnTo>
                  <a:close/>
                  <a:moveTo>
                    <a:pt x="22252" y="71933"/>
                  </a:moveTo>
                  <a:cubicBezTo>
                    <a:pt x="22252" y="73486"/>
                    <a:pt x="22425" y="74521"/>
                    <a:pt x="22598" y="75728"/>
                  </a:cubicBezTo>
                  <a:cubicBezTo>
                    <a:pt x="24150" y="81593"/>
                    <a:pt x="28980" y="86078"/>
                    <a:pt x="35190" y="86078"/>
                  </a:cubicBezTo>
                  <a:cubicBezTo>
                    <a:pt x="44332" y="86078"/>
                    <a:pt x="50197" y="79005"/>
                    <a:pt x="50197" y="66240"/>
                  </a:cubicBezTo>
                  <a:cubicBezTo>
                    <a:pt x="50197" y="55200"/>
                    <a:pt x="45367" y="46575"/>
                    <a:pt x="35190" y="46575"/>
                  </a:cubicBezTo>
                  <a:cubicBezTo>
                    <a:pt x="29498" y="46575"/>
                    <a:pt x="23805" y="50888"/>
                    <a:pt x="22598" y="57443"/>
                  </a:cubicBezTo>
                  <a:cubicBezTo>
                    <a:pt x="22425" y="58650"/>
                    <a:pt x="22252" y="60031"/>
                    <a:pt x="22252" y="61583"/>
                  </a:cubicBezTo>
                  <a:lnTo>
                    <a:pt x="22252" y="71933"/>
                  </a:lnTo>
                  <a:lnTo>
                    <a:pt x="22252" y="71933"/>
                  </a:lnTo>
                  <a:lnTo>
                    <a:pt x="22252" y="7193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0" name="Gráfico 1344">
              <a:extLst>
                <a:ext uri="{FF2B5EF4-FFF2-40B4-BE49-F238E27FC236}">
                  <a16:creationId xmlns:a16="http://schemas.microsoft.com/office/drawing/2014/main" id="{1F235751-260A-490B-A533-372008032148}"/>
                </a:ext>
              </a:extLst>
            </p:cNvPr>
            <p:cNvSpPr/>
            <p:nvPr/>
          </p:nvSpPr>
          <p:spPr>
            <a:xfrm>
              <a:off x="7723291" y="4814325"/>
              <a:ext cx="63998" cy="72278"/>
            </a:xfrm>
            <a:custGeom>
              <a:avLst/>
              <a:gdLst>
                <a:gd name="connsiteX0" fmla="*/ 44333 w 63998"/>
                <a:gd name="connsiteY0" fmla="*/ 70898 h 72278"/>
                <a:gd name="connsiteX1" fmla="*/ 43125 w 63998"/>
                <a:gd name="connsiteY1" fmla="*/ 63826 h 72278"/>
                <a:gd name="connsiteX2" fmla="*/ 42781 w 63998"/>
                <a:gd name="connsiteY2" fmla="*/ 63826 h 72278"/>
                <a:gd name="connsiteX3" fmla="*/ 22770 w 63998"/>
                <a:gd name="connsiteY3" fmla="*/ 72278 h 72278"/>
                <a:gd name="connsiteX4" fmla="*/ 0 w 63998"/>
                <a:gd name="connsiteY4" fmla="*/ 51061 h 72278"/>
                <a:gd name="connsiteX5" fmla="*/ 41228 w 63998"/>
                <a:gd name="connsiteY5" fmla="*/ 24495 h 72278"/>
                <a:gd name="connsiteX6" fmla="*/ 41228 w 63998"/>
                <a:gd name="connsiteY6" fmla="*/ 23460 h 72278"/>
                <a:gd name="connsiteX7" fmla="*/ 28290 w 63998"/>
                <a:gd name="connsiteY7" fmla="*/ 14490 h 72278"/>
                <a:gd name="connsiteX8" fmla="*/ 8970 w 63998"/>
                <a:gd name="connsiteY8" fmla="*/ 19665 h 72278"/>
                <a:gd name="connsiteX9" fmla="*/ 4830 w 63998"/>
                <a:gd name="connsiteY9" fmla="*/ 5865 h 72278"/>
                <a:gd name="connsiteX10" fmla="*/ 32086 w 63998"/>
                <a:gd name="connsiteY10" fmla="*/ 0 h 72278"/>
                <a:gd name="connsiteX11" fmla="*/ 62963 w 63998"/>
                <a:gd name="connsiteY11" fmla="*/ 30016 h 72278"/>
                <a:gd name="connsiteX12" fmla="*/ 62963 w 63998"/>
                <a:gd name="connsiteY12" fmla="*/ 53993 h 72278"/>
                <a:gd name="connsiteX13" fmla="*/ 63998 w 63998"/>
                <a:gd name="connsiteY13" fmla="*/ 71070 h 72278"/>
                <a:gd name="connsiteX14" fmla="*/ 44333 w 63998"/>
                <a:gd name="connsiteY14" fmla="*/ 71070 h 72278"/>
                <a:gd name="connsiteX15" fmla="*/ 44333 w 63998"/>
                <a:gd name="connsiteY15" fmla="*/ 70898 h 72278"/>
                <a:gd name="connsiteX16" fmla="*/ 44333 w 63998"/>
                <a:gd name="connsiteY16" fmla="*/ 70898 h 72278"/>
                <a:gd name="connsiteX17" fmla="*/ 41746 w 63998"/>
                <a:gd name="connsiteY17" fmla="*/ 38295 h 72278"/>
                <a:gd name="connsiteX18" fmla="*/ 21391 w 63998"/>
                <a:gd name="connsiteY18" fmla="*/ 49163 h 72278"/>
                <a:gd name="connsiteX19" fmla="*/ 30016 w 63998"/>
                <a:gd name="connsiteY19" fmla="*/ 57271 h 72278"/>
                <a:gd name="connsiteX20" fmla="*/ 41401 w 63998"/>
                <a:gd name="connsiteY20" fmla="*/ 49336 h 72278"/>
                <a:gd name="connsiteX21" fmla="*/ 41746 w 63998"/>
                <a:gd name="connsiteY21" fmla="*/ 45541 h 72278"/>
                <a:gd name="connsiteX22" fmla="*/ 41746 w 63998"/>
                <a:gd name="connsiteY22" fmla="*/ 38295 h 72278"/>
                <a:gd name="connsiteX23" fmla="*/ 41746 w 63998"/>
                <a:gd name="connsiteY23" fmla="*/ 38295 h 72278"/>
                <a:gd name="connsiteX24" fmla="*/ 41746 w 63998"/>
                <a:gd name="connsiteY24" fmla="*/ 38295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998" h="72278">
                  <a:moveTo>
                    <a:pt x="44333" y="70898"/>
                  </a:moveTo>
                  <a:lnTo>
                    <a:pt x="43125" y="63826"/>
                  </a:lnTo>
                  <a:lnTo>
                    <a:pt x="42781" y="63826"/>
                  </a:lnTo>
                  <a:cubicBezTo>
                    <a:pt x="38295" y="69346"/>
                    <a:pt x="31051" y="72278"/>
                    <a:pt x="22770" y="72278"/>
                  </a:cubicBezTo>
                  <a:cubicBezTo>
                    <a:pt x="8625" y="72278"/>
                    <a:pt x="0" y="62101"/>
                    <a:pt x="0" y="51061"/>
                  </a:cubicBezTo>
                  <a:cubicBezTo>
                    <a:pt x="0" y="32948"/>
                    <a:pt x="16388" y="24495"/>
                    <a:pt x="41228" y="24495"/>
                  </a:cubicBezTo>
                  <a:lnTo>
                    <a:pt x="41228" y="23460"/>
                  </a:lnTo>
                  <a:cubicBezTo>
                    <a:pt x="41228" y="19665"/>
                    <a:pt x="39330" y="14490"/>
                    <a:pt x="28290" y="14490"/>
                  </a:cubicBezTo>
                  <a:cubicBezTo>
                    <a:pt x="21218" y="14490"/>
                    <a:pt x="13455" y="16905"/>
                    <a:pt x="8970" y="19665"/>
                  </a:cubicBezTo>
                  <a:lnTo>
                    <a:pt x="4830" y="5865"/>
                  </a:lnTo>
                  <a:cubicBezTo>
                    <a:pt x="9833" y="3278"/>
                    <a:pt x="19148" y="0"/>
                    <a:pt x="32086" y="0"/>
                  </a:cubicBezTo>
                  <a:cubicBezTo>
                    <a:pt x="55545" y="0"/>
                    <a:pt x="62963" y="13628"/>
                    <a:pt x="62963" y="30016"/>
                  </a:cubicBezTo>
                  <a:lnTo>
                    <a:pt x="62963" y="53993"/>
                  </a:lnTo>
                  <a:cubicBezTo>
                    <a:pt x="62963" y="60548"/>
                    <a:pt x="63136" y="66931"/>
                    <a:pt x="63998" y="71070"/>
                  </a:cubicBezTo>
                  <a:lnTo>
                    <a:pt x="44333" y="71070"/>
                  </a:lnTo>
                  <a:lnTo>
                    <a:pt x="44333" y="70898"/>
                  </a:lnTo>
                  <a:lnTo>
                    <a:pt x="44333" y="70898"/>
                  </a:lnTo>
                  <a:close/>
                  <a:moveTo>
                    <a:pt x="41746" y="38295"/>
                  </a:moveTo>
                  <a:cubicBezTo>
                    <a:pt x="30188" y="38123"/>
                    <a:pt x="21391" y="40883"/>
                    <a:pt x="21391" y="49163"/>
                  </a:cubicBezTo>
                  <a:cubicBezTo>
                    <a:pt x="21391" y="54683"/>
                    <a:pt x="25013" y="57271"/>
                    <a:pt x="30016" y="57271"/>
                  </a:cubicBezTo>
                  <a:cubicBezTo>
                    <a:pt x="35363" y="57271"/>
                    <a:pt x="39848" y="53648"/>
                    <a:pt x="41401" y="49336"/>
                  </a:cubicBezTo>
                  <a:cubicBezTo>
                    <a:pt x="41573" y="48301"/>
                    <a:pt x="41746" y="46920"/>
                    <a:pt x="41746" y="45541"/>
                  </a:cubicBezTo>
                  <a:lnTo>
                    <a:pt x="41746" y="38295"/>
                  </a:lnTo>
                  <a:lnTo>
                    <a:pt x="41746" y="38295"/>
                  </a:lnTo>
                  <a:lnTo>
                    <a:pt x="41746" y="3829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891" name="Agrupar 890">
            <a:extLst>
              <a:ext uri="{FF2B5EF4-FFF2-40B4-BE49-F238E27FC236}">
                <a16:creationId xmlns:a16="http://schemas.microsoft.com/office/drawing/2014/main" id="{29451A9E-358B-4750-B7C2-6335AA017901}"/>
              </a:ext>
            </a:extLst>
          </p:cNvPr>
          <p:cNvGrpSpPr/>
          <p:nvPr/>
        </p:nvGrpSpPr>
        <p:grpSpPr>
          <a:xfrm>
            <a:off x="7263544" y="4535207"/>
            <a:ext cx="691385" cy="130583"/>
            <a:chOff x="7095904" y="4572133"/>
            <a:chExt cx="691385" cy="130583"/>
          </a:xfrm>
        </p:grpSpPr>
        <p:sp>
          <p:nvSpPr>
            <p:cNvPr id="892" name="Gráfico 1344">
              <a:extLst>
                <a:ext uri="{FF2B5EF4-FFF2-40B4-BE49-F238E27FC236}">
                  <a16:creationId xmlns:a16="http://schemas.microsoft.com/office/drawing/2014/main" id="{98F7BD1E-2813-4D99-AE43-DBF3305ADD03}"/>
                </a:ext>
              </a:extLst>
            </p:cNvPr>
            <p:cNvSpPr/>
            <p:nvPr/>
          </p:nvSpPr>
          <p:spPr>
            <a:xfrm>
              <a:off x="7095904" y="4576273"/>
              <a:ext cx="72450" cy="97290"/>
            </a:xfrm>
            <a:custGeom>
              <a:avLst/>
              <a:gdLst>
                <a:gd name="connsiteX0" fmla="*/ 25358 w 72450"/>
                <a:gd name="connsiteY0" fmla="*/ 18458 h 97290"/>
                <a:gd name="connsiteX1" fmla="*/ 0 w 72450"/>
                <a:gd name="connsiteY1" fmla="*/ 18458 h 97290"/>
                <a:gd name="connsiteX2" fmla="*/ 0 w 72450"/>
                <a:gd name="connsiteY2" fmla="*/ 0 h 97290"/>
                <a:gd name="connsiteX3" fmla="*/ 72451 w 72450"/>
                <a:gd name="connsiteY3" fmla="*/ 0 h 97290"/>
                <a:gd name="connsiteX4" fmla="*/ 72451 w 72450"/>
                <a:gd name="connsiteY4" fmla="*/ 18458 h 97290"/>
                <a:gd name="connsiteX5" fmla="*/ 46748 w 72450"/>
                <a:gd name="connsiteY5" fmla="*/ 18458 h 97290"/>
                <a:gd name="connsiteX6" fmla="*/ 46748 w 72450"/>
                <a:gd name="connsiteY6" fmla="*/ 97290 h 97290"/>
                <a:gd name="connsiteX7" fmla="*/ 25358 w 72450"/>
                <a:gd name="connsiteY7" fmla="*/ 97290 h 97290"/>
                <a:gd name="connsiteX8" fmla="*/ 25358 w 72450"/>
                <a:gd name="connsiteY8" fmla="*/ 18458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50" h="97290">
                  <a:moveTo>
                    <a:pt x="25358" y="18458"/>
                  </a:moveTo>
                  <a:lnTo>
                    <a:pt x="0" y="18458"/>
                  </a:lnTo>
                  <a:lnTo>
                    <a:pt x="0" y="0"/>
                  </a:lnTo>
                  <a:lnTo>
                    <a:pt x="72451" y="0"/>
                  </a:lnTo>
                  <a:lnTo>
                    <a:pt x="72451" y="18458"/>
                  </a:lnTo>
                  <a:lnTo>
                    <a:pt x="46748" y="18458"/>
                  </a:lnTo>
                  <a:lnTo>
                    <a:pt x="46748" y="97290"/>
                  </a:lnTo>
                  <a:lnTo>
                    <a:pt x="25358" y="97290"/>
                  </a:lnTo>
                  <a:lnTo>
                    <a:pt x="25358" y="1845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3" name="Gráfico 1344">
              <a:extLst>
                <a:ext uri="{FF2B5EF4-FFF2-40B4-BE49-F238E27FC236}">
                  <a16:creationId xmlns:a16="http://schemas.microsoft.com/office/drawing/2014/main" id="{658DDE00-A688-4E44-9E8A-B622D0C06B18}"/>
                </a:ext>
              </a:extLst>
            </p:cNvPr>
            <p:cNvSpPr/>
            <p:nvPr/>
          </p:nvSpPr>
          <p:spPr>
            <a:xfrm>
              <a:off x="7180774" y="4576273"/>
              <a:ext cx="20699" cy="97290"/>
            </a:xfrm>
            <a:custGeom>
              <a:avLst/>
              <a:gdLst>
                <a:gd name="connsiteX0" fmla="*/ 0 w 20699"/>
                <a:gd name="connsiteY0" fmla="*/ 0 h 97290"/>
                <a:gd name="connsiteX1" fmla="*/ 20700 w 20699"/>
                <a:gd name="connsiteY1" fmla="*/ 0 h 97290"/>
                <a:gd name="connsiteX2" fmla="*/ 20700 w 20699"/>
                <a:gd name="connsiteY2" fmla="*/ 97290 h 97290"/>
                <a:gd name="connsiteX3" fmla="*/ 0 w 20699"/>
                <a:gd name="connsiteY3" fmla="*/ 97290 h 97290"/>
                <a:gd name="connsiteX4" fmla="*/ 0 w 20699"/>
                <a:gd name="connsiteY4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9" h="97290">
                  <a:moveTo>
                    <a:pt x="0" y="0"/>
                  </a:moveTo>
                  <a:lnTo>
                    <a:pt x="20700" y="0"/>
                  </a:lnTo>
                  <a:lnTo>
                    <a:pt x="20700" y="97290"/>
                  </a:lnTo>
                  <a:lnTo>
                    <a:pt x="0" y="972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4" name="Gráfico 1344">
              <a:extLst>
                <a:ext uri="{FF2B5EF4-FFF2-40B4-BE49-F238E27FC236}">
                  <a16:creationId xmlns:a16="http://schemas.microsoft.com/office/drawing/2014/main" id="{18F55FE2-624A-4E40-A060-1312992EDB6A}"/>
                </a:ext>
              </a:extLst>
            </p:cNvPr>
            <p:cNvSpPr/>
            <p:nvPr/>
          </p:nvSpPr>
          <p:spPr>
            <a:xfrm>
              <a:off x="7243047" y="4576273"/>
              <a:ext cx="86940" cy="97290"/>
            </a:xfrm>
            <a:custGeom>
              <a:avLst/>
              <a:gdLst>
                <a:gd name="connsiteX0" fmla="*/ 28981 w 86940"/>
                <a:gd name="connsiteY0" fmla="*/ 72450 h 97290"/>
                <a:gd name="connsiteX1" fmla="*/ 22253 w 86940"/>
                <a:gd name="connsiteY1" fmla="*/ 97290 h 97290"/>
                <a:gd name="connsiteX2" fmla="*/ 0 w 86940"/>
                <a:gd name="connsiteY2" fmla="*/ 97290 h 97290"/>
                <a:gd name="connsiteX3" fmla="*/ 29153 w 86940"/>
                <a:gd name="connsiteY3" fmla="*/ 0 h 97290"/>
                <a:gd name="connsiteX4" fmla="*/ 57443 w 86940"/>
                <a:gd name="connsiteY4" fmla="*/ 0 h 97290"/>
                <a:gd name="connsiteX5" fmla="*/ 86941 w 86940"/>
                <a:gd name="connsiteY5" fmla="*/ 97290 h 97290"/>
                <a:gd name="connsiteX6" fmla="*/ 63826 w 86940"/>
                <a:gd name="connsiteY6" fmla="*/ 97290 h 97290"/>
                <a:gd name="connsiteX7" fmla="*/ 56408 w 86940"/>
                <a:gd name="connsiteY7" fmla="*/ 72450 h 97290"/>
                <a:gd name="connsiteX8" fmla="*/ 28981 w 86940"/>
                <a:gd name="connsiteY8" fmla="*/ 72450 h 97290"/>
                <a:gd name="connsiteX9" fmla="*/ 28981 w 86940"/>
                <a:gd name="connsiteY9" fmla="*/ 72450 h 97290"/>
                <a:gd name="connsiteX10" fmla="*/ 28981 w 86940"/>
                <a:gd name="connsiteY10" fmla="*/ 72450 h 97290"/>
                <a:gd name="connsiteX11" fmla="*/ 53131 w 86940"/>
                <a:gd name="connsiteY11" fmla="*/ 56063 h 97290"/>
                <a:gd name="connsiteX12" fmla="*/ 47093 w 86940"/>
                <a:gd name="connsiteY12" fmla="*/ 35535 h 97290"/>
                <a:gd name="connsiteX13" fmla="*/ 42263 w 86940"/>
                <a:gd name="connsiteY13" fmla="*/ 16733 h 97290"/>
                <a:gd name="connsiteX14" fmla="*/ 42090 w 86940"/>
                <a:gd name="connsiteY14" fmla="*/ 16733 h 97290"/>
                <a:gd name="connsiteX15" fmla="*/ 37606 w 86940"/>
                <a:gd name="connsiteY15" fmla="*/ 35535 h 97290"/>
                <a:gd name="connsiteX16" fmla="*/ 31913 w 86940"/>
                <a:gd name="connsiteY16" fmla="*/ 56063 h 97290"/>
                <a:gd name="connsiteX17" fmla="*/ 53131 w 86940"/>
                <a:gd name="connsiteY17" fmla="*/ 56063 h 97290"/>
                <a:gd name="connsiteX18" fmla="*/ 53131 w 86940"/>
                <a:gd name="connsiteY18" fmla="*/ 56063 h 97290"/>
                <a:gd name="connsiteX19" fmla="*/ 53131 w 86940"/>
                <a:gd name="connsiteY19" fmla="*/ 56063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6940" h="97290">
                  <a:moveTo>
                    <a:pt x="28981" y="72450"/>
                  </a:moveTo>
                  <a:lnTo>
                    <a:pt x="22253" y="97290"/>
                  </a:lnTo>
                  <a:lnTo>
                    <a:pt x="0" y="97290"/>
                  </a:lnTo>
                  <a:lnTo>
                    <a:pt x="29153" y="0"/>
                  </a:lnTo>
                  <a:lnTo>
                    <a:pt x="57443" y="0"/>
                  </a:lnTo>
                  <a:lnTo>
                    <a:pt x="86941" y="97290"/>
                  </a:lnTo>
                  <a:lnTo>
                    <a:pt x="63826" y="97290"/>
                  </a:lnTo>
                  <a:lnTo>
                    <a:pt x="56408" y="72450"/>
                  </a:lnTo>
                  <a:lnTo>
                    <a:pt x="28981" y="72450"/>
                  </a:lnTo>
                  <a:lnTo>
                    <a:pt x="28981" y="72450"/>
                  </a:lnTo>
                  <a:lnTo>
                    <a:pt x="28981" y="72450"/>
                  </a:lnTo>
                  <a:close/>
                  <a:moveTo>
                    <a:pt x="53131" y="56063"/>
                  </a:moveTo>
                  <a:lnTo>
                    <a:pt x="47093" y="35535"/>
                  </a:lnTo>
                  <a:cubicBezTo>
                    <a:pt x="45368" y="29670"/>
                    <a:pt x="43643" y="22598"/>
                    <a:pt x="42263" y="16733"/>
                  </a:cubicBezTo>
                  <a:lnTo>
                    <a:pt x="42090" y="16733"/>
                  </a:lnTo>
                  <a:cubicBezTo>
                    <a:pt x="40538" y="22598"/>
                    <a:pt x="39158" y="29843"/>
                    <a:pt x="37606" y="35535"/>
                  </a:cubicBezTo>
                  <a:lnTo>
                    <a:pt x="31913" y="56063"/>
                  </a:lnTo>
                  <a:lnTo>
                    <a:pt x="53131" y="56063"/>
                  </a:lnTo>
                  <a:lnTo>
                    <a:pt x="53131" y="56063"/>
                  </a:lnTo>
                  <a:lnTo>
                    <a:pt x="53131" y="5606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5" name="Gráfico 1344">
              <a:extLst>
                <a:ext uri="{FF2B5EF4-FFF2-40B4-BE49-F238E27FC236}">
                  <a16:creationId xmlns:a16="http://schemas.microsoft.com/office/drawing/2014/main" id="{22F19B57-291C-409B-AFD2-009F335A1121}"/>
                </a:ext>
              </a:extLst>
            </p:cNvPr>
            <p:cNvSpPr/>
            <p:nvPr/>
          </p:nvSpPr>
          <p:spPr>
            <a:xfrm>
              <a:off x="7340165" y="4600941"/>
              <a:ext cx="43642" cy="72450"/>
            </a:xfrm>
            <a:custGeom>
              <a:avLst/>
              <a:gdLst>
                <a:gd name="connsiteX0" fmla="*/ 690 w 43642"/>
                <a:gd name="connsiteY0" fmla="*/ 25185 h 72450"/>
                <a:gd name="connsiteX1" fmla="*/ 0 w 43642"/>
                <a:gd name="connsiteY1" fmla="*/ 1552 h 72450"/>
                <a:gd name="connsiteX2" fmla="*/ 18803 w 43642"/>
                <a:gd name="connsiteY2" fmla="*/ 1552 h 72450"/>
                <a:gd name="connsiteX3" fmla="*/ 19493 w 43642"/>
                <a:gd name="connsiteY3" fmla="*/ 14663 h 72450"/>
                <a:gd name="connsiteX4" fmla="*/ 20183 w 43642"/>
                <a:gd name="connsiteY4" fmla="*/ 14663 h 72450"/>
                <a:gd name="connsiteX5" fmla="*/ 39158 w 43642"/>
                <a:gd name="connsiteY5" fmla="*/ 0 h 72450"/>
                <a:gd name="connsiteX6" fmla="*/ 43643 w 43642"/>
                <a:gd name="connsiteY6" fmla="*/ 173 h 72450"/>
                <a:gd name="connsiteX7" fmla="*/ 43643 w 43642"/>
                <a:gd name="connsiteY7" fmla="*/ 20873 h 72450"/>
                <a:gd name="connsiteX8" fmla="*/ 37778 w 43642"/>
                <a:gd name="connsiteY8" fmla="*/ 20183 h 72450"/>
                <a:gd name="connsiteX9" fmla="*/ 22943 w 43642"/>
                <a:gd name="connsiteY9" fmla="*/ 31395 h 72450"/>
                <a:gd name="connsiteX10" fmla="*/ 22598 w 43642"/>
                <a:gd name="connsiteY10" fmla="*/ 36225 h 72450"/>
                <a:gd name="connsiteX11" fmla="*/ 22598 w 43642"/>
                <a:gd name="connsiteY11" fmla="*/ 72451 h 72450"/>
                <a:gd name="connsiteX12" fmla="*/ 863 w 43642"/>
                <a:gd name="connsiteY12" fmla="*/ 72451 h 72450"/>
                <a:gd name="connsiteX13" fmla="*/ 863 w 43642"/>
                <a:gd name="connsiteY13" fmla="*/ 25185 h 72450"/>
                <a:gd name="connsiteX14" fmla="*/ 690 w 43642"/>
                <a:gd name="connsiteY14" fmla="*/ 25185 h 72450"/>
                <a:gd name="connsiteX15" fmla="*/ 690 w 43642"/>
                <a:gd name="connsiteY15" fmla="*/ 2518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2450">
                  <a:moveTo>
                    <a:pt x="690" y="25185"/>
                  </a:moveTo>
                  <a:cubicBezTo>
                    <a:pt x="690" y="14663"/>
                    <a:pt x="517" y="7935"/>
                    <a:pt x="0" y="1552"/>
                  </a:cubicBezTo>
                  <a:lnTo>
                    <a:pt x="18803" y="1552"/>
                  </a:lnTo>
                  <a:lnTo>
                    <a:pt x="19493" y="14663"/>
                  </a:lnTo>
                  <a:lnTo>
                    <a:pt x="20183" y="14663"/>
                  </a:lnTo>
                  <a:cubicBezTo>
                    <a:pt x="23805" y="4140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173"/>
                  </a:cubicBezTo>
                  <a:lnTo>
                    <a:pt x="43643" y="20873"/>
                  </a:lnTo>
                  <a:cubicBezTo>
                    <a:pt x="42090" y="20700"/>
                    <a:pt x="40193" y="20183"/>
                    <a:pt x="37778" y="20183"/>
                  </a:cubicBezTo>
                  <a:cubicBezTo>
                    <a:pt x="29843" y="20183"/>
                    <a:pt x="24150" y="24495"/>
                    <a:pt x="22943" y="31395"/>
                  </a:cubicBezTo>
                  <a:cubicBezTo>
                    <a:pt x="22770" y="32948"/>
                    <a:pt x="22598" y="34673"/>
                    <a:pt x="22598" y="36225"/>
                  </a:cubicBezTo>
                  <a:lnTo>
                    <a:pt x="22598" y="72451"/>
                  </a:lnTo>
                  <a:lnTo>
                    <a:pt x="863" y="72451"/>
                  </a:lnTo>
                  <a:lnTo>
                    <a:pt x="863" y="25185"/>
                  </a:lnTo>
                  <a:lnTo>
                    <a:pt x="690" y="25185"/>
                  </a:lnTo>
                  <a:lnTo>
                    <a:pt x="690" y="251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6" name="Gráfico 1344">
              <a:extLst>
                <a:ext uri="{FF2B5EF4-FFF2-40B4-BE49-F238E27FC236}">
                  <a16:creationId xmlns:a16="http://schemas.microsoft.com/office/drawing/2014/main" id="{A02C67AB-7E4C-4439-AA57-C9175E0E4846}"/>
                </a:ext>
              </a:extLst>
            </p:cNvPr>
            <p:cNvSpPr/>
            <p:nvPr/>
          </p:nvSpPr>
          <p:spPr>
            <a:xfrm>
              <a:off x="7389846" y="4600596"/>
              <a:ext cx="64170" cy="72795"/>
            </a:xfrm>
            <a:custGeom>
              <a:avLst/>
              <a:gdLst>
                <a:gd name="connsiteX0" fmla="*/ 44160 w 64170"/>
                <a:gd name="connsiteY0" fmla="*/ 71415 h 72795"/>
                <a:gd name="connsiteX1" fmla="*/ 42953 w 64170"/>
                <a:gd name="connsiteY1" fmla="*/ 64343 h 72795"/>
                <a:gd name="connsiteX2" fmla="*/ 42608 w 64170"/>
                <a:gd name="connsiteY2" fmla="*/ 64343 h 72795"/>
                <a:gd name="connsiteX3" fmla="*/ 22598 w 64170"/>
                <a:gd name="connsiteY3" fmla="*/ 72796 h 72795"/>
                <a:gd name="connsiteX4" fmla="*/ 0 w 64170"/>
                <a:gd name="connsiteY4" fmla="*/ 51578 h 72795"/>
                <a:gd name="connsiteX5" fmla="*/ 41055 w 64170"/>
                <a:gd name="connsiteY5" fmla="*/ 25012 h 72795"/>
                <a:gd name="connsiteX6" fmla="*/ 41055 w 64170"/>
                <a:gd name="connsiteY6" fmla="*/ 23977 h 72795"/>
                <a:gd name="connsiteX7" fmla="*/ 28463 w 64170"/>
                <a:gd name="connsiteY7" fmla="*/ 15008 h 72795"/>
                <a:gd name="connsiteX8" fmla="*/ 9143 w 64170"/>
                <a:gd name="connsiteY8" fmla="*/ 20010 h 72795"/>
                <a:gd name="connsiteX9" fmla="*/ 5003 w 64170"/>
                <a:gd name="connsiteY9" fmla="*/ 6210 h 72795"/>
                <a:gd name="connsiteX10" fmla="*/ 32258 w 64170"/>
                <a:gd name="connsiteY10" fmla="*/ 0 h 72795"/>
                <a:gd name="connsiteX11" fmla="*/ 63136 w 64170"/>
                <a:gd name="connsiteY11" fmla="*/ 29842 h 72795"/>
                <a:gd name="connsiteX12" fmla="*/ 63136 w 64170"/>
                <a:gd name="connsiteY12" fmla="*/ 53993 h 72795"/>
                <a:gd name="connsiteX13" fmla="*/ 64170 w 64170"/>
                <a:gd name="connsiteY13" fmla="*/ 70726 h 72795"/>
                <a:gd name="connsiteX14" fmla="*/ 44160 w 64170"/>
                <a:gd name="connsiteY14" fmla="*/ 70726 h 72795"/>
                <a:gd name="connsiteX15" fmla="*/ 44160 w 64170"/>
                <a:gd name="connsiteY15" fmla="*/ 71415 h 72795"/>
                <a:gd name="connsiteX16" fmla="*/ 44160 w 64170"/>
                <a:gd name="connsiteY16" fmla="*/ 71415 h 72795"/>
                <a:gd name="connsiteX17" fmla="*/ 41573 w 64170"/>
                <a:gd name="connsiteY17" fmla="*/ 38813 h 72795"/>
                <a:gd name="connsiteX18" fmla="*/ 21218 w 64170"/>
                <a:gd name="connsiteY18" fmla="*/ 49680 h 72795"/>
                <a:gd name="connsiteX19" fmla="*/ 29843 w 64170"/>
                <a:gd name="connsiteY19" fmla="*/ 57960 h 72795"/>
                <a:gd name="connsiteX20" fmla="*/ 41228 w 64170"/>
                <a:gd name="connsiteY20" fmla="*/ 50198 h 72795"/>
                <a:gd name="connsiteX21" fmla="*/ 41573 w 64170"/>
                <a:gd name="connsiteY21" fmla="*/ 46575 h 72795"/>
                <a:gd name="connsiteX22" fmla="*/ 41573 w 64170"/>
                <a:gd name="connsiteY22" fmla="*/ 38813 h 72795"/>
                <a:gd name="connsiteX23" fmla="*/ 41573 w 64170"/>
                <a:gd name="connsiteY23" fmla="*/ 38813 h 72795"/>
                <a:gd name="connsiteX24" fmla="*/ 41573 w 64170"/>
                <a:gd name="connsiteY24" fmla="*/ 38813 h 7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795">
                  <a:moveTo>
                    <a:pt x="44160" y="71415"/>
                  </a:moveTo>
                  <a:lnTo>
                    <a:pt x="42953" y="64343"/>
                  </a:lnTo>
                  <a:lnTo>
                    <a:pt x="42608" y="64343"/>
                  </a:lnTo>
                  <a:cubicBezTo>
                    <a:pt x="38123" y="69863"/>
                    <a:pt x="30878" y="72796"/>
                    <a:pt x="22598" y="72796"/>
                  </a:cubicBezTo>
                  <a:cubicBezTo>
                    <a:pt x="8452" y="72796"/>
                    <a:pt x="0" y="62618"/>
                    <a:pt x="0" y="51578"/>
                  </a:cubicBezTo>
                  <a:cubicBezTo>
                    <a:pt x="0" y="33637"/>
                    <a:pt x="16388" y="25012"/>
                    <a:pt x="41055" y="25012"/>
                  </a:cubicBezTo>
                  <a:lnTo>
                    <a:pt x="41055" y="23977"/>
                  </a:lnTo>
                  <a:cubicBezTo>
                    <a:pt x="41055" y="20182"/>
                    <a:pt x="39158" y="15008"/>
                    <a:pt x="28463" y="15008"/>
                  </a:cubicBezTo>
                  <a:cubicBezTo>
                    <a:pt x="21390" y="15008"/>
                    <a:pt x="13628" y="17422"/>
                    <a:pt x="9143" y="20010"/>
                  </a:cubicBezTo>
                  <a:lnTo>
                    <a:pt x="5003" y="6210"/>
                  </a:lnTo>
                  <a:cubicBezTo>
                    <a:pt x="10005" y="3450"/>
                    <a:pt x="19320" y="0"/>
                    <a:pt x="32258" y="0"/>
                  </a:cubicBezTo>
                  <a:cubicBezTo>
                    <a:pt x="55718" y="0"/>
                    <a:pt x="63136" y="13627"/>
                    <a:pt x="63136" y="29842"/>
                  </a:cubicBezTo>
                  <a:lnTo>
                    <a:pt x="63136" y="53993"/>
                  </a:lnTo>
                  <a:cubicBezTo>
                    <a:pt x="63136" y="60548"/>
                    <a:pt x="63308" y="66931"/>
                    <a:pt x="64170" y="70726"/>
                  </a:cubicBezTo>
                  <a:lnTo>
                    <a:pt x="44160" y="70726"/>
                  </a:lnTo>
                  <a:lnTo>
                    <a:pt x="44160" y="71415"/>
                  </a:lnTo>
                  <a:lnTo>
                    <a:pt x="44160" y="71415"/>
                  </a:lnTo>
                  <a:close/>
                  <a:moveTo>
                    <a:pt x="41573" y="38813"/>
                  </a:moveTo>
                  <a:cubicBezTo>
                    <a:pt x="30015" y="38640"/>
                    <a:pt x="21218" y="41400"/>
                    <a:pt x="21218" y="49680"/>
                  </a:cubicBezTo>
                  <a:cubicBezTo>
                    <a:pt x="21218" y="55200"/>
                    <a:pt x="24840" y="57960"/>
                    <a:pt x="29843" y="57960"/>
                  </a:cubicBezTo>
                  <a:cubicBezTo>
                    <a:pt x="35190" y="57960"/>
                    <a:pt x="39675" y="54338"/>
                    <a:pt x="41228" y="50198"/>
                  </a:cubicBezTo>
                  <a:cubicBezTo>
                    <a:pt x="41400" y="49163"/>
                    <a:pt x="41573" y="47783"/>
                    <a:pt x="41573" y="46575"/>
                  </a:cubicBezTo>
                  <a:lnTo>
                    <a:pt x="41573" y="38813"/>
                  </a:lnTo>
                  <a:lnTo>
                    <a:pt x="41573" y="38813"/>
                  </a:lnTo>
                  <a:lnTo>
                    <a:pt x="41573" y="388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7" name="Gráfico 1344">
              <a:extLst>
                <a:ext uri="{FF2B5EF4-FFF2-40B4-BE49-F238E27FC236}">
                  <a16:creationId xmlns:a16="http://schemas.microsoft.com/office/drawing/2014/main" id="{8F265BE7-6A36-4A4E-82EE-7921DA3160EF}"/>
                </a:ext>
              </a:extLst>
            </p:cNvPr>
            <p:cNvSpPr/>
            <p:nvPr/>
          </p:nvSpPr>
          <p:spPr>
            <a:xfrm>
              <a:off x="7466264" y="4603528"/>
              <a:ext cx="68483" cy="99188"/>
            </a:xfrm>
            <a:custGeom>
              <a:avLst/>
              <a:gdLst>
                <a:gd name="connsiteX0" fmla="*/ 68483 w 68483"/>
                <a:gd name="connsiteY0" fmla="*/ 690 h 99188"/>
                <a:gd name="connsiteX1" fmla="*/ 67793 w 68483"/>
                <a:gd name="connsiteY1" fmla="*/ 21218 h 99188"/>
                <a:gd name="connsiteX2" fmla="*/ 67793 w 68483"/>
                <a:gd name="connsiteY2" fmla="*/ 59686 h 99188"/>
                <a:gd name="connsiteX3" fmla="*/ 57615 w 68483"/>
                <a:gd name="connsiteY3" fmla="*/ 90736 h 99188"/>
                <a:gd name="connsiteX4" fmla="*/ 30016 w 68483"/>
                <a:gd name="connsiteY4" fmla="*/ 99188 h 99188"/>
                <a:gd name="connsiteX5" fmla="*/ 5693 w 68483"/>
                <a:gd name="connsiteY5" fmla="*/ 93841 h 99188"/>
                <a:gd name="connsiteX6" fmla="*/ 9833 w 68483"/>
                <a:gd name="connsiteY6" fmla="*/ 77626 h 99188"/>
                <a:gd name="connsiteX7" fmla="*/ 29498 w 68483"/>
                <a:gd name="connsiteY7" fmla="*/ 82973 h 99188"/>
                <a:gd name="connsiteX8" fmla="*/ 47093 w 68483"/>
                <a:gd name="connsiteY8" fmla="*/ 64861 h 99188"/>
                <a:gd name="connsiteX9" fmla="*/ 47093 w 68483"/>
                <a:gd name="connsiteY9" fmla="*/ 60375 h 99188"/>
                <a:gd name="connsiteX10" fmla="*/ 46920 w 68483"/>
                <a:gd name="connsiteY10" fmla="*/ 60375 h 99188"/>
                <a:gd name="connsiteX11" fmla="*/ 28635 w 68483"/>
                <a:gd name="connsiteY11" fmla="*/ 69518 h 99188"/>
                <a:gd name="connsiteX12" fmla="*/ 0 w 68483"/>
                <a:gd name="connsiteY12" fmla="*/ 36053 h 99188"/>
                <a:gd name="connsiteX13" fmla="*/ 30705 w 68483"/>
                <a:gd name="connsiteY13" fmla="*/ 0 h 99188"/>
                <a:gd name="connsiteX14" fmla="*/ 49163 w 68483"/>
                <a:gd name="connsiteY14" fmla="*/ 9660 h 99188"/>
                <a:gd name="connsiteX15" fmla="*/ 49336 w 68483"/>
                <a:gd name="connsiteY15" fmla="*/ 9660 h 99188"/>
                <a:gd name="connsiteX16" fmla="*/ 50025 w 68483"/>
                <a:gd name="connsiteY16" fmla="*/ 1380 h 99188"/>
                <a:gd name="connsiteX17" fmla="*/ 68311 w 68483"/>
                <a:gd name="connsiteY17" fmla="*/ 1380 h 99188"/>
                <a:gd name="connsiteX18" fmla="*/ 68311 w 68483"/>
                <a:gd name="connsiteY18" fmla="*/ 690 h 99188"/>
                <a:gd name="connsiteX19" fmla="*/ 68483 w 68483"/>
                <a:gd name="connsiteY19" fmla="*/ 690 h 99188"/>
                <a:gd name="connsiteX20" fmla="*/ 46920 w 68483"/>
                <a:gd name="connsiteY20" fmla="*/ 28808 h 99188"/>
                <a:gd name="connsiteX21" fmla="*/ 46576 w 68483"/>
                <a:gd name="connsiteY21" fmla="*/ 24840 h 99188"/>
                <a:gd name="connsiteX22" fmla="*/ 35190 w 68483"/>
                <a:gd name="connsiteY22" fmla="*/ 15353 h 99188"/>
                <a:gd name="connsiteX23" fmla="*/ 21218 w 68483"/>
                <a:gd name="connsiteY23" fmla="*/ 35018 h 99188"/>
                <a:gd name="connsiteX24" fmla="*/ 35190 w 68483"/>
                <a:gd name="connsiteY24" fmla="*/ 53303 h 99188"/>
                <a:gd name="connsiteX25" fmla="*/ 46230 w 68483"/>
                <a:gd name="connsiteY25" fmla="*/ 44678 h 99188"/>
                <a:gd name="connsiteX26" fmla="*/ 46920 w 68483"/>
                <a:gd name="connsiteY26" fmla="*/ 38985 h 99188"/>
                <a:gd name="connsiteX27" fmla="*/ 46920 w 68483"/>
                <a:gd name="connsiteY27" fmla="*/ 28808 h 99188"/>
                <a:gd name="connsiteX28" fmla="*/ 46920 w 68483"/>
                <a:gd name="connsiteY28" fmla="*/ 28808 h 99188"/>
                <a:gd name="connsiteX29" fmla="*/ 46920 w 68483"/>
                <a:gd name="connsiteY29" fmla="*/ 28808 h 99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8483" h="99188">
                  <a:moveTo>
                    <a:pt x="68483" y="690"/>
                  </a:moveTo>
                  <a:cubicBezTo>
                    <a:pt x="68311" y="5175"/>
                    <a:pt x="67793" y="10868"/>
                    <a:pt x="67793" y="21218"/>
                  </a:cubicBezTo>
                  <a:lnTo>
                    <a:pt x="67793" y="59686"/>
                  </a:lnTo>
                  <a:cubicBezTo>
                    <a:pt x="67793" y="72968"/>
                    <a:pt x="65033" y="83663"/>
                    <a:pt x="57615" y="90736"/>
                  </a:cubicBezTo>
                  <a:cubicBezTo>
                    <a:pt x="50198" y="97291"/>
                    <a:pt x="40020" y="99188"/>
                    <a:pt x="30016" y="99188"/>
                  </a:cubicBezTo>
                  <a:cubicBezTo>
                    <a:pt x="21045" y="99188"/>
                    <a:pt x="11730" y="97291"/>
                    <a:pt x="5693" y="93841"/>
                  </a:cubicBezTo>
                  <a:lnTo>
                    <a:pt x="9833" y="77626"/>
                  </a:lnTo>
                  <a:cubicBezTo>
                    <a:pt x="14145" y="80214"/>
                    <a:pt x="21735" y="82973"/>
                    <a:pt x="29498" y="82973"/>
                  </a:cubicBezTo>
                  <a:cubicBezTo>
                    <a:pt x="39503" y="82973"/>
                    <a:pt x="47093" y="77453"/>
                    <a:pt x="47093" y="64861"/>
                  </a:cubicBezTo>
                  <a:lnTo>
                    <a:pt x="47093" y="60375"/>
                  </a:lnTo>
                  <a:lnTo>
                    <a:pt x="46920" y="60375"/>
                  </a:lnTo>
                  <a:cubicBezTo>
                    <a:pt x="42953" y="66068"/>
                    <a:pt x="36398" y="69518"/>
                    <a:pt x="28635" y="69518"/>
                  </a:cubicBezTo>
                  <a:cubicBezTo>
                    <a:pt x="11730" y="69518"/>
                    <a:pt x="0" y="55891"/>
                    <a:pt x="0" y="36053"/>
                  </a:cubicBezTo>
                  <a:cubicBezTo>
                    <a:pt x="0" y="13973"/>
                    <a:pt x="14145" y="0"/>
                    <a:pt x="30705" y="0"/>
                  </a:cubicBezTo>
                  <a:cubicBezTo>
                    <a:pt x="40020" y="0"/>
                    <a:pt x="45885" y="3968"/>
                    <a:pt x="49163" y="9660"/>
                  </a:cubicBezTo>
                  <a:lnTo>
                    <a:pt x="49336" y="9660"/>
                  </a:lnTo>
                  <a:lnTo>
                    <a:pt x="50025" y="1380"/>
                  </a:lnTo>
                  <a:lnTo>
                    <a:pt x="68311" y="1380"/>
                  </a:lnTo>
                  <a:lnTo>
                    <a:pt x="68311" y="690"/>
                  </a:lnTo>
                  <a:lnTo>
                    <a:pt x="68483" y="690"/>
                  </a:lnTo>
                  <a:close/>
                  <a:moveTo>
                    <a:pt x="46920" y="28808"/>
                  </a:moveTo>
                  <a:cubicBezTo>
                    <a:pt x="46920" y="27600"/>
                    <a:pt x="46748" y="26048"/>
                    <a:pt x="46576" y="24840"/>
                  </a:cubicBezTo>
                  <a:cubicBezTo>
                    <a:pt x="45195" y="19148"/>
                    <a:pt x="41228" y="15353"/>
                    <a:pt x="35190" y="15353"/>
                  </a:cubicBezTo>
                  <a:cubicBezTo>
                    <a:pt x="27428" y="15353"/>
                    <a:pt x="21218" y="22253"/>
                    <a:pt x="21218" y="35018"/>
                  </a:cubicBezTo>
                  <a:cubicBezTo>
                    <a:pt x="21218" y="45368"/>
                    <a:pt x="26221" y="53303"/>
                    <a:pt x="35190" y="53303"/>
                  </a:cubicBezTo>
                  <a:cubicBezTo>
                    <a:pt x="40538" y="53303"/>
                    <a:pt x="45023" y="49680"/>
                    <a:pt x="46230" y="44678"/>
                  </a:cubicBezTo>
                  <a:cubicBezTo>
                    <a:pt x="46920" y="43125"/>
                    <a:pt x="46920" y="40883"/>
                    <a:pt x="46920" y="38985"/>
                  </a:cubicBezTo>
                  <a:lnTo>
                    <a:pt x="46920" y="28808"/>
                  </a:lnTo>
                  <a:lnTo>
                    <a:pt x="46920" y="28808"/>
                  </a:lnTo>
                  <a:lnTo>
                    <a:pt x="46920" y="2880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8" name="Gráfico 1344">
              <a:extLst>
                <a:ext uri="{FF2B5EF4-FFF2-40B4-BE49-F238E27FC236}">
                  <a16:creationId xmlns:a16="http://schemas.microsoft.com/office/drawing/2014/main" id="{9DFF4AAA-4046-46F3-A2D9-87CE3E5D5ED8}"/>
                </a:ext>
              </a:extLst>
            </p:cNvPr>
            <p:cNvSpPr/>
            <p:nvPr/>
          </p:nvSpPr>
          <p:spPr>
            <a:xfrm>
              <a:off x="7551307" y="4603183"/>
              <a:ext cx="68310" cy="70380"/>
            </a:xfrm>
            <a:custGeom>
              <a:avLst/>
              <a:gdLst>
                <a:gd name="connsiteX0" fmla="*/ 67621 w 68310"/>
                <a:gd name="connsiteY0" fmla="*/ 46748 h 70380"/>
                <a:gd name="connsiteX1" fmla="*/ 68311 w 68310"/>
                <a:gd name="connsiteY1" fmla="*/ 68828 h 70380"/>
                <a:gd name="connsiteX2" fmla="*/ 48991 w 68310"/>
                <a:gd name="connsiteY2" fmla="*/ 68828 h 70380"/>
                <a:gd name="connsiteX3" fmla="*/ 47956 w 68310"/>
                <a:gd name="connsiteY3" fmla="*/ 59168 h 70380"/>
                <a:gd name="connsiteX4" fmla="*/ 47438 w 68310"/>
                <a:gd name="connsiteY4" fmla="*/ 59168 h 70380"/>
                <a:gd name="connsiteX5" fmla="*/ 25186 w 68310"/>
                <a:gd name="connsiteY5" fmla="*/ 70380 h 70380"/>
                <a:gd name="connsiteX6" fmla="*/ 0 w 68310"/>
                <a:gd name="connsiteY6" fmla="*/ 40538 h 70380"/>
                <a:gd name="connsiteX7" fmla="*/ 0 w 68310"/>
                <a:gd name="connsiteY7" fmla="*/ 0 h 70380"/>
                <a:gd name="connsiteX8" fmla="*/ 22253 w 68310"/>
                <a:gd name="connsiteY8" fmla="*/ 0 h 70380"/>
                <a:gd name="connsiteX9" fmla="*/ 22253 w 68310"/>
                <a:gd name="connsiteY9" fmla="*/ 37088 h 70380"/>
                <a:gd name="connsiteX10" fmla="*/ 33465 w 68310"/>
                <a:gd name="connsiteY10" fmla="*/ 53130 h 70380"/>
                <a:gd name="connsiteX11" fmla="*/ 44678 w 68310"/>
                <a:gd name="connsiteY11" fmla="*/ 45540 h 70380"/>
                <a:gd name="connsiteX12" fmla="*/ 45368 w 68310"/>
                <a:gd name="connsiteY12" fmla="*/ 40883 h 70380"/>
                <a:gd name="connsiteX13" fmla="*/ 45368 w 68310"/>
                <a:gd name="connsiteY13" fmla="*/ 0 h 70380"/>
                <a:gd name="connsiteX14" fmla="*/ 67621 w 68310"/>
                <a:gd name="connsiteY14" fmla="*/ 0 h 70380"/>
                <a:gd name="connsiteX15" fmla="*/ 67621 w 68310"/>
                <a:gd name="connsiteY15" fmla="*/ 46748 h 70380"/>
                <a:gd name="connsiteX16" fmla="*/ 67621 w 68310"/>
                <a:gd name="connsiteY16" fmla="*/ 46748 h 70380"/>
                <a:gd name="connsiteX17" fmla="*/ 67621 w 68310"/>
                <a:gd name="connsiteY17" fmla="*/ 46748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310" h="70380">
                  <a:moveTo>
                    <a:pt x="67621" y="46748"/>
                  </a:moveTo>
                  <a:cubicBezTo>
                    <a:pt x="67621" y="55890"/>
                    <a:pt x="67793" y="63136"/>
                    <a:pt x="68311" y="68828"/>
                  </a:cubicBezTo>
                  <a:lnTo>
                    <a:pt x="48991" y="68828"/>
                  </a:lnTo>
                  <a:lnTo>
                    <a:pt x="47956" y="59168"/>
                  </a:lnTo>
                  <a:lnTo>
                    <a:pt x="47438" y="59168"/>
                  </a:lnTo>
                  <a:cubicBezTo>
                    <a:pt x="44506" y="63308"/>
                    <a:pt x="37950" y="70380"/>
                    <a:pt x="25186" y="70380"/>
                  </a:cubicBezTo>
                  <a:cubicBezTo>
                    <a:pt x="10696" y="70380"/>
                    <a:pt x="0" y="61755"/>
                    <a:pt x="0" y="40538"/>
                  </a:cubicBezTo>
                  <a:lnTo>
                    <a:pt x="0" y="0"/>
                  </a:lnTo>
                  <a:lnTo>
                    <a:pt x="22253" y="0"/>
                  </a:lnTo>
                  <a:lnTo>
                    <a:pt x="22253" y="37088"/>
                  </a:lnTo>
                  <a:cubicBezTo>
                    <a:pt x="22253" y="46920"/>
                    <a:pt x="25530" y="53130"/>
                    <a:pt x="33465" y="53130"/>
                  </a:cubicBezTo>
                  <a:cubicBezTo>
                    <a:pt x="39676" y="53130"/>
                    <a:pt x="43125" y="48990"/>
                    <a:pt x="44678" y="45540"/>
                  </a:cubicBezTo>
                  <a:cubicBezTo>
                    <a:pt x="45368" y="44333"/>
                    <a:pt x="45368" y="42608"/>
                    <a:pt x="45368" y="40883"/>
                  </a:cubicBezTo>
                  <a:lnTo>
                    <a:pt x="45368" y="0"/>
                  </a:lnTo>
                  <a:lnTo>
                    <a:pt x="67621" y="0"/>
                  </a:lnTo>
                  <a:lnTo>
                    <a:pt x="67621" y="46748"/>
                  </a:lnTo>
                  <a:lnTo>
                    <a:pt x="67621" y="46748"/>
                  </a:lnTo>
                  <a:lnTo>
                    <a:pt x="67621" y="4674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899" name="Gráfico 1344">
              <a:extLst>
                <a:ext uri="{FF2B5EF4-FFF2-40B4-BE49-F238E27FC236}">
                  <a16:creationId xmlns:a16="http://schemas.microsoft.com/office/drawing/2014/main" id="{E95D35E1-B870-4DCB-9119-F2213039BBDA}"/>
                </a:ext>
              </a:extLst>
            </p:cNvPr>
            <p:cNvSpPr/>
            <p:nvPr/>
          </p:nvSpPr>
          <p:spPr>
            <a:xfrm>
              <a:off x="7629968" y="4600596"/>
              <a:ext cx="64170" cy="72795"/>
            </a:xfrm>
            <a:custGeom>
              <a:avLst/>
              <a:gdLst>
                <a:gd name="connsiteX0" fmla="*/ 44160 w 64170"/>
                <a:gd name="connsiteY0" fmla="*/ 71415 h 72795"/>
                <a:gd name="connsiteX1" fmla="*/ 42953 w 64170"/>
                <a:gd name="connsiteY1" fmla="*/ 64343 h 72795"/>
                <a:gd name="connsiteX2" fmla="*/ 42608 w 64170"/>
                <a:gd name="connsiteY2" fmla="*/ 64343 h 72795"/>
                <a:gd name="connsiteX3" fmla="*/ 22598 w 64170"/>
                <a:gd name="connsiteY3" fmla="*/ 72796 h 72795"/>
                <a:gd name="connsiteX4" fmla="*/ 0 w 64170"/>
                <a:gd name="connsiteY4" fmla="*/ 51578 h 72795"/>
                <a:gd name="connsiteX5" fmla="*/ 41055 w 64170"/>
                <a:gd name="connsiteY5" fmla="*/ 25012 h 72795"/>
                <a:gd name="connsiteX6" fmla="*/ 41055 w 64170"/>
                <a:gd name="connsiteY6" fmla="*/ 23977 h 72795"/>
                <a:gd name="connsiteX7" fmla="*/ 28463 w 64170"/>
                <a:gd name="connsiteY7" fmla="*/ 15008 h 72795"/>
                <a:gd name="connsiteX8" fmla="*/ 9143 w 64170"/>
                <a:gd name="connsiteY8" fmla="*/ 20010 h 72795"/>
                <a:gd name="connsiteX9" fmla="*/ 5002 w 64170"/>
                <a:gd name="connsiteY9" fmla="*/ 6210 h 72795"/>
                <a:gd name="connsiteX10" fmla="*/ 32258 w 64170"/>
                <a:gd name="connsiteY10" fmla="*/ 0 h 72795"/>
                <a:gd name="connsiteX11" fmla="*/ 63135 w 64170"/>
                <a:gd name="connsiteY11" fmla="*/ 29842 h 72795"/>
                <a:gd name="connsiteX12" fmla="*/ 63135 w 64170"/>
                <a:gd name="connsiteY12" fmla="*/ 53993 h 72795"/>
                <a:gd name="connsiteX13" fmla="*/ 64170 w 64170"/>
                <a:gd name="connsiteY13" fmla="*/ 70726 h 72795"/>
                <a:gd name="connsiteX14" fmla="*/ 44160 w 64170"/>
                <a:gd name="connsiteY14" fmla="*/ 70726 h 72795"/>
                <a:gd name="connsiteX15" fmla="*/ 44160 w 64170"/>
                <a:gd name="connsiteY15" fmla="*/ 71415 h 72795"/>
                <a:gd name="connsiteX16" fmla="*/ 44160 w 64170"/>
                <a:gd name="connsiteY16" fmla="*/ 71415 h 72795"/>
                <a:gd name="connsiteX17" fmla="*/ 41572 w 64170"/>
                <a:gd name="connsiteY17" fmla="*/ 38813 h 72795"/>
                <a:gd name="connsiteX18" fmla="*/ 21217 w 64170"/>
                <a:gd name="connsiteY18" fmla="*/ 49680 h 72795"/>
                <a:gd name="connsiteX19" fmla="*/ 29842 w 64170"/>
                <a:gd name="connsiteY19" fmla="*/ 57960 h 72795"/>
                <a:gd name="connsiteX20" fmla="*/ 41228 w 64170"/>
                <a:gd name="connsiteY20" fmla="*/ 50198 h 72795"/>
                <a:gd name="connsiteX21" fmla="*/ 41572 w 64170"/>
                <a:gd name="connsiteY21" fmla="*/ 46575 h 72795"/>
                <a:gd name="connsiteX22" fmla="*/ 41572 w 64170"/>
                <a:gd name="connsiteY22" fmla="*/ 38813 h 72795"/>
                <a:gd name="connsiteX23" fmla="*/ 41572 w 64170"/>
                <a:gd name="connsiteY23" fmla="*/ 38813 h 72795"/>
                <a:gd name="connsiteX24" fmla="*/ 41572 w 64170"/>
                <a:gd name="connsiteY24" fmla="*/ 38813 h 7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795">
                  <a:moveTo>
                    <a:pt x="44160" y="71415"/>
                  </a:moveTo>
                  <a:lnTo>
                    <a:pt x="42953" y="64343"/>
                  </a:lnTo>
                  <a:lnTo>
                    <a:pt x="42608" y="64343"/>
                  </a:lnTo>
                  <a:cubicBezTo>
                    <a:pt x="38123" y="69863"/>
                    <a:pt x="30877" y="72796"/>
                    <a:pt x="22598" y="72796"/>
                  </a:cubicBezTo>
                  <a:cubicBezTo>
                    <a:pt x="8452" y="72796"/>
                    <a:pt x="0" y="62618"/>
                    <a:pt x="0" y="51578"/>
                  </a:cubicBezTo>
                  <a:cubicBezTo>
                    <a:pt x="0" y="33637"/>
                    <a:pt x="16387" y="25012"/>
                    <a:pt x="41055" y="25012"/>
                  </a:cubicBezTo>
                  <a:lnTo>
                    <a:pt x="41055" y="23977"/>
                  </a:lnTo>
                  <a:cubicBezTo>
                    <a:pt x="41055" y="20182"/>
                    <a:pt x="39158" y="15008"/>
                    <a:pt x="28463" y="15008"/>
                  </a:cubicBezTo>
                  <a:cubicBezTo>
                    <a:pt x="21390" y="15008"/>
                    <a:pt x="13627" y="17422"/>
                    <a:pt x="9143" y="20010"/>
                  </a:cubicBezTo>
                  <a:lnTo>
                    <a:pt x="5002" y="6210"/>
                  </a:lnTo>
                  <a:cubicBezTo>
                    <a:pt x="10005" y="3450"/>
                    <a:pt x="19320" y="0"/>
                    <a:pt x="32258" y="0"/>
                  </a:cubicBezTo>
                  <a:cubicBezTo>
                    <a:pt x="55718" y="0"/>
                    <a:pt x="63135" y="13627"/>
                    <a:pt x="63135" y="29842"/>
                  </a:cubicBezTo>
                  <a:lnTo>
                    <a:pt x="63135" y="53993"/>
                  </a:lnTo>
                  <a:cubicBezTo>
                    <a:pt x="63135" y="60548"/>
                    <a:pt x="63308" y="66931"/>
                    <a:pt x="64170" y="70726"/>
                  </a:cubicBezTo>
                  <a:lnTo>
                    <a:pt x="44160" y="70726"/>
                  </a:lnTo>
                  <a:lnTo>
                    <a:pt x="44160" y="71415"/>
                  </a:lnTo>
                  <a:lnTo>
                    <a:pt x="44160" y="71415"/>
                  </a:lnTo>
                  <a:close/>
                  <a:moveTo>
                    <a:pt x="41572" y="38813"/>
                  </a:moveTo>
                  <a:cubicBezTo>
                    <a:pt x="30015" y="38640"/>
                    <a:pt x="21217" y="41400"/>
                    <a:pt x="21217" y="49680"/>
                  </a:cubicBezTo>
                  <a:cubicBezTo>
                    <a:pt x="21217" y="55200"/>
                    <a:pt x="24840" y="57960"/>
                    <a:pt x="29842" y="57960"/>
                  </a:cubicBezTo>
                  <a:cubicBezTo>
                    <a:pt x="35363" y="57960"/>
                    <a:pt x="39675" y="54338"/>
                    <a:pt x="41228" y="50198"/>
                  </a:cubicBezTo>
                  <a:cubicBezTo>
                    <a:pt x="41400" y="49163"/>
                    <a:pt x="41572" y="47783"/>
                    <a:pt x="41572" y="46575"/>
                  </a:cubicBezTo>
                  <a:lnTo>
                    <a:pt x="41572" y="38813"/>
                  </a:lnTo>
                  <a:lnTo>
                    <a:pt x="41572" y="38813"/>
                  </a:lnTo>
                  <a:lnTo>
                    <a:pt x="41572" y="388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900" name="Gráfico 1344">
              <a:extLst>
                <a:ext uri="{FF2B5EF4-FFF2-40B4-BE49-F238E27FC236}">
                  <a16:creationId xmlns:a16="http://schemas.microsoft.com/office/drawing/2014/main" id="{04BFF6E0-D230-4817-83C4-CB8CD046BC83}"/>
                </a:ext>
              </a:extLst>
            </p:cNvPr>
            <p:cNvSpPr/>
            <p:nvPr/>
          </p:nvSpPr>
          <p:spPr>
            <a:xfrm>
              <a:off x="7710698" y="4600941"/>
              <a:ext cx="41572" cy="72450"/>
            </a:xfrm>
            <a:custGeom>
              <a:avLst/>
              <a:gdLst>
                <a:gd name="connsiteX0" fmla="*/ 690 w 41572"/>
                <a:gd name="connsiteY0" fmla="*/ 25185 h 72450"/>
                <a:gd name="connsiteX1" fmla="*/ 0 w 41572"/>
                <a:gd name="connsiteY1" fmla="*/ 1552 h 72450"/>
                <a:gd name="connsiteX2" fmla="*/ 17768 w 41572"/>
                <a:gd name="connsiteY2" fmla="*/ 1552 h 72450"/>
                <a:gd name="connsiteX3" fmla="*/ 18458 w 41572"/>
                <a:gd name="connsiteY3" fmla="*/ 14663 h 72450"/>
                <a:gd name="connsiteX4" fmla="*/ 19147 w 41572"/>
                <a:gd name="connsiteY4" fmla="*/ 14663 h 72450"/>
                <a:gd name="connsiteX5" fmla="*/ 37260 w 41572"/>
                <a:gd name="connsiteY5" fmla="*/ 0 h 72450"/>
                <a:gd name="connsiteX6" fmla="*/ 41573 w 41572"/>
                <a:gd name="connsiteY6" fmla="*/ 173 h 72450"/>
                <a:gd name="connsiteX7" fmla="*/ 41573 w 41572"/>
                <a:gd name="connsiteY7" fmla="*/ 20873 h 72450"/>
                <a:gd name="connsiteX8" fmla="*/ 36053 w 41572"/>
                <a:gd name="connsiteY8" fmla="*/ 20183 h 72450"/>
                <a:gd name="connsiteX9" fmla="*/ 21907 w 41572"/>
                <a:gd name="connsiteY9" fmla="*/ 31395 h 72450"/>
                <a:gd name="connsiteX10" fmla="*/ 21563 w 41572"/>
                <a:gd name="connsiteY10" fmla="*/ 36225 h 72450"/>
                <a:gd name="connsiteX11" fmla="*/ 21563 w 41572"/>
                <a:gd name="connsiteY11" fmla="*/ 72451 h 72450"/>
                <a:gd name="connsiteX12" fmla="*/ 862 w 41572"/>
                <a:gd name="connsiteY12" fmla="*/ 72451 h 72450"/>
                <a:gd name="connsiteX13" fmla="*/ 862 w 41572"/>
                <a:gd name="connsiteY13" fmla="*/ 25185 h 72450"/>
                <a:gd name="connsiteX14" fmla="*/ 690 w 41572"/>
                <a:gd name="connsiteY14" fmla="*/ 25185 h 72450"/>
                <a:gd name="connsiteX15" fmla="*/ 690 w 41572"/>
                <a:gd name="connsiteY15" fmla="*/ 2518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572" h="72450">
                  <a:moveTo>
                    <a:pt x="690" y="25185"/>
                  </a:moveTo>
                  <a:cubicBezTo>
                    <a:pt x="690" y="14663"/>
                    <a:pt x="517" y="7935"/>
                    <a:pt x="0" y="1552"/>
                  </a:cubicBezTo>
                  <a:lnTo>
                    <a:pt x="17768" y="1552"/>
                  </a:lnTo>
                  <a:lnTo>
                    <a:pt x="18458" y="14663"/>
                  </a:lnTo>
                  <a:lnTo>
                    <a:pt x="19147" y="14663"/>
                  </a:lnTo>
                  <a:cubicBezTo>
                    <a:pt x="22598" y="4140"/>
                    <a:pt x="30878" y="0"/>
                    <a:pt x="37260" y="0"/>
                  </a:cubicBezTo>
                  <a:cubicBezTo>
                    <a:pt x="39158" y="0"/>
                    <a:pt x="40193" y="0"/>
                    <a:pt x="41573" y="173"/>
                  </a:cubicBezTo>
                  <a:lnTo>
                    <a:pt x="41573" y="20873"/>
                  </a:lnTo>
                  <a:cubicBezTo>
                    <a:pt x="40193" y="20700"/>
                    <a:pt x="38295" y="20183"/>
                    <a:pt x="36053" y="20183"/>
                  </a:cubicBezTo>
                  <a:cubicBezTo>
                    <a:pt x="28463" y="20183"/>
                    <a:pt x="23115" y="24495"/>
                    <a:pt x="21907" y="31395"/>
                  </a:cubicBezTo>
                  <a:cubicBezTo>
                    <a:pt x="21735" y="32948"/>
                    <a:pt x="21563" y="34673"/>
                    <a:pt x="21563" y="36225"/>
                  </a:cubicBezTo>
                  <a:lnTo>
                    <a:pt x="21563" y="72451"/>
                  </a:lnTo>
                  <a:lnTo>
                    <a:pt x="862" y="72451"/>
                  </a:lnTo>
                  <a:lnTo>
                    <a:pt x="862" y="25185"/>
                  </a:lnTo>
                  <a:lnTo>
                    <a:pt x="690" y="25185"/>
                  </a:lnTo>
                  <a:lnTo>
                    <a:pt x="690" y="251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901" name="Gráfico 1344">
              <a:extLst>
                <a:ext uri="{FF2B5EF4-FFF2-40B4-BE49-F238E27FC236}">
                  <a16:creationId xmlns:a16="http://schemas.microsoft.com/office/drawing/2014/main" id="{DCD9BAE2-0E39-4BFC-BA0C-0DC93B72B1A6}"/>
                </a:ext>
              </a:extLst>
            </p:cNvPr>
            <p:cNvSpPr/>
            <p:nvPr/>
          </p:nvSpPr>
          <p:spPr>
            <a:xfrm>
              <a:off x="7764519" y="4572133"/>
              <a:ext cx="22770" cy="101430"/>
            </a:xfrm>
            <a:custGeom>
              <a:avLst/>
              <a:gdLst>
                <a:gd name="connsiteX0" fmla="*/ 22770 w 22770"/>
                <a:gd name="connsiteY0" fmla="*/ 11040 h 101430"/>
                <a:gd name="connsiteX1" fmla="*/ 11212 w 22770"/>
                <a:gd name="connsiteY1" fmla="*/ 22080 h 101430"/>
                <a:gd name="connsiteX2" fmla="*/ 0 w 22770"/>
                <a:gd name="connsiteY2" fmla="*/ 11040 h 101430"/>
                <a:gd name="connsiteX3" fmla="*/ 11212 w 22770"/>
                <a:gd name="connsiteY3" fmla="*/ 0 h 101430"/>
                <a:gd name="connsiteX4" fmla="*/ 22770 w 22770"/>
                <a:gd name="connsiteY4" fmla="*/ 11040 h 101430"/>
                <a:gd name="connsiteX5" fmla="*/ 690 w 22770"/>
                <a:gd name="connsiteY5" fmla="*/ 30705 h 101430"/>
                <a:gd name="connsiteX6" fmla="*/ 22080 w 22770"/>
                <a:gd name="connsiteY6" fmla="*/ 30705 h 101430"/>
                <a:gd name="connsiteX7" fmla="*/ 22080 w 22770"/>
                <a:gd name="connsiteY7" fmla="*/ 101430 h 101430"/>
                <a:gd name="connsiteX8" fmla="*/ 517 w 22770"/>
                <a:gd name="connsiteY8" fmla="*/ 101430 h 101430"/>
                <a:gd name="connsiteX9" fmla="*/ 517 w 22770"/>
                <a:gd name="connsiteY9" fmla="*/ 30705 h 101430"/>
                <a:gd name="connsiteX10" fmla="*/ 690 w 22770"/>
                <a:gd name="connsiteY10" fmla="*/ 30705 h 101430"/>
                <a:gd name="connsiteX11" fmla="*/ 690 w 22770"/>
                <a:gd name="connsiteY11" fmla="*/ 30705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70" h="101430">
                  <a:moveTo>
                    <a:pt x="22770" y="11040"/>
                  </a:moveTo>
                  <a:cubicBezTo>
                    <a:pt x="22770" y="17077"/>
                    <a:pt x="18285" y="22080"/>
                    <a:pt x="11212" y="22080"/>
                  </a:cubicBezTo>
                  <a:cubicBezTo>
                    <a:pt x="4485" y="22080"/>
                    <a:pt x="0" y="17077"/>
                    <a:pt x="0" y="11040"/>
                  </a:cubicBezTo>
                  <a:cubicBezTo>
                    <a:pt x="0" y="4830"/>
                    <a:pt x="4485" y="0"/>
                    <a:pt x="11212" y="0"/>
                  </a:cubicBezTo>
                  <a:cubicBezTo>
                    <a:pt x="18112" y="0"/>
                    <a:pt x="22598" y="4830"/>
                    <a:pt x="22770" y="11040"/>
                  </a:cubicBezTo>
                  <a:moveTo>
                    <a:pt x="690" y="30705"/>
                  </a:moveTo>
                  <a:lnTo>
                    <a:pt x="22080" y="30705"/>
                  </a:lnTo>
                  <a:lnTo>
                    <a:pt x="22080" y="101430"/>
                  </a:lnTo>
                  <a:lnTo>
                    <a:pt x="517" y="101430"/>
                  </a:lnTo>
                  <a:lnTo>
                    <a:pt x="517" y="30705"/>
                  </a:lnTo>
                  <a:lnTo>
                    <a:pt x="690" y="30705"/>
                  </a:lnTo>
                  <a:lnTo>
                    <a:pt x="690" y="3070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902" name="Agrupar 901">
            <a:extLst>
              <a:ext uri="{FF2B5EF4-FFF2-40B4-BE49-F238E27FC236}">
                <a16:creationId xmlns:a16="http://schemas.microsoft.com/office/drawing/2014/main" id="{5BDD5717-41D8-4B5C-8B0B-20C00B14271F}"/>
              </a:ext>
            </a:extLst>
          </p:cNvPr>
          <p:cNvGrpSpPr/>
          <p:nvPr/>
        </p:nvGrpSpPr>
        <p:grpSpPr>
          <a:xfrm>
            <a:off x="7128086" y="2208090"/>
            <a:ext cx="908564" cy="103673"/>
            <a:chOff x="6930302" y="2235086"/>
            <a:chExt cx="908564" cy="103673"/>
          </a:xfrm>
        </p:grpSpPr>
        <p:sp>
          <p:nvSpPr>
            <p:cNvPr id="903" name="Gráfico 1344">
              <a:extLst>
                <a:ext uri="{FF2B5EF4-FFF2-40B4-BE49-F238E27FC236}">
                  <a16:creationId xmlns:a16="http://schemas.microsoft.com/office/drawing/2014/main" id="{E49FEC71-5F18-4CD5-8E86-A463EB3C62CD}"/>
                </a:ext>
              </a:extLst>
            </p:cNvPr>
            <p:cNvSpPr/>
            <p:nvPr/>
          </p:nvSpPr>
          <p:spPr>
            <a:xfrm>
              <a:off x="6930302" y="2241296"/>
              <a:ext cx="74520" cy="95220"/>
            </a:xfrm>
            <a:custGeom>
              <a:avLst/>
              <a:gdLst>
                <a:gd name="connsiteX0" fmla="*/ 26048 w 74520"/>
                <a:gd name="connsiteY0" fmla="*/ 17940 h 95220"/>
                <a:gd name="connsiteX1" fmla="*/ 0 w 74520"/>
                <a:gd name="connsiteY1" fmla="*/ 17940 h 95220"/>
                <a:gd name="connsiteX2" fmla="*/ 0 w 74520"/>
                <a:gd name="connsiteY2" fmla="*/ 0 h 95220"/>
                <a:gd name="connsiteX3" fmla="*/ 74521 w 74520"/>
                <a:gd name="connsiteY3" fmla="*/ 0 h 95220"/>
                <a:gd name="connsiteX4" fmla="*/ 74521 w 74520"/>
                <a:gd name="connsiteY4" fmla="*/ 17940 h 95220"/>
                <a:gd name="connsiteX5" fmla="*/ 47956 w 74520"/>
                <a:gd name="connsiteY5" fmla="*/ 17940 h 95220"/>
                <a:gd name="connsiteX6" fmla="*/ 47956 w 74520"/>
                <a:gd name="connsiteY6" fmla="*/ 95221 h 95220"/>
                <a:gd name="connsiteX7" fmla="*/ 26048 w 74520"/>
                <a:gd name="connsiteY7" fmla="*/ 95221 h 95220"/>
                <a:gd name="connsiteX8" fmla="*/ 26048 w 74520"/>
                <a:gd name="connsiteY8" fmla="*/ 1794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5220">
                  <a:moveTo>
                    <a:pt x="26048" y="17940"/>
                  </a:moveTo>
                  <a:lnTo>
                    <a:pt x="0" y="17940"/>
                  </a:lnTo>
                  <a:lnTo>
                    <a:pt x="0" y="0"/>
                  </a:lnTo>
                  <a:lnTo>
                    <a:pt x="74521" y="0"/>
                  </a:lnTo>
                  <a:lnTo>
                    <a:pt x="74521" y="17940"/>
                  </a:lnTo>
                  <a:lnTo>
                    <a:pt x="47956" y="17940"/>
                  </a:lnTo>
                  <a:lnTo>
                    <a:pt x="47956" y="95221"/>
                  </a:lnTo>
                  <a:lnTo>
                    <a:pt x="26048" y="95221"/>
                  </a:lnTo>
                  <a:lnTo>
                    <a:pt x="26048" y="1794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1" name="Gráfico 1344">
              <a:extLst>
                <a:ext uri="{FF2B5EF4-FFF2-40B4-BE49-F238E27FC236}">
                  <a16:creationId xmlns:a16="http://schemas.microsoft.com/office/drawing/2014/main" id="{7B04293D-36F1-4287-A06B-EA63117F5733}"/>
                </a:ext>
              </a:extLst>
            </p:cNvPr>
            <p:cNvSpPr/>
            <p:nvPr/>
          </p:nvSpPr>
          <p:spPr>
            <a:xfrm>
              <a:off x="7015173" y="2241296"/>
              <a:ext cx="22770" cy="95220"/>
            </a:xfrm>
            <a:custGeom>
              <a:avLst/>
              <a:gdLst>
                <a:gd name="connsiteX0" fmla="*/ 0 w 22770"/>
                <a:gd name="connsiteY0" fmla="*/ 0 h 95220"/>
                <a:gd name="connsiteX1" fmla="*/ 22770 w 22770"/>
                <a:gd name="connsiteY1" fmla="*/ 0 h 95220"/>
                <a:gd name="connsiteX2" fmla="*/ 22770 w 22770"/>
                <a:gd name="connsiteY2" fmla="*/ 95221 h 95220"/>
                <a:gd name="connsiteX3" fmla="*/ 0 w 22770"/>
                <a:gd name="connsiteY3" fmla="*/ 95221 h 95220"/>
                <a:gd name="connsiteX4" fmla="*/ 0 w 22770"/>
                <a:gd name="connsiteY4" fmla="*/ 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0" h="95220">
                  <a:moveTo>
                    <a:pt x="0" y="0"/>
                  </a:moveTo>
                  <a:lnTo>
                    <a:pt x="22770" y="0"/>
                  </a:lnTo>
                  <a:lnTo>
                    <a:pt x="2277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2" name="Gráfico 1344">
              <a:extLst>
                <a:ext uri="{FF2B5EF4-FFF2-40B4-BE49-F238E27FC236}">
                  <a16:creationId xmlns:a16="http://schemas.microsoft.com/office/drawing/2014/main" id="{91198357-0958-4B5D-A99A-75EFA68694A1}"/>
                </a:ext>
              </a:extLst>
            </p:cNvPr>
            <p:cNvSpPr/>
            <p:nvPr/>
          </p:nvSpPr>
          <p:spPr>
            <a:xfrm>
              <a:off x="7085553" y="2239226"/>
              <a:ext cx="68310" cy="97290"/>
            </a:xfrm>
            <a:custGeom>
              <a:avLst/>
              <a:gdLst>
                <a:gd name="connsiteX0" fmla="*/ 173 w 68310"/>
                <a:gd name="connsiteY0" fmla="*/ 2070 h 97290"/>
                <a:gd name="connsiteX1" fmla="*/ 29153 w 68310"/>
                <a:gd name="connsiteY1" fmla="*/ 0 h 97290"/>
                <a:gd name="connsiteX2" fmla="*/ 58133 w 68310"/>
                <a:gd name="connsiteY2" fmla="*/ 7763 h 97290"/>
                <a:gd name="connsiteX3" fmla="*/ 68311 w 68310"/>
                <a:gd name="connsiteY3" fmla="*/ 30015 h 97290"/>
                <a:gd name="connsiteX4" fmla="*/ 59686 w 68310"/>
                <a:gd name="connsiteY4" fmla="*/ 52958 h 97290"/>
                <a:gd name="connsiteX5" fmla="*/ 28808 w 68310"/>
                <a:gd name="connsiteY5" fmla="*/ 63136 h 97290"/>
                <a:gd name="connsiteX6" fmla="*/ 21391 w 68310"/>
                <a:gd name="connsiteY6" fmla="*/ 62791 h 97290"/>
                <a:gd name="connsiteX7" fmla="*/ 21391 w 68310"/>
                <a:gd name="connsiteY7" fmla="*/ 97291 h 97290"/>
                <a:gd name="connsiteX8" fmla="*/ 0 w 68310"/>
                <a:gd name="connsiteY8" fmla="*/ 97291 h 97290"/>
                <a:gd name="connsiteX9" fmla="*/ 0 w 68310"/>
                <a:gd name="connsiteY9" fmla="*/ 2070 h 97290"/>
                <a:gd name="connsiteX10" fmla="*/ 173 w 68310"/>
                <a:gd name="connsiteY10" fmla="*/ 2070 h 97290"/>
                <a:gd name="connsiteX11" fmla="*/ 173 w 68310"/>
                <a:gd name="connsiteY11" fmla="*/ 2070 h 97290"/>
                <a:gd name="connsiteX12" fmla="*/ 21563 w 68310"/>
                <a:gd name="connsiteY12" fmla="*/ 45885 h 97290"/>
                <a:gd name="connsiteX13" fmla="*/ 28808 w 68310"/>
                <a:gd name="connsiteY13" fmla="*/ 46576 h 97290"/>
                <a:gd name="connsiteX14" fmla="*/ 47266 w 68310"/>
                <a:gd name="connsiteY14" fmla="*/ 30878 h 97290"/>
                <a:gd name="connsiteX15" fmla="*/ 30533 w 68310"/>
                <a:gd name="connsiteY15" fmla="*/ 16733 h 97290"/>
                <a:gd name="connsiteX16" fmla="*/ 21735 w 68310"/>
                <a:gd name="connsiteY16" fmla="*/ 17595 h 97290"/>
                <a:gd name="connsiteX17" fmla="*/ 21735 w 68310"/>
                <a:gd name="connsiteY17" fmla="*/ 45885 h 97290"/>
                <a:gd name="connsiteX18" fmla="*/ 21563 w 68310"/>
                <a:gd name="connsiteY18" fmla="*/ 45885 h 97290"/>
                <a:gd name="connsiteX19" fmla="*/ 21563 w 68310"/>
                <a:gd name="connsiteY19" fmla="*/ 45885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310" h="97290">
                  <a:moveTo>
                    <a:pt x="173" y="2070"/>
                  </a:moveTo>
                  <a:cubicBezTo>
                    <a:pt x="6728" y="1035"/>
                    <a:pt x="16043" y="0"/>
                    <a:pt x="29153" y="0"/>
                  </a:cubicBezTo>
                  <a:cubicBezTo>
                    <a:pt x="42436" y="0"/>
                    <a:pt x="51923" y="2588"/>
                    <a:pt x="58133" y="7763"/>
                  </a:cubicBezTo>
                  <a:cubicBezTo>
                    <a:pt x="64343" y="12765"/>
                    <a:pt x="68311" y="20700"/>
                    <a:pt x="68311" y="30015"/>
                  </a:cubicBezTo>
                  <a:cubicBezTo>
                    <a:pt x="68311" y="39503"/>
                    <a:pt x="65206" y="47438"/>
                    <a:pt x="59686" y="52958"/>
                  </a:cubicBezTo>
                  <a:cubicBezTo>
                    <a:pt x="52268" y="60031"/>
                    <a:pt x="41573" y="63136"/>
                    <a:pt x="28808" y="63136"/>
                  </a:cubicBezTo>
                  <a:cubicBezTo>
                    <a:pt x="26048" y="63136"/>
                    <a:pt x="23460" y="62963"/>
                    <a:pt x="21391" y="62791"/>
                  </a:cubicBezTo>
                  <a:lnTo>
                    <a:pt x="21391" y="97291"/>
                  </a:lnTo>
                  <a:lnTo>
                    <a:pt x="0" y="97291"/>
                  </a:lnTo>
                  <a:lnTo>
                    <a:pt x="0" y="2070"/>
                  </a:lnTo>
                  <a:lnTo>
                    <a:pt x="173" y="2070"/>
                  </a:lnTo>
                  <a:lnTo>
                    <a:pt x="173" y="2070"/>
                  </a:lnTo>
                  <a:close/>
                  <a:moveTo>
                    <a:pt x="21563" y="45885"/>
                  </a:moveTo>
                  <a:cubicBezTo>
                    <a:pt x="23460" y="46230"/>
                    <a:pt x="25530" y="46576"/>
                    <a:pt x="28808" y="46576"/>
                  </a:cubicBezTo>
                  <a:cubicBezTo>
                    <a:pt x="40193" y="46576"/>
                    <a:pt x="47266" y="40710"/>
                    <a:pt x="47266" y="30878"/>
                  </a:cubicBezTo>
                  <a:cubicBezTo>
                    <a:pt x="47266" y="22080"/>
                    <a:pt x="41055" y="16733"/>
                    <a:pt x="30533" y="16733"/>
                  </a:cubicBezTo>
                  <a:cubicBezTo>
                    <a:pt x="26048" y="16733"/>
                    <a:pt x="23116" y="17078"/>
                    <a:pt x="21735" y="17595"/>
                  </a:cubicBezTo>
                  <a:lnTo>
                    <a:pt x="21735" y="45885"/>
                  </a:lnTo>
                  <a:lnTo>
                    <a:pt x="21563" y="45885"/>
                  </a:lnTo>
                  <a:lnTo>
                    <a:pt x="21563" y="458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4" name="Gráfico 1344">
              <a:extLst>
                <a:ext uri="{FF2B5EF4-FFF2-40B4-BE49-F238E27FC236}">
                  <a16:creationId xmlns:a16="http://schemas.microsoft.com/office/drawing/2014/main" id="{2419F272-20B0-488D-BBC6-1B74CB381123}"/>
                </a:ext>
              </a:extLst>
            </p:cNvPr>
            <p:cNvSpPr/>
            <p:nvPr/>
          </p:nvSpPr>
          <p:spPr>
            <a:xfrm>
              <a:off x="7160247" y="2265964"/>
              <a:ext cx="64170" cy="72450"/>
            </a:xfrm>
            <a:custGeom>
              <a:avLst/>
              <a:gdLst>
                <a:gd name="connsiteX0" fmla="*/ 44333 w 64170"/>
                <a:gd name="connsiteY0" fmla="*/ 71071 h 72450"/>
                <a:gd name="connsiteX1" fmla="*/ 43125 w 64170"/>
                <a:gd name="connsiteY1" fmla="*/ 63998 h 72450"/>
                <a:gd name="connsiteX2" fmla="*/ 42781 w 64170"/>
                <a:gd name="connsiteY2" fmla="*/ 63998 h 72450"/>
                <a:gd name="connsiteX3" fmla="*/ 22770 w 64170"/>
                <a:gd name="connsiteY3" fmla="*/ 72450 h 72450"/>
                <a:gd name="connsiteX4" fmla="*/ 0 w 64170"/>
                <a:gd name="connsiteY4" fmla="*/ 51233 h 72450"/>
                <a:gd name="connsiteX5" fmla="*/ 41055 w 64170"/>
                <a:gd name="connsiteY5" fmla="*/ 24668 h 72450"/>
                <a:gd name="connsiteX6" fmla="*/ 41055 w 64170"/>
                <a:gd name="connsiteY6" fmla="*/ 23633 h 72450"/>
                <a:gd name="connsiteX7" fmla="*/ 28290 w 64170"/>
                <a:gd name="connsiteY7" fmla="*/ 14663 h 72450"/>
                <a:gd name="connsiteX8" fmla="*/ 8970 w 64170"/>
                <a:gd name="connsiteY8" fmla="*/ 20010 h 72450"/>
                <a:gd name="connsiteX9" fmla="*/ 4830 w 64170"/>
                <a:gd name="connsiteY9" fmla="*/ 6210 h 72450"/>
                <a:gd name="connsiteX10" fmla="*/ 32258 w 64170"/>
                <a:gd name="connsiteY10" fmla="*/ 0 h 72450"/>
                <a:gd name="connsiteX11" fmla="*/ 63136 w 64170"/>
                <a:gd name="connsiteY11" fmla="*/ 30015 h 72450"/>
                <a:gd name="connsiteX12" fmla="*/ 63136 w 64170"/>
                <a:gd name="connsiteY12" fmla="*/ 54165 h 72450"/>
                <a:gd name="connsiteX13" fmla="*/ 64170 w 64170"/>
                <a:gd name="connsiteY13" fmla="*/ 70898 h 72450"/>
                <a:gd name="connsiteX14" fmla="*/ 44333 w 64170"/>
                <a:gd name="connsiteY14" fmla="*/ 70898 h 72450"/>
                <a:gd name="connsiteX15" fmla="*/ 44333 w 64170"/>
                <a:gd name="connsiteY15" fmla="*/ 71071 h 72450"/>
                <a:gd name="connsiteX16" fmla="*/ 44333 w 64170"/>
                <a:gd name="connsiteY16" fmla="*/ 71071 h 72450"/>
                <a:gd name="connsiteX17" fmla="*/ 41745 w 64170"/>
                <a:gd name="connsiteY17" fmla="*/ 38123 h 72450"/>
                <a:gd name="connsiteX18" fmla="*/ 21218 w 64170"/>
                <a:gd name="connsiteY18" fmla="*/ 48991 h 72450"/>
                <a:gd name="connsiteX19" fmla="*/ 29843 w 64170"/>
                <a:gd name="connsiteY19" fmla="*/ 57271 h 72450"/>
                <a:gd name="connsiteX20" fmla="*/ 41228 w 64170"/>
                <a:gd name="connsiteY20" fmla="*/ 49335 h 72450"/>
                <a:gd name="connsiteX21" fmla="*/ 41573 w 64170"/>
                <a:gd name="connsiteY21" fmla="*/ 45713 h 72450"/>
                <a:gd name="connsiteX22" fmla="*/ 41573 w 64170"/>
                <a:gd name="connsiteY22" fmla="*/ 38123 h 72450"/>
                <a:gd name="connsiteX23" fmla="*/ 41745 w 64170"/>
                <a:gd name="connsiteY23" fmla="*/ 38123 h 72450"/>
                <a:gd name="connsiteX24" fmla="*/ 41745 w 64170"/>
                <a:gd name="connsiteY24" fmla="*/ 3812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450">
                  <a:moveTo>
                    <a:pt x="44333" y="71071"/>
                  </a:moveTo>
                  <a:lnTo>
                    <a:pt x="43125" y="63998"/>
                  </a:lnTo>
                  <a:lnTo>
                    <a:pt x="42781" y="63998"/>
                  </a:lnTo>
                  <a:cubicBezTo>
                    <a:pt x="38295" y="69518"/>
                    <a:pt x="30878" y="72450"/>
                    <a:pt x="22770" y="72450"/>
                  </a:cubicBezTo>
                  <a:cubicBezTo>
                    <a:pt x="8625" y="72450"/>
                    <a:pt x="0" y="62273"/>
                    <a:pt x="0" y="51233"/>
                  </a:cubicBezTo>
                  <a:cubicBezTo>
                    <a:pt x="0" y="33120"/>
                    <a:pt x="16388" y="24668"/>
                    <a:pt x="41055" y="24668"/>
                  </a:cubicBezTo>
                  <a:lnTo>
                    <a:pt x="41055" y="23633"/>
                  </a:lnTo>
                  <a:cubicBezTo>
                    <a:pt x="41055" y="20010"/>
                    <a:pt x="39158" y="14663"/>
                    <a:pt x="28290" y="14663"/>
                  </a:cubicBezTo>
                  <a:cubicBezTo>
                    <a:pt x="21218" y="14663"/>
                    <a:pt x="13455" y="17078"/>
                    <a:pt x="8970" y="20010"/>
                  </a:cubicBezTo>
                  <a:lnTo>
                    <a:pt x="4830" y="6210"/>
                  </a:lnTo>
                  <a:cubicBezTo>
                    <a:pt x="9833" y="3450"/>
                    <a:pt x="19493" y="0"/>
                    <a:pt x="32258" y="0"/>
                  </a:cubicBezTo>
                  <a:cubicBezTo>
                    <a:pt x="55718" y="0"/>
                    <a:pt x="63136" y="13628"/>
                    <a:pt x="63136" y="30015"/>
                  </a:cubicBezTo>
                  <a:lnTo>
                    <a:pt x="63136" y="54165"/>
                  </a:lnTo>
                  <a:cubicBezTo>
                    <a:pt x="63136" y="60721"/>
                    <a:pt x="63308" y="67103"/>
                    <a:pt x="64170" y="70898"/>
                  </a:cubicBezTo>
                  <a:lnTo>
                    <a:pt x="44333" y="70898"/>
                  </a:lnTo>
                  <a:lnTo>
                    <a:pt x="44333" y="71071"/>
                  </a:lnTo>
                  <a:lnTo>
                    <a:pt x="44333" y="71071"/>
                  </a:lnTo>
                  <a:close/>
                  <a:moveTo>
                    <a:pt x="41745" y="38123"/>
                  </a:moveTo>
                  <a:cubicBezTo>
                    <a:pt x="30360" y="37950"/>
                    <a:pt x="21218" y="40710"/>
                    <a:pt x="21218" y="48991"/>
                  </a:cubicBezTo>
                  <a:cubicBezTo>
                    <a:pt x="21218" y="54510"/>
                    <a:pt x="24840" y="57271"/>
                    <a:pt x="29843" y="57271"/>
                  </a:cubicBezTo>
                  <a:cubicBezTo>
                    <a:pt x="35190" y="57271"/>
                    <a:pt x="39675" y="53648"/>
                    <a:pt x="41228" y="49335"/>
                  </a:cubicBezTo>
                  <a:cubicBezTo>
                    <a:pt x="41400" y="48300"/>
                    <a:pt x="41573" y="46920"/>
                    <a:pt x="41573" y="45713"/>
                  </a:cubicBezTo>
                  <a:lnTo>
                    <a:pt x="41573" y="38123"/>
                  </a:lnTo>
                  <a:lnTo>
                    <a:pt x="41745" y="38123"/>
                  </a:lnTo>
                  <a:lnTo>
                    <a:pt x="41745" y="381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5" name="Gráfico 1344">
              <a:extLst>
                <a:ext uri="{FF2B5EF4-FFF2-40B4-BE49-F238E27FC236}">
                  <a16:creationId xmlns:a16="http://schemas.microsoft.com/office/drawing/2014/main" id="{313BF0D6-236F-47D5-93AA-3C74BE43E199}"/>
                </a:ext>
              </a:extLst>
            </p:cNvPr>
            <p:cNvSpPr/>
            <p:nvPr/>
          </p:nvSpPr>
          <p:spPr>
            <a:xfrm>
              <a:off x="7240805" y="2235086"/>
              <a:ext cx="20700" cy="101430"/>
            </a:xfrm>
            <a:custGeom>
              <a:avLst/>
              <a:gdLst>
                <a:gd name="connsiteX0" fmla="*/ 0 w 20700"/>
                <a:gd name="connsiteY0" fmla="*/ 0 h 101430"/>
                <a:gd name="connsiteX1" fmla="*/ 20700 w 20700"/>
                <a:gd name="connsiteY1" fmla="*/ 0 h 101430"/>
                <a:gd name="connsiteX2" fmla="*/ 20700 w 20700"/>
                <a:gd name="connsiteY2" fmla="*/ 101431 h 101430"/>
                <a:gd name="connsiteX3" fmla="*/ 0 w 20700"/>
                <a:gd name="connsiteY3" fmla="*/ 101431 h 101430"/>
                <a:gd name="connsiteX4" fmla="*/ 0 w 20700"/>
                <a:gd name="connsiteY4" fmla="*/ 0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0" h="101430">
                  <a:moveTo>
                    <a:pt x="0" y="0"/>
                  </a:moveTo>
                  <a:lnTo>
                    <a:pt x="20700" y="0"/>
                  </a:lnTo>
                  <a:lnTo>
                    <a:pt x="20700" y="101431"/>
                  </a:lnTo>
                  <a:lnTo>
                    <a:pt x="0" y="1014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6" name="Gráfico 1344">
              <a:extLst>
                <a:ext uri="{FF2B5EF4-FFF2-40B4-BE49-F238E27FC236}">
                  <a16:creationId xmlns:a16="http://schemas.microsoft.com/office/drawing/2014/main" id="{F399EED4-E166-4B7B-937E-99FE513BC7C0}"/>
                </a:ext>
              </a:extLst>
            </p:cNvPr>
            <p:cNvSpPr/>
            <p:nvPr/>
          </p:nvSpPr>
          <p:spPr>
            <a:xfrm>
              <a:off x="7278065" y="2266137"/>
              <a:ext cx="105571" cy="70207"/>
            </a:xfrm>
            <a:custGeom>
              <a:avLst/>
              <a:gdLst>
                <a:gd name="connsiteX0" fmla="*/ 690 w 105571"/>
                <a:gd name="connsiteY0" fmla="*/ 23460 h 70207"/>
                <a:gd name="connsiteX1" fmla="*/ 0 w 105571"/>
                <a:gd name="connsiteY1" fmla="*/ 1725 h 70207"/>
                <a:gd name="connsiteX2" fmla="*/ 18113 w 105571"/>
                <a:gd name="connsiteY2" fmla="*/ 1725 h 70207"/>
                <a:gd name="connsiteX3" fmla="*/ 19148 w 105571"/>
                <a:gd name="connsiteY3" fmla="*/ 10867 h 70207"/>
                <a:gd name="connsiteX4" fmla="*/ 19493 w 105571"/>
                <a:gd name="connsiteY4" fmla="*/ 10867 h 70207"/>
                <a:gd name="connsiteX5" fmla="*/ 40538 w 105571"/>
                <a:gd name="connsiteY5" fmla="*/ 0 h 70207"/>
                <a:gd name="connsiteX6" fmla="*/ 59686 w 105571"/>
                <a:gd name="connsiteY6" fmla="*/ 11730 h 70207"/>
                <a:gd name="connsiteX7" fmla="*/ 60031 w 105571"/>
                <a:gd name="connsiteY7" fmla="*/ 11730 h 70207"/>
                <a:gd name="connsiteX8" fmla="*/ 69001 w 105571"/>
                <a:gd name="connsiteY8" fmla="*/ 3622 h 70207"/>
                <a:gd name="connsiteX9" fmla="*/ 82111 w 105571"/>
                <a:gd name="connsiteY9" fmla="*/ 345 h 70207"/>
                <a:gd name="connsiteX10" fmla="*/ 105571 w 105571"/>
                <a:gd name="connsiteY10" fmla="*/ 30015 h 70207"/>
                <a:gd name="connsiteX11" fmla="*/ 105571 w 105571"/>
                <a:gd name="connsiteY11" fmla="*/ 70035 h 70207"/>
                <a:gd name="connsiteX12" fmla="*/ 84526 w 105571"/>
                <a:gd name="connsiteY12" fmla="*/ 70035 h 70207"/>
                <a:gd name="connsiteX13" fmla="*/ 84526 w 105571"/>
                <a:gd name="connsiteY13" fmla="*/ 33120 h 70207"/>
                <a:gd name="connsiteX14" fmla="*/ 74348 w 105571"/>
                <a:gd name="connsiteY14" fmla="*/ 17423 h 70207"/>
                <a:gd name="connsiteX15" fmla="*/ 64343 w 105571"/>
                <a:gd name="connsiteY15" fmla="*/ 25013 h 70207"/>
                <a:gd name="connsiteX16" fmla="*/ 63481 w 105571"/>
                <a:gd name="connsiteY16" fmla="*/ 30360 h 70207"/>
                <a:gd name="connsiteX17" fmla="*/ 63481 w 105571"/>
                <a:gd name="connsiteY17" fmla="*/ 70208 h 70207"/>
                <a:gd name="connsiteX18" fmla="*/ 42436 w 105571"/>
                <a:gd name="connsiteY18" fmla="*/ 70208 h 70207"/>
                <a:gd name="connsiteX19" fmla="*/ 42436 w 105571"/>
                <a:gd name="connsiteY19" fmla="*/ 31913 h 70207"/>
                <a:gd name="connsiteX20" fmla="*/ 32430 w 105571"/>
                <a:gd name="connsiteY20" fmla="*/ 17423 h 70207"/>
                <a:gd name="connsiteX21" fmla="*/ 22425 w 105571"/>
                <a:gd name="connsiteY21" fmla="*/ 25185 h 70207"/>
                <a:gd name="connsiteX22" fmla="*/ 21563 w 105571"/>
                <a:gd name="connsiteY22" fmla="*/ 30533 h 70207"/>
                <a:gd name="connsiteX23" fmla="*/ 21563 w 105571"/>
                <a:gd name="connsiteY23" fmla="*/ 70208 h 70207"/>
                <a:gd name="connsiteX24" fmla="*/ 517 w 105571"/>
                <a:gd name="connsiteY24" fmla="*/ 70208 h 70207"/>
                <a:gd name="connsiteX25" fmla="*/ 517 w 105571"/>
                <a:gd name="connsiteY25" fmla="*/ 23288 h 70207"/>
                <a:gd name="connsiteX26" fmla="*/ 690 w 105571"/>
                <a:gd name="connsiteY26" fmla="*/ 23288 h 70207"/>
                <a:gd name="connsiteX27" fmla="*/ 690 w 105571"/>
                <a:gd name="connsiteY27" fmla="*/ 23460 h 7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5571" h="70207">
                  <a:moveTo>
                    <a:pt x="690" y="23460"/>
                  </a:moveTo>
                  <a:cubicBezTo>
                    <a:pt x="690" y="14835"/>
                    <a:pt x="517" y="7763"/>
                    <a:pt x="0" y="1725"/>
                  </a:cubicBezTo>
                  <a:lnTo>
                    <a:pt x="18113" y="1725"/>
                  </a:lnTo>
                  <a:lnTo>
                    <a:pt x="19148" y="10867"/>
                  </a:lnTo>
                  <a:lnTo>
                    <a:pt x="19493" y="10867"/>
                  </a:lnTo>
                  <a:cubicBezTo>
                    <a:pt x="22425" y="6555"/>
                    <a:pt x="28635" y="0"/>
                    <a:pt x="40538" y="0"/>
                  </a:cubicBezTo>
                  <a:cubicBezTo>
                    <a:pt x="49508" y="0"/>
                    <a:pt x="56580" y="4657"/>
                    <a:pt x="59686" y="11730"/>
                  </a:cubicBezTo>
                  <a:lnTo>
                    <a:pt x="60031" y="11730"/>
                  </a:lnTo>
                  <a:cubicBezTo>
                    <a:pt x="62618" y="8108"/>
                    <a:pt x="65723" y="5520"/>
                    <a:pt x="69001" y="3622"/>
                  </a:cubicBezTo>
                  <a:cubicBezTo>
                    <a:pt x="72796" y="1380"/>
                    <a:pt x="77108" y="345"/>
                    <a:pt x="82111" y="345"/>
                  </a:cubicBezTo>
                  <a:cubicBezTo>
                    <a:pt x="95566" y="345"/>
                    <a:pt x="105571" y="9487"/>
                    <a:pt x="105571" y="30015"/>
                  </a:cubicBezTo>
                  <a:lnTo>
                    <a:pt x="105571" y="70035"/>
                  </a:lnTo>
                  <a:lnTo>
                    <a:pt x="84526" y="70035"/>
                  </a:lnTo>
                  <a:lnTo>
                    <a:pt x="84526" y="33120"/>
                  </a:lnTo>
                  <a:cubicBezTo>
                    <a:pt x="84526" y="23115"/>
                    <a:pt x="81248" y="17423"/>
                    <a:pt x="74348" y="17423"/>
                  </a:cubicBezTo>
                  <a:cubicBezTo>
                    <a:pt x="69518" y="17423"/>
                    <a:pt x="65896" y="20700"/>
                    <a:pt x="64343" y="25013"/>
                  </a:cubicBezTo>
                  <a:cubicBezTo>
                    <a:pt x="63653" y="26393"/>
                    <a:pt x="63481" y="28808"/>
                    <a:pt x="63481" y="30360"/>
                  </a:cubicBezTo>
                  <a:lnTo>
                    <a:pt x="63481" y="70208"/>
                  </a:lnTo>
                  <a:lnTo>
                    <a:pt x="42436" y="70208"/>
                  </a:lnTo>
                  <a:lnTo>
                    <a:pt x="42436" y="31913"/>
                  </a:lnTo>
                  <a:cubicBezTo>
                    <a:pt x="42436" y="23288"/>
                    <a:pt x="39158" y="17423"/>
                    <a:pt x="32430" y="17423"/>
                  </a:cubicBezTo>
                  <a:cubicBezTo>
                    <a:pt x="26910" y="17423"/>
                    <a:pt x="23633" y="21563"/>
                    <a:pt x="22425" y="25185"/>
                  </a:cubicBezTo>
                  <a:cubicBezTo>
                    <a:pt x="21735" y="26910"/>
                    <a:pt x="21563" y="28980"/>
                    <a:pt x="21563" y="30533"/>
                  </a:cubicBezTo>
                  <a:lnTo>
                    <a:pt x="21563" y="70208"/>
                  </a:lnTo>
                  <a:lnTo>
                    <a:pt x="517" y="70208"/>
                  </a:lnTo>
                  <a:lnTo>
                    <a:pt x="517" y="23288"/>
                  </a:lnTo>
                  <a:lnTo>
                    <a:pt x="690" y="23288"/>
                  </a:lnTo>
                  <a:lnTo>
                    <a:pt x="690" y="234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7" name="Gráfico 1344">
              <a:extLst>
                <a:ext uri="{FF2B5EF4-FFF2-40B4-BE49-F238E27FC236}">
                  <a16:creationId xmlns:a16="http://schemas.microsoft.com/office/drawing/2014/main" id="{98D2C6AE-1836-404D-BE3A-A7EBD884FC18}"/>
                </a:ext>
              </a:extLst>
            </p:cNvPr>
            <p:cNvSpPr/>
            <p:nvPr/>
          </p:nvSpPr>
          <p:spPr>
            <a:xfrm>
              <a:off x="7398126" y="2266309"/>
              <a:ext cx="66240" cy="72450"/>
            </a:xfrm>
            <a:custGeom>
              <a:avLst/>
              <a:gdLst>
                <a:gd name="connsiteX0" fmla="*/ 20700 w 66240"/>
                <a:gd name="connsiteY0" fmla="*/ 42953 h 72450"/>
                <a:gd name="connsiteX1" fmla="*/ 40365 w 66240"/>
                <a:gd name="connsiteY1" fmla="*/ 56235 h 72450"/>
                <a:gd name="connsiteX2" fmla="*/ 59513 w 66240"/>
                <a:gd name="connsiteY2" fmla="*/ 53475 h 72450"/>
                <a:gd name="connsiteX3" fmla="*/ 62273 w 66240"/>
                <a:gd name="connsiteY3" fmla="*/ 68138 h 72450"/>
                <a:gd name="connsiteX4" fmla="*/ 37088 w 66240"/>
                <a:gd name="connsiteY4" fmla="*/ 72450 h 72450"/>
                <a:gd name="connsiteX5" fmla="*/ 0 w 66240"/>
                <a:gd name="connsiteY5" fmla="*/ 37088 h 72450"/>
                <a:gd name="connsiteX6" fmla="*/ 35190 w 66240"/>
                <a:gd name="connsiteY6" fmla="*/ 0 h 72450"/>
                <a:gd name="connsiteX7" fmla="*/ 66240 w 66240"/>
                <a:gd name="connsiteY7" fmla="*/ 34673 h 72450"/>
                <a:gd name="connsiteX8" fmla="*/ 65550 w 66240"/>
                <a:gd name="connsiteY8" fmla="*/ 43125 h 72450"/>
                <a:gd name="connsiteX9" fmla="*/ 20528 w 66240"/>
                <a:gd name="connsiteY9" fmla="*/ 43125 h 72450"/>
                <a:gd name="connsiteX10" fmla="*/ 20528 w 66240"/>
                <a:gd name="connsiteY10" fmla="*/ 42953 h 72450"/>
                <a:gd name="connsiteX11" fmla="*/ 20700 w 66240"/>
                <a:gd name="connsiteY11" fmla="*/ 42953 h 72450"/>
                <a:gd name="connsiteX12" fmla="*/ 46230 w 66240"/>
                <a:gd name="connsiteY12" fmla="*/ 27945 h 72450"/>
                <a:gd name="connsiteX13" fmla="*/ 34155 w 66240"/>
                <a:gd name="connsiteY13" fmla="*/ 13800 h 72450"/>
                <a:gd name="connsiteX14" fmla="*/ 20700 w 66240"/>
                <a:gd name="connsiteY14" fmla="*/ 27945 h 72450"/>
                <a:gd name="connsiteX15" fmla="*/ 46230 w 66240"/>
                <a:gd name="connsiteY15" fmla="*/ 27945 h 72450"/>
                <a:gd name="connsiteX16" fmla="*/ 46230 w 66240"/>
                <a:gd name="connsiteY16" fmla="*/ 27945 h 72450"/>
                <a:gd name="connsiteX17" fmla="*/ 46230 w 66240"/>
                <a:gd name="connsiteY17" fmla="*/ 2794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2450">
                  <a:moveTo>
                    <a:pt x="20700" y="42953"/>
                  </a:moveTo>
                  <a:cubicBezTo>
                    <a:pt x="21563" y="51923"/>
                    <a:pt x="30360" y="56235"/>
                    <a:pt x="40365" y="56235"/>
                  </a:cubicBezTo>
                  <a:cubicBezTo>
                    <a:pt x="47783" y="56235"/>
                    <a:pt x="53820" y="55200"/>
                    <a:pt x="59513" y="53475"/>
                  </a:cubicBezTo>
                  <a:lnTo>
                    <a:pt x="62273" y="68138"/>
                  </a:lnTo>
                  <a:cubicBezTo>
                    <a:pt x="55200" y="70898"/>
                    <a:pt x="46575" y="72450"/>
                    <a:pt x="37088" y="72450"/>
                  </a:cubicBezTo>
                  <a:cubicBezTo>
                    <a:pt x="13455" y="72450"/>
                    <a:pt x="0" y="58823"/>
                    <a:pt x="0" y="37088"/>
                  </a:cubicBezTo>
                  <a:cubicBezTo>
                    <a:pt x="0" y="19320"/>
                    <a:pt x="10867" y="0"/>
                    <a:pt x="35190" y="0"/>
                  </a:cubicBezTo>
                  <a:cubicBezTo>
                    <a:pt x="57615" y="0"/>
                    <a:pt x="66240" y="17423"/>
                    <a:pt x="66240" y="34673"/>
                  </a:cubicBezTo>
                  <a:cubicBezTo>
                    <a:pt x="66240" y="38295"/>
                    <a:pt x="65895" y="41745"/>
                    <a:pt x="65550" y="43125"/>
                  </a:cubicBezTo>
                  <a:lnTo>
                    <a:pt x="20528" y="43125"/>
                  </a:lnTo>
                  <a:lnTo>
                    <a:pt x="20528" y="42953"/>
                  </a:lnTo>
                  <a:lnTo>
                    <a:pt x="20700" y="42953"/>
                  </a:lnTo>
                  <a:close/>
                  <a:moveTo>
                    <a:pt x="46230" y="27945"/>
                  </a:moveTo>
                  <a:cubicBezTo>
                    <a:pt x="46230" y="22598"/>
                    <a:pt x="43815" y="13800"/>
                    <a:pt x="34155" y="13800"/>
                  </a:cubicBezTo>
                  <a:cubicBezTo>
                    <a:pt x="25012" y="13800"/>
                    <a:pt x="21390" y="22080"/>
                    <a:pt x="20700" y="27945"/>
                  </a:cubicBezTo>
                  <a:lnTo>
                    <a:pt x="46230" y="27945"/>
                  </a:lnTo>
                  <a:lnTo>
                    <a:pt x="46230" y="27945"/>
                  </a:lnTo>
                  <a:lnTo>
                    <a:pt x="46230" y="2794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79" name="Gráfico 1344">
              <a:extLst>
                <a:ext uri="{FF2B5EF4-FFF2-40B4-BE49-F238E27FC236}">
                  <a16:creationId xmlns:a16="http://schemas.microsoft.com/office/drawing/2014/main" id="{862F52CD-B1F0-401D-9FE7-60618D1A7AE0}"/>
                </a:ext>
              </a:extLst>
            </p:cNvPr>
            <p:cNvSpPr/>
            <p:nvPr/>
          </p:nvSpPr>
          <p:spPr>
            <a:xfrm>
              <a:off x="7476782" y="2237156"/>
              <a:ext cx="22774" cy="99360"/>
            </a:xfrm>
            <a:custGeom>
              <a:avLst/>
              <a:gdLst>
                <a:gd name="connsiteX0" fmla="*/ 22774 w 22774"/>
                <a:gd name="connsiteY0" fmla="*/ 10868 h 99360"/>
                <a:gd name="connsiteX1" fmla="*/ 11217 w 22774"/>
                <a:gd name="connsiteY1" fmla="*/ 21735 h 99360"/>
                <a:gd name="connsiteX2" fmla="*/ 5 w 22774"/>
                <a:gd name="connsiteY2" fmla="*/ 10868 h 99360"/>
                <a:gd name="connsiteX3" fmla="*/ 11217 w 22774"/>
                <a:gd name="connsiteY3" fmla="*/ 0 h 99360"/>
                <a:gd name="connsiteX4" fmla="*/ 22774 w 22774"/>
                <a:gd name="connsiteY4" fmla="*/ 10868 h 99360"/>
                <a:gd name="connsiteX5" fmla="*/ 694 w 22774"/>
                <a:gd name="connsiteY5" fmla="*/ 30188 h 99360"/>
                <a:gd name="connsiteX6" fmla="*/ 21912 w 22774"/>
                <a:gd name="connsiteY6" fmla="*/ 30188 h 99360"/>
                <a:gd name="connsiteX7" fmla="*/ 21912 w 22774"/>
                <a:gd name="connsiteY7" fmla="*/ 99361 h 99360"/>
                <a:gd name="connsiteX8" fmla="*/ 694 w 22774"/>
                <a:gd name="connsiteY8" fmla="*/ 99361 h 99360"/>
                <a:gd name="connsiteX9" fmla="*/ 694 w 22774"/>
                <a:gd name="connsiteY9" fmla="*/ 30188 h 99360"/>
                <a:gd name="connsiteX10" fmla="*/ 694 w 22774"/>
                <a:gd name="connsiteY10" fmla="*/ 30188 h 99360"/>
                <a:gd name="connsiteX11" fmla="*/ 694 w 22774"/>
                <a:gd name="connsiteY11" fmla="*/ 30188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74" h="99360">
                  <a:moveTo>
                    <a:pt x="22774" y="10868"/>
                  </a:moveTo>
                  <a:cubicBezTo>
                    <a:pt x="22774" y="16733"/>
                    <a:pt x="18117" y="21735"/>
                    <a:pt x="11217" y="21735"/>
                  </a:cubicBezTo>
                  <a:cubicBezTo>
                    <a:pt x="4489" y="21735"/>
                    <a:pt x="5" y="16905"/>
                    <a:pt x="5" y="10868"/>
                  </a:cubicBezTo>
                  <a:cubicBezTo>
                    <a:pt x="-168" y="4658"/>
                    <a:pt x="4489" y="0"/>
                    <a:pt x="11217" y="0"/>
                  </a:cubicBezTo>
                  <a:cubicBezTo>
                    <a:pt x="18290" y="0"/>
                    <a:pt x="22602" y="4658"/>
                    <a:pt x="22774" y="10868"/>
                  </a:cubicBezTo>
                  <a:moveTo>
                    <a:pt x="694" y="30188"/>
                  </a:moveTo>
                  <a:lnTo>
                    <a:pt x="21912" y="30188"/>
                  </a:lnTo>
                  <a:lnTo>
                    <a:pt x="21912" y="99361"/>
                  </a:lnTo>
                  <a:lnTo>
                    <a:pt x="694" y="99361"/>
                  </a:lnTo>
                  <a:lnTo>
                    <a:pt x="694" y="30188"/>
                  </a:lnTo>
                  <a:lnTo>
                    <a:pt x="694" y="30188"/>
                  </a:lnTo>
                  <a:lnTo>
                    <a:pt x="694" y="3018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080" name="Gráfico 1344">
              <a:extLst>
                <a:ext uri="{FF2B5EF4-FFF2-40B4-BE49-F238E27FC236}">
                  <a16:creationId xmlns:a16="http://schemas.microsoft.com/office/drawing/2014/main" id="{D67151E7-B1D5-4A36-9C84-23B259BBAC35}"/>
                </a:ext>
              </a:extLst>
            </p:cNvPr>
            <p:cNvSpPr/>
            <p:nvPr/>
          </p:nvSpPr>
          <p:spPr>
            <a:xfrm>
              <a:off x="7514047" y="2266309"/>
              <a:ext cx="43642" cy="70380"/>
            </a:xfrm>
            <a:custGeom>
              <a:avLst/>
              <a:gdLst>
                <a:gd name="connsiteX0" fmla="*/ 690 w 43642"/>
                <a:gd name="connsiteY0" fmla="*/ 23978 h 70380"/>
                <a:gd name="connsiteX1" fmla="*/ 0 w 43642"/>
                <a:gd name="connsiteY1" fmla="*/ 1380 h 70380"/>
                <a:gd name="connsiteX2" fmla="*/ 18803 w 43642"/>
                <a:gd name="connsiteY2" fmla="*/ 1380 h 70380"/>
                <a:gd name="connsiteX3" fmla="*/ 19492 w 43642"/>
                <a:gd name="connsiteY3" fmla="*/ 14145 h 70380"/>
                <a:gd name="connsiteX4" fmla="*/ 20182 w 43642"/>
                <a:gd name="connsiteY4" fmla="*/ 14145 h 70380"/>
                <a:gd name="connsiteX5" fmla="*/ 39158 w 43642"/>
                <a:gd name="connsiteY5" fmla="*/ 0 h 70380"/>
                <a:gd name="connsiteX6" fmla="*/ 43643 w 43642"/>
                <a:gd name="connsiteY6" fmla="*/ 172 h 70380"/>
                <a:gd name="connsiteX7" fmla="*/ 43643 w 43642"/>
                <a:gd name="connsiteY7" fmla="*/ 20355 h 70380"/>
                <a:gd name="connsiteX8" fmla="*/ 37778 w 43642"/>
                <a:gd name="connsiteY8" fmla="*/ 19665 h 70380"/>
                <a:gd name="connsiteX9" fmla="*/ 22770 w 43642"/>
                <a:gd name="connsiteY9" fmla="*/ 30533 h 70380"/>
                <a:gd name="connsiteX10" fmla="*/ 22425 w 43642"/>
                <a:gd name="connsiteY10" fmla="*/ 35363 h 70380"/>
                <a:gd name="connsiteX11" fmla="*/ 22425 w 43642"/>
                <a:gd name="connsiteY11" fmla="*/ 70381 h 70380"/>
                <a:gd name="connsiteX12" fmla="*/ 690 w 43642"/>
                <a:gd name="connsiteY12" fmla="*/ 70381 h 70380"/>
                <a:gd name="connsiteX13" fmla="*/ 690 w 43642"/>
                <a:gd name="connsiteY13" fmla="*/ 24150 h 70380"/>
                <a:gd name="connsiteX14" fmla="*/ 690 w 43642"/>
                <a:gd name="connsiteY14" fmla="*/ 24150 h 70380"/>
                <a:gd name="connsiteX15" fmla="*/ 690 w 43642"/>
                <a:gd name="connsiteY15" fmla="*/ 23978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0380">
                  <a:moveTo>
                    <a:pt x="690" y="23978"/>
                  </a:moveTo>
                  <a:cubicBezTo>
                    <a:pt x="690" y="13800"/>
                    <a:pt x="517" y="7245"/>
                    <a:pt x="0" y="1380"/>
                  </a:cubicBezTo>
                  <a:lnTo>
                    <a:pt x="18803" y="1380"/>
                  </a:lnTo>
                  <a:lnTo>
                    <a:pt x="19492" y="14145"/>
                  </a:lnTo>
                  <a:lnTo>
                    <a:pt x="20182" y="14145"/>
                  </a:lnTo>
                  <a:cubicBezTo>
                    <a:pt x="23805" y="4140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172"/>
                  </a:cubicBezTo>
                  <a:lnTo>
                    <a:pt x="43643" y="20355"/>
                  </a:lnTo>
                  <a:cubicBezTo>
                    <a:pt x="42090" y="20183"/>
                    <a:pt x="40193" y="19665"/>
                    <a:pt x="37778" y="19665"/>
                  </a:cubicBezTo>
                  <a:cubicBezTo>
                    <a:pt x="29842" y="19665"/>
                    <a:pt x="24150" y="23978"/>
                    <a:pt x="22770" y="30533"/>
                  </a:cubicBezTo>
                  <a:cubicBezTo>
                    <a:pt x="22598" y="32085"/>
                    <a:pt x="22425" y="33638"/>
                    <a:pt x="22425" y="35363"/>
                  </a:cubicBezTo>
                  <a:lnTo>
                    <a:pt x="22425" y="70381"/>
                  </a:lnTo>
                  <a:lnTo>
                    <a:pt x="690" y="70381"/>
                  </a:lnTo>
                  <a:lnTo>
                    <a:pt x="690" y="24150"/>
                  </a:lnTo>
                  <a:lnTo>
                    <a:pt x="690" y="24150"/>
                  </a:lnTo>
                  <a:lnTo>
                    <a:pt x="690" y="2397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69" name="Gráfico 1344">
              <a:extLst>
                <a:ext uri="{FF2B5EF4-FFF2-40B4-BE49-F238E27FC236}">
                  <a16:creationId xmlns:a16="http://schemas.microsoft.com/office/drawing/2014/main" id="{83B04D65-3B1A-4802-943F-08690609EC33}"/>
                </a:ext>
              </a:extLst>
            </p:cNvPr>
            <p:cNvSpPr/>
            <p:nvPr/>
          </p:nvSpPr>
          <p:spPr>
            <a:xfrm>
              <a:off x="7563900" y="2265964"/>
              <a:ext cx="64170" cy="72450"/>
            </a:xfrm>
            <a:custGeom>
              <a:avLst/>
              <a:gdLst>
                <a:gd name="connsiteX0" fmla="*/ 44160 w 64170"/>
                <a:gd name="connsiteY0" fmla="*/ 71071 h 72450"/>
                <a:gd name="connsiteX1" fmla="*/ 42953 w 64170"/>
                <a:gd name="connsiteY1" fmla="*/ 63998 h 72450"/>
                <a:gd name="connsiteX2" fmla="*/ 42608 w 64170"/>
                <a:gd name="connsiteY2" fmla="*/ 63998 h 72450"/>
                <a:gd name="connsiteX3" fmla="*/ 22598 w 64170"/>
                <a:gd name="connsiteY3" fmla="*/ 72450 h 72450"/>
                <a:gd name="connsiteX4" fmla="*/ 0 w 64170"/>
                <a:gd name="connsiteY4" fmla="*/ 51233 h 72450"/>
                <a:gd name="connsiteX5" fmla="*/ 41055 w 64170"/>
                <a:gd name="connsiteY5" fmla="*/ 24668 h 72450"/>
                <a:gd name="connsiteX6" fmla="*/ 41055 w 64170"/>
                <a:gd name="connsiteY6" fmla="*/ 23633 h 72450"/>
                <a:gd name="connsiteX7" fmla="*/ 28290 w 64170"/>
                <a:gd name="connsiteY7" fmla="*/ 14663 h 72450"/>
                <a:gd name="connsiteX8" fmla="*/ 8970 w 64170"/>
                <a:gd name="connsiteY8" fmla="*/ 20010 h 72450"/>
                <a:gd name="connsiteX9" fmla="*/ 4830 w 64170"/>
                <a:gd name="connsiteY9" fmla="*/ 6210 h 72450"/>
                <a:gd name="connsiteX10" fmla="*/ 32258 w 64170"/>
                <a:gd name="connsiteY10" fmla="*/ 0 h 72450"/>
                <a:gd name="connsiteX11" fmla="*/ 63136 w 64170"/>
                <a:gd name="connsiteY11" fmla="*/ 30015 h 72450"/>
                <a:gd name="connsiteX12" fmla="*/ 63136 w 64170"/>
                <a:gd name="connsiteY12" fmla="*/ 54165 h 72450"/>
                <a:gd name="connsiteX13" fmla="*/ 64170 w 64170"/>
                <a:gd name="connsiteY13" fmla="*/ 70898 h 72450"/>
                <a:gd name="connsiteX14" fmla="*/ 44160 w 64170"/>
                <a:gd name="connsiteY14" fmla="*/ 70898 h 72450"/>
                <a:gd name="connsiteX15" fmla="*/ 44160 w 64170"/>
                <a:gd name="connsiteY15" fmla="*/ 71071 h 72450"/>
                <a:gd name="connsiteX16" fmla="*/ 44160 w 64170"/>
                <a:gd name="connsiteY16" fmla="*/ 71071 h 72450"/>
                <a:gd name="connsiteX17" fmla="*/ 41573 w 64170"/>
                <a:gd name="connsiteY17" fmla="*/ 38123 h 72450"/>
                <a:gd name="connsiteX18" fmla="*/ 21045 w 64170"/>
                <a:gd name="connsiteY18" fmla="*/ 48991 h 72450"/>
                <a:gd name="connsiteX19" fmla="*/ 29670 w 64170"/>
                <a:gd name="connsiteY19" fmla="*/ 57271 h 72450"/>
                <a:gd name="connsiteX20" fmla="*/ 41055 w 64170"/>
                <a:gd name="connsiteY20" fmla="*/ 49335 h 72450"/>
                <a:gd name="connsiteX21" fmla="*/ 41400 w 64170"/>
                <a:gd name="connsiteY21" fmla="*/ 45713 h 72450"/>
                <a:gd name="connsiteX22" fmla="*/ 41400 w 64170"/>
                <a:gd name="connsiteY22" fmla="*/ 38123 h 72450"/>
                <a:gd name="connsiteX23" fmla="*/ 41573 w 64170"/>
                <a:gd name="connsiteY23" fmla="*/ 38123 h 72450"/>
                <a:gd name="connsiteX24" fmla="*/ 41573 w 64170"/>
                <a:gd name="connsiteY24" fmla="*/ 3812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450">
                  <a:moveTo>
                    <a:pt x="44160" y="71071"/>
                  </a:moveTo>
                  <a:lnTo>
                    <a:pt x="42953" y="63998"/>
                  </a:lnTo>
                  <a:lnTo>
                    <a:pt x="42608" y="63998"/>
                  </a:lnTo>
                  <a:cubicBezTo>
                    <a:pt x="38123" y="69518"/>
                    <a:pt x="30705" y="72450"/>
                    <a:pt x="22598" y="72450"/>
                  </a:cubicBezTo>
                  <a:cubicBezTo>
                    <a:pt x="8452" y="72450"/>
                    <a:pt x="0" y="62273"/>
                    <a:pt x="0" y="51233"/>
                  </a:cubicBezTo>
                  <a:cubicBezTo>
                    <a:pt x="0" y="33120"/>
                    <a:pt x="16388" y="24668"/>
                    <a:pt x="41055" y="24668"/>
                  </a:cubicBezTo>
                  <a:lnTo>
                    <a:pt x="41055" y="23633"/>
                  </a:lnTo>
                  <a:cubicBezTo>
                    <a:pt x="41055" y="20010"/>
                    <a:pt x="39158" y="14663"/>
                    <a:pt x="28290" y="14663"/>
                  </a:cubicBezTo>
                  <a:cubicBezTo>
                    <a:pt x="21218" y="14663"/>
                    <a:pt x="13455" y="17078"/>
                    <a:pt x="8970" y="20010"/>
                  </a:cubicBezTo>
                  <a:lnTo>
                    <a:pt x="4830" y="6210"/>
                  </a:lnTo>
                  <a:cubicBezTo>
                    <a:pt x="9833" y="3450"/>
                    <a:pt x="19320" y="0"/>
                    <a:pt x="32258" y="0"/>
                  </a:cubicBezTo>
                  <a:cubicBezTo>
                    <a:pt x="55718" y="0"/>
                    <a:pt x="63136" y="13628"/>
                    <a:pt x="63136" y="30015"/>
                  </a:cubicBezTo>
                  <a:lnTo>
                    <a:pt x="63136" y="54165"/>
                  </a:lnTo>
                  <a:cubicBezTo>
                    <a:pt x="63136" y="60721"/>
                    <a:pt x="63308" y="67103"/>
                    <a:pt x="64170" y="70898"/>
                  </a:cubicBezTo>
                  <a:lnTo>
                    <a:pt x="44160" y="70898"/>
                  </a:lnTo>
                  <a:lnTo>
                    <a:pt x="44160" y="71071"/>
                  </a:lnTo>
                  <a:lnTo>
                    <a:pt x="44160" y="71071"/>
                  </a:lnTo>
                  <a:close/>
                  <a:moveTo>
                    <a:pt x="41573" y="38123"/>
                  </a:moveTo>
                  <a:cubicBezTo>
                    <a:pt x="30188" y="37950"/>
                    <a:pt x="21045" y="40710"/>
                    <a:pt x="21045" y="48991"/>
                  </a:cubicBezTo>
                  <a:cubicBezTo>
                    <a:pt x="21045" y="54510"/>
                    <a:pt x="24668" y="57271"/>
                    <a:pt x="29670" y="57271"/>
                  </a:cubicBezTo>
                  <a:cubicBezTo>
                    <a:pt x="35018" y="57271"/>
                    <a:pt x="39503" y="53648"/>
                    <a:pt x="41055" y="49335"/>
                  </a:cubicBezTo>
                  <a:cubicBezTo>
                    <a:pt x="41228" y="48300"/>
                    <a:pt x="41400" y="46920"/>
                    <a:pt x="41400" y="45713"/>
                  </a:cubicBezTo>
                  <a:lnTo>
                    <a:pt x="41400" y="38123"/>
                  </a:lnTo>
                  <a:lnTo>
                    <a:pt x="41573" y="38123"/>
                  </a:lnTo>
                  <a:lnTo>
                    <a:pt x="41573" y="381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0" name="Gráfico 1344">
              <a:extLst>
                <a:ext uri="{FF2B5EF4-FFF2-40B4-BE49-F238E27FC236}">
                  <a16:creationId xmlns:a16="http://schemas.microsoft.com/office/drawing/2014/main" id="{C6AE40A5-6474-4AC4-9686-F2FD95DC1FC2}"/>
                </a:ext>
              </a:extLst>
            </p:cNvPr>
            <p:cNvSpPr/>
            <p:nvPr/>
          </p:nvSpPr>
          <p:spPr>
            <a:xfrm>
              <a:off x="7642388" y="2266137"/>
              <a:ext cx="66240" cy="70380"/>
            </a:xfrm>
            <a:custGeom>
              <a:avLst/>
              <a:gdLst>
                <a:gd name="connsiteX0" fmla="*/ 690 w 66240"/>
                <a:gd name="connsiteY0" fmla="*/ 23460 h 70380"/>
                <a:gd name="connsiteX1" fmla="*/ 0 w 66240"/>
                <a:gd name="connsiteY1" fmla="*/ 1552 h 70380"/>
                <a:gd name="connsiteX2" fmla="*/ 18630 w 66240"/>
                <a:gd name="connsiteY2" fmla="*/ 1552 h 70380"/>
                <a:gd name="connsiteX3" fmla="*/ 19665 w 66240"/>
                <a:gd name="connsiteY3" fmla="*/ 11040 h 70380"/>
                <a:gd name="connsiteX4" fmla="*/ 20010 w 66240"/>
                <a:gd name="connsiteY4" fmla="*/ 11040 h 70380"/>
                <a:gd name="connsiteX5" fmla="*/ 41400 w 66240"/>
                <a:gd name="connsiteY5" fmla="*/ 0 h 70380"/>
                <a:gd name="connsiteX6" fmla="*/ 66240 w 66240"/>
                <a:gd name="connsiteY6" fmla="*/ 29498 h 70380"/>
                <a:gd name="connsiteX7" fmla="*/ 66240 w 66240"/>
                <a:gd name="connsiteY7" fmla="*/ 70381 h 70380"/>
                <a:gd name="connsiteX8" fmla="*/ 44850 w 66240"/>
                <a:gd name="connsiteY8" fmla="*/ 70381 h 70380"/>
                <a:gd name="connsiteX9" fmla="*/ 44850 w 66240"/>
                <a:gd name="connsiteY9" fmla="*/ 32258 h 70380"/>
                <a:gd name="connsiteX10" fmla="*/ 33982 w 66240"/>
                <a:gd name="connsiteY10" fmla="*/ 17250 h 70380"/>
                <a:gd name="connsiteX11" fmla="*/ 23115 w 66240"/>
                <a:gd name="connsiteY11" fmla="*/ 25185 h 70380"/>
                <a:gd name="connsiteX12" fmla="*/ 22252 w 66240"/>
                <a:gd name="connsiteY12" fmla="*/ 30533 h 70380"/>
                <a:gd name="connsiteX13" fmla="*/ 22252 w 66240"/>
                <a:gd name="connsiteY13" fmla="*/ 70208 h 70380"/>
                <a:gd name="connsiteX14" fmla="*/ 862 w 66240"/>
                <a:gd name="connsiteY14" fmla="*/ 70208 h 70380"/>
                <a:gd name="connsiteX15" fmla="*/ 862 w 66240"/>
                <a:gd name="connsiteY15" fmla="*/ 23460 h 70380"/>
                <a:gd name="connsiteX16" fmla="*/ 690 w 66240"/>
                <a:gd name="connsiteY16" fmla="*/ 23460 h 70380"/>
                <a:gd name="connsiteX17" fmla="*/ 690 w 66240"/>
                <a:gd name="connsiteY17" fmla="*/ 23460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0380">
                  <a:moveTo>
                    <a:pt x="690" y="23460"/>
                  </a:moveTo>
                  <a:cubicBezTo>
                    <a:pt x="690" y="14835"/>
                    <a:pt x="517" y="7590"/>
                    <a:pt x="0" y="1552"/>
                  </a:cubicBezTo>
                  <a:lnTo>
                    <a:pt x="18630" y="1552"/>
                  </a:lnTo>
                  <a:lnTo>
                    <a:pt x="19665" y="11040"/>
                  </a:lnTo>
                  <a:lnTo>
                    <a:pt x="20010" y="11040"/>
                  </a:lnTo>
                  <a:cubicBezTo>
                    <a:pt x="22770" y="6555"/>
                    <a:pt x="30015" y="0"/>
                    <a:pt x="41400" y="0"/>
                  </a:cubicBezTo>
                  <a:cubicBezTo>
                    <a:pt x="55545" y="0"/>
                    <a:pt x="66240" y="9315"/>
                    <a:pt x="66240" y="29498"/>
                  </a:cubicBezTo>
                  <a:lnTo>
                    <a:pt x="66240" y="70381"/>
                  </a:lnTo>
                  <a:lnTo>
                    <a:pt x="44850" y="70381"/>
                  </a:lnTo>
                  <a:lnTo>
                    <a:pt x="44850" y="32258"/>
                  </a:lnTo>
                  <a:cubicBezTo>
                    <a:pt x="44850" y="23460"/>
                    <a:pt x="41745" y="17250"/>
                    <a:pt x="33982" y="17250"/>
                  </a:cubicBezTo>
                  <a:cubicBezTo>
                    <a:pt x="28117" y="17250"/>
                    <a:pt x="24495" y="21218"/>
                    <a:pt x="23115" y="25185"/>
                  </a:cubicBezTo>
                  <a:cubicBezTo>
                    <a:pt x="22425" y="26393"/>
                    <a:pt x="22252" y="28635"/>
                    <a:pt x="22252" y="30533"/>
                  </a:cubicBezTo>
                  <a:lnTo>
                    <a:pt x="22252" y="70208"/>
                  </a:lnTo>
                  <a:lnTo>
                    <a:pt x="862" y="70208"/>
                  </a:lnTo>
                  <a:lnTo>
                    <a:pt x="862" y="23460"/>
                  </a:lnTo>
                  <a:lnTo>
                    <a:pt x="690" y="23460"/>
                  </a:lnTo>
                  <a:lnTo>
                    <a:pt x="690" y="234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1" name="Gráfico 1344">
              <a:extLst>
                <a:ext uri="{FF2B5EF4-FFF2-40B4-BE49-F238E27FC236}">
                  <a16:creationId xmlns:a16="http://schemas.microsoft.com/office/drawing/2014/main" id="{455182F1-1566-4E52-8BC2-D961C485D303}"/>
                </a:ext>
              </a:extLst>
            </p:cNvPr>
            <p:cNvSpPr/>
            <p:nvPr/>
          </p:nvSpPr>
          <p:spPr>
            <a:xfrm>
              <a:off x="7718806" y="2247506"/>
              <a:ext cx="47782" cy="90907"/>
            </a:xfrm>
            <a:custGeom>
              <a:avLst/>
              <a:gdLst>
                <a:gd name="connsiteX0" fmla="*/ 31567 w 47782"/>
                <a:gd name="connsiteY0" fmla="*/ 0 h 90907"/>
                <a:gd name="connsiteX1" fmla="*/ 31567 w 47782"/>
                <a:gd name="connsiteY1" fmla="*/ 19838 h 90907"/>
                <a:gd name="connsiteX2" fmla="*/ 47783 w 47782"/>
                <a:gd name="connsiteY2" fmla="*/ 19838 h 90907"/>
                <a:gd name="connsiteX3" fmla="*/ 47783 w 47782"/>
                <a:gd name="connsiteY3" fmla="*/ 35880 h 90907"/>
                <a:gd name="connsiteX4" fmla="*/ 31567 w 47782"/>
                <a:gd name="connsiteY4" fmla="*/ 35880 h 90907"/>
                <a:gd name="connsiteX5" fmla="*/ 31567 w 47782"/>
                <a:gd name="connsiteY5" fmla="*/ 61065 h 90907"/>
                <a:gd name="connsiteX6" fmla="*/ 40365 w 47782"/>
                <a:gd name="connsiteY6" fmla="*/ 73313 h 90907"/>
                <a:gd name="connsiteX7" fmla="*/ 47093 w 47782"/>
                <a:gd name="connsiteY7" fmla="*/ 72623 h 90907"/>
                <a:gd name="connsiteX8" fmla="*/ 47265 w 47782"/>
                <a:gd name="connsiteY8" fmla="*/ 89011 h 90907"/>
                <a:gd name="connsiteX9" fmla="*/ 32602 w 47782"/>
                <a:gd name="connsiteY9" fmla="*/ 90908 h 90907"/>
                <a:gd name="connsiteX10" fmla="*/ 15698 w 47782"/>
                <a:gd name="connsiteY10" fmla="*/ 84871 h 90907"/>
                <a:gd name="connsiteX11" fmla="*/ 9487 w 47782"/>
                <a:gd name="connsiteY11" fmla="*/ 64170 h 90907"/>
                <a:gd name="connsiteX12" fmla="*/ 9487 w 47782"/>
                <a:gd name="connsiteY12" fmla="*/ 35708 h 90907"/>
                <a:gd name="connsiteX13" fmla="*/ 0 w 47782"/>
                <a:gd name="connsiteY13" fmla="*/ 35708 h 90907"/>
                <a:gd name="connsiteX14" fmla="*/ 0 w 47782"/>
                <a:gd name="connsiteY14" fmla="*/ 19665 h 90907"/>
                <a:gd name="connsiteX15" fmla="*/ 9487 w 47782"/>
                <a:gd name="connsiteY15" fmla="*/ 19665 h 90907"/>
                <a:gd name="connsiteX16" fmla="*/ 9487 w 47782"/>
                <a:gd name="connsiteY16" fmla="*/ 4485 h 90907"/>
                <a:gd name="connsiteX17" fmla="*/ 31567 w 47782"/>
                <a:gd name="connsiteY17" fmla="*/ 0 h 90907"/>
                <a:gd name="connsiteX18" fmla="*/ 31567 w 47782"/>
                <a:gd name="connsiteY18" fmla="*/ 0 h 90907"/>
                <a:gd name="connsiteX19" fmla="*/ 31567 w 47782"/>
                <a:gd name="connsiteY19" fmla="*/ 0 h 9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782" h="90907">
                  <a:moveTo>
                    <a:pt x="31567" y="0"/>
                  </a:moveTo>
                  <a:lnTo>
                    <a:pt x="31567" y="19838"/>
                  </a:lnTo>
                  <a:lnTo>
                    <a:pt x="47783" y="19838"/>
                  </a:lnTo>
                  <a:lnTo>
                    <a:pt x="47783" y="35880"/>
                  </a:lnTo>
                  <a:lnTo>
                    <a:pt x="31567" y="35880"/>
                  </a:lnTo>
                  <a:lnTo>
                    <a:pt x="31567" y="61065"/>
                  </a:lnTo>
                  <a:cubicBezTo>
                    <a:pt x="31567" y="69345"/>
                    <a:pt x="33637" y="73313"/>
                    <a:pt x="40365" y="73313"/>
                  </a:cubicBezTo>
                  <a:cubicBezTo>
                    <a:pt x="43297" y="73313"/>
                    <a:pt x="45540" y="73140"/>
                    <a:pt x="47093" y="72623"/>
                  </a:cubicBezTo>
                  <a:lnTo>
                    <a:pt x="47265" y="89011"/>
                  </a:lnTo>
                  <a:cubicBezTo>
                    <a:pt x="44333" y="90046"/>
                    <a:pt x="38813" y="90908"/>
                    <a:pt x="32602" y="90908"/>
                  </a:cubicBezTo>
                  <a:cubicBezTo>
                    <a:pt x="25358" y="90908"/>
                    <a:pt x="19320" y="88493"/>
                    <a:pt x="15698" y="84871"/>
                  </a:cubicBezTo>
                  <a:cubicBezTo>
                    <a:pt x="11557" y="80730"/>
                    <a:pt x="9487" y="74003"/>
                    <a:pt x="9487" y="64170"/>
                  </a:cubicBezTo>
                  <a:lnTo>
                    <a:pt x="9487" y="35708"/>
                  </a:lnTo>
                  <a:lnTo>
                    <a:pt x="0" y="35708"/>
                  </a:lnTo>
                  <a:lnTo>
                    <a:pt x="0" y="19665"/>
                  </a:lnTo>
                  <a:lnTo>
                    <a:pt x="9487" y="19665"/>
                  </a:lnTo>
                  <a:lnTo>
                    <a:pt x="9487" y="4485"/>
                  </a:lnTo>
                  <a:lnTo>
                    <a:pt x="31567" y="0"/>
                  </a:lnTo>
                  <a:lnTo>
                    <a:pt x="31567" y="0"/>
                  </a:lnTo>
                  <a:lnTo>
                    <a:pt x="31567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2" name="Gráfico 1344">
              <a:extLst>
                <a:ext uri="{FF2B5EF4-FFF2-40B4-BE49-F238E27FC236}">
                  <a16:creationId xmlns:a16="http://schemas.microsoft.com/office/drawing/2014/main" id="{2167A878-C26B-4368-B597-D08C083624EE}"/>
                </a:ext>
              </a:extLst>
            </p:cNvPr>
            <p:cNvSpPr/>
            <p:nvPr/>
          </p:nvSpPr>
          <p:spPr>
            <a:xfrm>
              <a:off x="7772626" y="2266309"/>
              <a:ext cx="66240" cy="72450"/>
            </a:xfrm>
            <a:custGeom>
              <a:avLst/>
              <a:gdLst>
                <a:gd name="connsiteX0" fmla="*/ 20873 w 66240"/>
                <a:gd name="connsiteY0" fmla="*/ 42953 h 72450"/>
                <a:gd name="connsiteX1" fmla="*/ 40538 w 66240"/>
                <a:gd name="connsiteY1" fmla="*/ 56235 h 72450"/>
                <a:gd name="connsiteX2" fmla="*/ 59685 w 66240"/>
                <a:gd name="connsiteY2" fmla="*/ 53475 h 72450"/>
                <a:gd name="connsiteX3" fmla="*/ 62445 w 66240"/>
                <a:gd name="connsiteY3" fmla="*/ 68138 h 72450"/>
                <a:gd name="connsiteX4" fmla="*/ 37260 w 66240"/>
                <a:gd name="connsiteY4" fmla="*/ 72450 h 72450"/>
                <a:gd name="connsiteX5" fmla="*/ 0 w 66240"/>
                <a:gd name="connsiteY5" fmla="*/ 37088 h 72450"/>
                <a:gd name="connsiteX6" fmla="*/ 35190 w 66240"/>
                <a:gd name="connsiteY6" fmla="*/ 0 h 72450"/>
                <a:gd name="connsiteX7" fmla="*/ 66240 w 66240"/>
                <a:gd name="connsiteY7" fmla="*/ 34673 h 72450"/>
                <a:gd name="connsiteX8" fmla="*/ 65550 w 66240"/>
                <a:gd name="connsiteY8" fmla="*/ 43125 h 72450"/>
                <a:gd name="connsiteX9" fmla="*/ 20700 w 66240"/>
                <a:gd name="connsiteY9" fmla="*/ 43125 h 72450"/>
                <a:gd name="connsiteX10" fmla="*/ 20700 w 66240"/>
                <a:gd name="connsiteY10" fmla="*/ 42953 h 72450"/>
                <a:gd name="connsiteX11" fmla="*/ 20873 w 66240"/>
                <a:gd name="connsiteY11" fmla="*/ 42953 h 72450"/>
                <a:gd name="connsiteX12" fmla="*/ 46576 w 66240"/>
                <a:gd name="connsiteY12" fmla="*/ 27945 h 72450"/>
                <a:gd name="connsiteX13" fmla="*/ 34328 w 66240"/>
                <a:gd name="connsiteY13" fmla="*/ 13800 h 72450"/>
                <a:gd name="connsiteX14" fmla="*/ 20873 w 66240"/>
                <a:gd name="connsiteY14" fmla="*/ 27945 h 72450"/>
                <a:gd name="connsiteX15" fmla="*/ 46576 w 66240"/>
                <a:gd name="connsiteY15" fmla="*/ 27945 h 72450"/>
                <a:gd name="connsiteX16" fmla="*/ 46576 w 66240"/>
                <a:gd name="connsiteY16" fmla="*/ 27945 h 72450"/>
                <a:gd name="connsiteX17" fmla="*/ 46576 w 66240"/>
                <a:gd name="connsiteY17" fmla="*/ 27945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2450">
                  <a:moveTo>
                    <a:pt x="20873" y="42953"/>
                  </a:moveTo>
                  <a:cubicBezTo>
                    <a:pt x="21563" y="51923"/>
                    <a:pt x="30533" y="56235"/>
                    <a:pt x="40538" y="56235"/>
                  </a:cubicBezTo>
                  <a:cubicBezTo>
                    <a:pt x="47955" y="56235"/>
                    <a:pt x="53993" y="55200"/>
                    <a:pt x="59685" y="53475"/>
                  </a:cubicBezTo>
                  <a:lnTo>
                    <a:pt x="62445" y="68138"/>
                  </a:lnTo>
                  <a:cubicBezTo>
                    <a:pt x="55373" y="70898"/>
                    <a:pt x="46576" y="72450"/>
                    <a:pt x="37260" y="72450"/>
                  </a:cubicBezTo>
                  <a:cubicBezTo>
                    <a:pt x="13628" y="72450"/>
                    <a:pt x="0" y="58823"/>
                    <a:pt x="0" y="37088"/>
                  </a:cubicBezTo>
                  <a:cubicBezTo>
                    <a:pt x="0" y="19320"/>
                    <a:pt x="11040" y="0"/>
                    <a:pt x="35190" y="0"/>
                  </a:cubicBezTo>
                  <a:cubicBezTo>
                    <a:pt x="57615" y="0"/>
                    <a:pt x="66240" y="17423"/>
                    <a:pt x="66240" y="34673"/>
                  </a:cubicBezTo>
                  <a:cubicBezTo>
                    <a:pt x="66240" y="38295"/>
                    <a:pt x="65896" y="41745"/>
                    <a:pt x="65550" y="43125"/>
                  </a:cubicBezTo>
                  <a:lnTo>
                    <a:pt x="20700" y="43125"/>
                  </a:lnTo>
                  <a:lnTo>
                    <a:pt x="20700" y="42953"/>
                  </a:lnTo>
                  <a:lnTo>
                    <a:pt x="20873" y="42953"/>
                  </a:lnTo>
                  <a:close/>
                  <a:moveTo>
                    <a:pt x="46576" y="27945"/>
                  </a:moveTo>
                  <a:cubicBezTo>
                    <a:pt x="46576" y="22598"/>
                    <a:pt x="44160" y="13800"/>
                    <a:pt x="34328" y="13800"/>
                  </a:cubicBezTo>
                  <a:cubicBezTo>
                    <a:pt x="25185" y="13800"/>
                    <a:pt x="21563" y="22080"/>
                    <a:pt x="20873" y="27945"/>
                  </a:cubicBezTo>
                  <a:lnTo>
                    <a:pt x="46576" y="27945"/>
                  </a:lnTo>
                  <a:lnTo>
                    <a:pt x="46576" y="27945"/>
                  </a:lnTo>
                  <a:lnTo>
                    <a:pt x="46576" y="2794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1373" name="Agrupar 1372">
            <a:extLst>
              <a:ext uri="{FF2B5EF4-FFF2-40B4-BE49-F238E27FC236}">
                <a16:creationId xmlns:a16="http://schemas.microsoft.com/office/drawing/2014/main" id="{2E56A297-B284-45BD-9CEC-D9AA9FF06C6F}"/>
              </a:ext>
            </a:extLst>
          </p:cNvPr>
          <p:cNvGrpSpPr/>
          <p:nvPr/>
        </p:nvGrpSpPr>
        <p:grpSpPr>
          <a:xfrm>
            <a:off x="6844065" y="2548242"/>
            <a:ext cx="1072267" cy="101435"/>
            <a:chOff x="6592890" y="2665645"/>
            <a:chExt cx="1072267" cy="101435"/>
          </a:xfrm>
        </p:grpSpPr>
        <p:sp>
          <p:nvSpPr>
            <p:cNvPr id="1374" name="Gráfico 1344">
              <a:extLst>
                <a:ext uri="{FF2B5EF4-FFF2-40B4-BE49-F238E27FC236}">
                  <a16:creationId xmlns:a16="http://schemas.microsoft.com/office/drawing/2014/main" id="{AE6C53E9-EB5D-4D01-B76F-20ED6281A7FA}"/>
                </a:ext>
              </a:extLst>
            </p:cNvPr>
            <p:cNvSpPr/>
            <p:nvPr/>
          </p:nvSpPr>
          <p:spPr>
            <a:xfrm>
              <a:off x="6592890" y="2669789"/>
              <a:ext cx="72450" cy="97290"/>
            </a:xfrm>
            <a:custGeom>
              <a:avLst/>
              <a:gdLst>
                <a:gd name="connsiteX0" fmla="*/ 25358 w 72450"/>
                <a:gd name="connsiteY0" fmla="*/ 18458 h 97290"/>
                <a:gd name="connsiteX1" fmla="*/ 0 w 72450"/>
                <a:gd name="connsiteY1" fmla="*/ 18458 h 97290"/>
                <a:gd name="connsiteX2" fmla="*/ 0 w 72450"/>
                <a:gd name="connsiteY2" fmla="*/ 0 h 97290"/>
                <a:gd name="connsiteX3" fmla="*/ 72450 w 72450"/>
                <a:gd name="connsiteY3" fmla="*/ 0 h 97290"/>
                <a:gd name="connsiteX4" fmla="*/ 72450 w 72450"/>
                <a:gd name="connsiteY4" fmla="*/ 18458 h 97290"/>
                <a:gd name="connsiteX5" fmla="*/ 46748 w 72450"/>
                <a:gd name="connsiteY5" fmla="*/ 18458 h 97290"/>
                <a:gd name="connsiteX6" fmla="*/ 46748 w 72450"/>
                <a:gd name="connsiteY6" fmla="*/ 97291 h 97290"/>
                <a:gd name="connsiteX7" fmla="*/ 25358 w 72450"/>
                <a:gd name="connsiteY7" fmla="*/ 97291 h 97290"/>
                <a:gd name="connsiteX8" fmla="*/ 25358 w 72450"/>
                <a:gd name="connsiteY8" fmla="*/ 18458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50" h="97290">
                  <a:moveTo>
                    <a:pt x="25358" y="18458"/>
                  </a:moveTo>
                  <a:lnTo>
                    <a:pt x="0" y="18458"/>
                  </a:lnTo>
                  <a:lnTo>
                    <a:pt x="0" y="0"/>
                  </a:lnTo>
                  <a:lnTo>
                    <a:pt x="72450" y="0"/>
                  </a:lnTo>
                  <a:lnTo>
                    <a:pt x="72450" y="18458"/>
                  </a:lnTo>
                  <a:lnTo>
                    <a:pt x="46748" y="18458"/>
                  </a:lnTo>
                  <a:lnTo>
                    <a:pt x="46748" y="97291"/>
                  </a:lnTo>
                  <a:lnTo>
                    <a:pt x="25358" y="97291"/>
                  </a:lnTo>
                  <a:lnTo>
                    <a:pt x="25358" y="1845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5" name="Gráfico 1344">
              <a:extLst>
                <a:ext uri="{FF2B5EF4-FFF2-40B4-BE49-F238E27FC236}">
                  <a16:creationId xmlns:a16="http://schemas.microsoft.com/office/drawing/2014/main" id="{F53352C6-E72F-40D9-8697-6FA226084686}"/>
                </a:ext>
              </a:extLst>
            </p:cNvPr>
            <p:cNvSpPr/>
            <p:nvPr/>
          </p:nvSpPr>
          <p:spPr>
            <a:xfrm>
              <a:off x="6677761" y="2669789"/>
              <a:ext cx="20700" cy="97290"/>
            </a:xfrm>
            <a:custGeom>
              <a:avLst/>
              <a:gdLst>
                <a:gd name="connsiteX0" fmla="*/ 0 w 20700"/>
                <a:gd name="connsiteY0" fmla="*/ 0 h 97290"/>
                <a:gd name="connsiteX1" fmla="*/ 20700 w 20700"/>
                <a:gd name="connsiteY1" fmla="*/ 0 h 97290"/>
                <a:gd name="connsiteX2" fmla="*/ 20700 w 20700"/>
                <a:gd name="connsiteY2" fmla="*/ 97291 h 97290"/>
                <a:gd name="connsiteX3" fmla="*/ 0 w 20700"/>
                <a:gd name="connsiteY3" fmla="*/ 97291 h 97290"/>
                <a:gd name="connsiteX4" fmla="*/ 0 w 20700"/>
                <a:gd name="connsiteY4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0" h="97290">
                  <a:moveTo>
                    <a:pt x="0" y="0"/>
                  </a:moveTo>
                  <a:lnTo>
                    <a:pt x="20700" y="0"/>
                  </a:lnTo>
                  <a:lnTo>
                    <a:pt x="20700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6" name="Gráfico 1344">
              <a:extLst>
                <a:ext uri="{FF2B5EF4-FFF2-40B4-BE49-F238E27FC236}">
                  <a16:creationId xmlns:a16="http://schemas.microsoft.com/office/drawing/2014/main" id="{AD5F3547-B99C-49C2-A94E-558CBF93658F}"/>
                </a:ext>
              </a:extLst>
            </p:cNvPr>
            <p:cNvSpPr/>
            <p:nvPr/>
          </p:nvSpPr>
          <p:spPr>
            <a:xfrm>
              <a:off x="6746071" y="2669789"/>
              <a:ext cx="70380" cy="97290"/>
            </a:xfrm>
            <a:custGeom>
              <a:avLst/>
              <a:gdLst>
                <a:gd name="connsiteX0" fmla="*/ 173 w 70380"/>
                <a:gd name="connsiteY0" fmla="*/ 1898 h 97290"/>
                <a:gd name="connsiteX1" fmla="*/ 30015 w 70380"/>
                <a:gd name="connsiteY1" fmla="*/ 0 h 97290"/>
                <a:gd name="connsiteX2" fmla="*/ 59858 w 70380"/>
                <a:gd name="connsiteY2" fmla="*/ 7763 h 97290"/>
                <a:gd name="connsiteX3" fmla="*/ 70381 w 70380"/>
                <a:gd name="connsiteY3" fmla="*/ 30015 h 97290"/>
                <a:gd name="connsiteX4" fmla="*/ 61410 w 70380"/>
                <a:gd name="connsiteY4" fmla="*/ 52958 h 97290"/>
                <a:gd name="connsiteX5" fmla="*/ 29670 w 70380"/>
                <a:gd name="connsiteY5" fmla="*/ 63136 h 97290"/>
                <a:gd name="connsiteX6" fmla="*/ 22080 w 70380"/>
                <a:gd name="connsiteY6" fmla="*/ 62790 h 97290"/>
                <a:gd name="connsiteX7" fmla="*/ 22080 w 70380"/>
                <a:gd name="connsiteY7" fmla="*/ 97291 h 97290"/>
                <a:gd name="connsiteX8" fmla="*/ 0 w 70380"/>
                <a:gd name="connsiteY8" fmla="*/ 97291 h 97290"/>
                <a:gd name="connsiteX9" fmla="*/ 0 w 70380"/>
                <a:gd name="connsiteY9" fmla="*/ 1898 h 97290"/>
                <a:gd name="connsiteX10" fmla="*/ 173 w 70380"/>
                <a:gd name="connsiteY10" fmla="*/ 1898 h 97290"/>
                <a:gd name="connsiteX11" fmla="*/ 173 w 70380"/>
                <a:gd name="connsiteY11" fmla="*/ 1898 h 97290"/>
                <a:gd name="connsiteX12" fmla="*/ 22080 w 70380"/>
                <a:gd name="connsiteY12" fmla="*/ 45713 h 97290"/>
                <a:gd name="connsiteX13" fmla="*/ 29498 w 70380"/>
                <a:gd name="connsiteY13" fmla="*/ 46403 h 97290"/>
                <a:gd name="connsiteX14" fmla="*/ 48473 w 70380"/>
                <a:gd name="connsiteY14" fmla="*/ 30705 h 97290"/>
                <a:gd name="connsiteX15" fmla="*/ 31223 w 70380"/>
                <a:gd name="connsiteY15" fmla="*/ 16560 h 97290"/>
                <a:gd name="connsiteX16" fmla="*/ 22080 w 70380"/>
                <a:gd name="connsiteY16" fmla="*/ 17423 h 97290"/>
                <a:gd name="connsiteX17" fmla="*/ 22080 w 70380"/>
                <a:gd name="connsiteY17" fmla="*/ 45713 h 97290"/>
                <a:gd name="connsiteX18" fmla="*/ 22080 w 70380"/>
                <a:gd name="connsiteY18" fmla="*/ 45713 h 97290"/>
                <a:gd name="connsiteX19" fmla="*/ 22080 w 70380"/>
                <a:gd name="connsiteY19" fmla="*/ 45713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380" h="97290">
                  <a:moveTo>
                    <a:pt x="173" y="1898"/>
                  </a:moveTo>
                  <a:cubicBezTo>
                    <a:pt x="6900" y="863"/>
                    <a:pt x="16560" y="0"/>
                    <a:pt x="30015" y="0"/>
                  </a:cubicBezTo>
                  <a:cubicBezTo>
                    <a:pt x="43815" y="0"/>
                    <a:pt x="53475" y="2587"/>
                    <a:pt x="59858" y="7763"/>
                  </a:cubicBezTo>
                  <a:cubicBezTo>
                    <a:pt x="66240" y="12765"/>
                    <a:pt x="70381" y="20700"/>
                    <a:pt x="70381" y="30015"/>
                  </a:cubicBezTo>
                  <a:cubicBezTo>
                    <a:pt x="70381" y="39503"/>
                    <a:pt x="67103" y="47438"/>
                    <a:pt x="61410" y="52958"/>
                  </a:cubicBezTo>
                  <a:cubicBezTo>
                    <a:pt x="53820" y="60030"/>
                    <a:pt x="42608" y="63136"/>
                    <a:pt x="29670" y="63136"/>
                  </a:cubicBezTo>
                  <a:cubicBezTo>
                    <a:pt x="26910" y="63136"/>
                    <a:pt x="24150" y="62963"/>
                    <a:pt x="22080" y="62790"/>
                  </a:cubicBezTo>
                  <a:lnTo>
                    <a:pt x="22080" y="97291"/>
                  </a:lnTo>
                  <a:lnTo>
                    <a:pt x="0" y="97291"/>
                  </a:lnTo>
                  <a:lnTo>
                    <a:pt x="0" y="1898"/>
                  </a:lnTo>
                  <a:lnTo>
                    <a:pt x="173" y="1898"/>
                  </a:lnTo>
                  <a:lnTo>
                    <a:pt x="173" y="1898"/>
                  </a:lnTo>
                  <a:close/>
                  <a:moveTo>
                    <a:pt x="22080" y="45713"/>
                  </a:moveTo>
                  <a:cubicBezTo>
                    <a:pt x="23978" y="46058"/>
                    <a:pt x="26220" y="46403"/>
                    <a:pt x="29498" y="46403"/>
                  </a:cubicBezTo>
                  <a:cubicBezTo>
                    <a:pt x="41228" y="46403"/>
                    <a:pt x="48473" y="40538"/>
                    <a:pt x="48473" y="30705"/>
                  </a:cubicBezTo>
                  <a:cubicBezTo>
                    <a:pt x="48473" y="21908"/>
                    <a:pt x="42090" y="16560"/>
                    <a:pt x="31223" y="16560"/>
                  </a:cubicBezTo>
                  <a:cubicBezTo>
                    <a:pt x="26565" y="16560"/>
                    <a:pt x="23633" y="16905"/>
                    <a:pt x="22080" y="17423"/>
                  </a:cubicBezTo>
                  <a:lnTo>
                    <a:pt x="22080" y="45713"/>
                  </a:lnTo>
                  <a:lnTo>
                    <a:pt x="22080" y="45713"/>
                  </a:lnTo>
                  <a:lnTo>
                    <a:pt x="22080" y="457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7" name="Gráfico 1344">
              <a:extLst>
                <a:ext uri="{FF2B5EF4-FFF2-40B4-BE49-F238E27FC236}">
                  <a16:creationId xmlns:a16="http://schemas.microsoft.com/office/drawing/2014/main" id="{9C1AD6EE-DF02-4021-9517-821B6B6854B5}"/>
                </a:ext>
              </a:extLst>
            </p:cNvPr>
            <p:cNvSpPr/>
            <p:nvPr/>
          </p:nvSpPr>
          <p:spPr>
            <a:xfrm>
              <a:off x="6820592" y="2694630"/>
              <a:ext cx="74520" cy="72450"/>
            </a:xfrm>
            <a:custGeom>
              <a:avLst/>
              <a:gdLst>
                <a:gd name="connsiteX0" fmla="*/ 74521 w 74520"/>
                <a:gd name="connsiteY0" fmla="*/ 35535 h 72450"/>
                <a:gd name="connsiteX1" fmla="*/ 36916 w 74520"/>
                <a:gd name="connsiteY1" fmla="*/ 72450 h 72450"/>
                <a:gd name="connsiteX2" fmla="*/ 0 w 74520"/>
                <a:gd name="connsiteY2" fmla="*/ 36743 h 72450"/>
                <a:gd name="connsiteX3" fmla="*/ 37950 w 74520"/>
                <a:gd name="connsiteY3" fmla="*/ 0 h 72450"/>
                <a:gd name="connsiteX4" fmla="*/ 74521 w 74520"/>
                <a:gd name="connsiteY4" fmla="*/ 35535 h 72450"/>
                <a:gd name="connsiteX5" fmla="*/ 22942 w 74520"/>
                <a:gd name="connsiteY5" fmla="*/ 36053 h 72450"/>
                <a:gd name="connsiteX6" fmla="*/ 37605 w 74520"/>
                <a:gd name="connsiteY6" fmla="*/ 56925 h 72450"/>
                <a:gd name="connsiteX7" fmla="*/ 51750 w 74520"/>
                <a:gd name="connsiteY7" fmla="*/ 36053 h 72450"/>
                <a:gd name="connsiteX8" fmla="*/ 37605 w 74520"/>
                <a:gd name="connsiteY8" fmla="*/ 15180 h 72450"/>
                <a:gd name="connsiteX9" fmla="*/ 22942 w 74520"/>
                <a:gd name="connsiteY9" fmla="*/ 3605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2450">
                  <a:moveTo>
                    <a:pt x="74521" y="35535"/>
                  </a:moveTo>
                  <a:cubicBezTo>
                    <a:pt x="74521" y="61065"/>
                    <a:pt x="55890" y="72450"/>
                    <a:pt x="36916" y="72450"/>
                  </a:cubicBezTo>
                  <a:cubicBezTo>
                    <a:pt x="16215" y="72450"/>
                    <a:pt x="0" y="58995"/>
                    <a:pt x="0" y="36743"/>
                  </a:cubicBezTo>
                  <a:cubicBezTo>
                    <a:pt x="0" y="14490"/>
                    <a:pt x="15353" y="0"/>
                    <a:pt x="37950" y="0"/>
                  </a:cubicBezTo>
                  <a:cubicBezTo>
                    <a:pt x="60031" y="0"/>
                    <a:pt x="74521" y="14662"/>
                    <a:pt x="74521" y="35535"/>
                  </a:cubicBezTo>
                  <a:moveTo>
                    <a:pt x="22942" y="36053"/>
                  </a:moveTo>
                  <a:cubicBezTo>
                    <a:pt x="22942" y="47955"/>
                    <a:pt x="27945" y="56925"/>
                    <a:pt x="37605" y="56925"/>
                  </a:cubicBezTo>
                  <a:cubicBezTo>
                    <a:pt x="46058" y="56925"/>
                    <a:pt x="51750" y="48645"/>
                    <a:pt x="51750" y="36053"/>
                  </a:cubicBezTo>
                  <a:cubicBezTo>
                    <a:pt x="51750" y="25703"/>
                    <a:pt x="47611" y="15180"/>
                    <a:pt x="37605" y="15180"/>
                  </a:cubicBezTo>
                  <a:cubicBezTo>
                    <a:pt x="26910" y="15353"/>
                    <a:pt x="22942" y="25875"/>
                    <a:pt x="22942" y="3605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8" name="Gráfico 1344">
              <a:extLst>
                <a:ext uri="{FF2B5EF4-FFF2-40B4-BE49-F238E27FC236}">
                  <a16:creationId xmlns:a16="http://schemas.microsoft.com/office/drawing/2014/main" id="{6F60ABA9-D5F0-4131-B690-3FFE00922199}"/>
                </a:ext>
              </a:extLst>
            </p:cNvPr>
            <p:cNvSpPr/>
            <p:nvPr/>
          </p:nvSpPr>
          <p:spPr>
            <a:xfrm>
              <a:off x="6907533" y="2694802"/>
              <a:ext cx="43642" cy="70380"/>
            </a:xfrm>
            <a:custGeom>
              <a:avLst/>
              <a:gdLst>
                <a:gd name="connsiteX0" fmla="*/ 690 w 43642"/>
                <a:gd name="connsiteY0" fmla="*/ 23978 h 70380"/>
                <a:gd name="connsiteX1" fmla="*/ 0 w 43642"/>
                <a:gd name="connsiteY1" fmla="*/ 1380 h 70380"/>
                <a:gd name="connsiteX2" fmla="*/ 18803 w 43642"/>
                <a:gd name="connsiteY2" fmla="*/ 1380 h 70380"/>
                <a:gd name="connsiteX3" fmla="*/ 19493 w 43642"/>
                <a:gd name="connsiteY3" fmla="*/ 14145 h 70380"/>
                <a:gd name="connsiteX4" fmla="*/ 20182 w 43642"/>
                <a:gd name="connsiteY4" fmla="*/ 14145 h 70380"/>
                <a:gd name="connsiteX5" fmla="*/ 39158 w 43642"/>
                <a:gd name="connsiteY5" fmla="*/ 0 h 70380"/>
                <a:gd name="connsiteX6" fmla="*/ 43643 w 43642"/>
                <a:gd name="connsiteY6" fmla="*/ 173 h 70380"/>
                <a:gd name="connsiteX7" fmla="*/ 43643 w 43642"/>
                <a:gd name="connsiteY7" fmla="*/ 20355 h 70380"/>
                <a:gd name="connsiteX8" fmla="*/ 37778 w 43642"/>
                <a:gd name="connsiteY8" fmla="*/ 19665 h 70380"/>
                <a:gd name="connsiteX9" fmla="*/ 22942 w 43642"/>
                <a:gd name="connsiteY9" fmla="*/ 30533 h 70380"/>
                <a:gd name="connsiteX10" fmla="*/ 22598 w 43642"/>
                <a:gd name="connsiteY10" fmla="*/ 35363 h 70380"/>
                <a:gd name="connsiteX11" fmla="*/ 22598 w 43642"/>
                <a:gd name="connsiteY11" fmla="*/ 70381 h 70380"/>
                <a:gd name="connsiteX12" fmla="*/ 862 w 43642"/>
                <a:gd name="connsiteY12" fmla="*/ 70381 h 70380"/>
                <a:gd name="connsiteX13" fmla="*/ 862 w 43642"/>
                <a:gd name="connsiteY13" fmla="*/ 23978 h 70380"/>
                <a:gd name="connsiteX14" fmla="*/ 690 w 43642"/>
                <a:gd name="connsiteY14" fmla="*/ 23978 h 70380"/>
                <a:gd name="connsiteX15" fmla="*/ 690 w 43642"/>
                <a:gd name="connsiteY15" fmla="*/ 23978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0380">
                  <a:moveTo>
                    <a:pt x="690" y="23978"/>
                  </a:moveTo>
                  <a:cubicBezTo>
                    <a:pt x="690" y="13800"/>
                    <a:pt x="517" y="7245"/>
                    <a:pt x="0" y="1380"/>
                  </a:cubicBezTo>
                  <a:lnTo>
                    <a:pt x="18803" y="1380"/>
                  </a:lnTo>
                  <a:lnTo>
                    <a:pt x="19493" y="14145"/>
                  </a:lnTo>
                  <a:lnTo>
                    <a:pt x="20182" y="14145"/>
                  </a:lnTo>
                  <a:cubicBezTo>
                    <a:pt x="23805" y="3968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173"/>
                  </a:cubicBezTo>
                  <a:lnTo>
                    <a:pt x="43643" y="20355"/>
                  </a:lnTo>
                  <a:cubicBezTo>
                    <a:pt x="42090" y="20183"/>
                    <a:pt x="40193" y="19665"/>
                    <a:pt x="37778" y="19665"/>
                  </a:cubicBezTo>
                  <a:cubicBezTo>
                    <a:pt x="29670" y="19665"/>
                    <a:pt x="24150" y="23978"/>
                    <a:pt x="22942" y="30533"/>
                  </a:cubicBezTo>
                  <a:cubicBezTo>
                    <a:pt x="22770" y="32085"/>
                    <a:pt x="22598" y="33638"/>
                    <a:pt x="22598" y="35363"/>
                  </a:cubicBezTo>
                  <a:lnTo>
                    <a:pt x="22598" y="70381"/>
                  </a:lnTo>
                  <a:lnTo>
                    <a:pt x="862" y="70381"/>
                  </a:lnTo>
                  <a:lnTo>
                    <a:pt x="862" y="23978"/>
                  </a:lnTo>
                  <a:lnTo>
                    <a:pt x="690" y="23978"/>
                  </a:lnTo>
                  <a:lnTo>
                    <a:pt x="690" y="2397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79" name="Gráfico 1344">
              <a:extLst>
                <a:ext uri="{FF2B5EF4-FFF2-40B4-BE49-F238E27FC236}">
                  <a16:creationId xmlns:a16="http://schemas.microsoft.com/office/drawing/2014/main" id="{B4E3E755-358C-4D5A-9196-7D140D3D92FA}"/>
                </a:ext>
              </a:extLst>
            </p:cNvPr>
            <p:cNvSpPr/>
            <p:nvPr/>
          </p:nvSpPr>
          <p:spPr>
            <a:xfrm>
              <a:off x="6959283" y="2676000"/>
              <a:ext cx="45540" cy="90908"/>
            </a:xfrm>
            <a:custGeom>
              <a:avLst/>
              <a:gdLst>
                <a:gd name="connsiteX0" fmla="*/ 30015 w 45540"/>
                <a:gd name="connsiteY0" fmla="*/ 0 h 90908"/>
                <a:gd name="connsiteX1" fmla="*/ 30015 w 45540"/>
                <a:gd name="connsiteY1" fmla="*/ 19838 h 90908"/>
                <a:gd name="connsiteX2" fmla="*/ 45540 w 45540"/>
                <a:gd name="connsiteY2" fmla="*/ 19838 h 90908"/>
                <a:gd name="connsiteX3" fmla="*/ 45540 w 45540"/>
                <a:gd name="connsiteY3" fmla="*/ 35880 h 90908"/>
                <a:gd name="connsiteX4" fmla="*/ 30015 w 45540"/>
                <a:gd name="connsiteY4" fmla="*/ 35880 h 90908"/>
                <a:gd name="connsiteX5" fmla="*/ 30015 w 45540"/>
                <a:gd name="connsiteY5" fmla="*/ 61065 h 90908"/>
                <a:gd name="connsiteX6" fmla="*/ 38467 w 45540"/>
                <a:gd name="connsiteY6" fmla="*/ 73313 h 90908"/>
                <a:gd name="connsiteX7" fmla="*/ 44850 w 45540"/>
                <a:gd name="connsiteY7" fmla="*/ 72623 h 90908"/>
                <a:gd name="connsiteX8" fmla="*/ 45023 w 45540"/>
                <a:gd name="connsiteY8" fmla="*/ 89011 h 90908"/>
                <a:gd name="connsiteX9" fmla="*/ 31050 w 45540"/>
                <a:gd name="connsiteY9" fmla="*/ 90908 h 90908"/>
                <a:gd name="connsiteX10" fmla="*/ 15008 w 45540"/>
                <a:gd name="connsiteY10" fmla="*/ 84871 h 90908"/>
                <a:gd name="connsiteX11" fmla="*/ 9143 w 45540"/>
                <a:gd name="connsiteY11" fmla="*/ 64170 h 90908"/>
                <a:gd name="connsiteX12" fmla="*/ 9143 w 45540"/>
                <a:gd name="connsiteY12" fmla="*/ 35708 h 90908"/>
                <a:gd name="connsiteX13" fmla="*/ 0 w 45540"/>
                <a:gd name="connsiteY13" fmla="*/ 35708 h 90908"/>
                <a:gd name="connsiteX14" fmla="*/ 0 w 45540"/>
                <a:gd name="connsiteY14" fmla="*/ 19665 h 90908"/>
                <a:gd name="connsiteX15" fmla="*/ 9143 w 45540"/>
                <a:gd name="connsiteY15" fmla="*/ 19665 h 90908"/>
                <a:gd name="connsiteX16" fmla="*/ 9143 w 45540"/>
                <a:gd name="connsiteY16" fmla="*/ 4485 h 90908"/>
                <a:gd name="connsiteX17" fmla="*/ 30015 w 45540"/>
                <a:gd name="connsiteY17" fmla="*/ 0 h 90908"/>
                <a:gd name="connsiteX18" fmla="*/ 30015 w 45540"/>
                <a:gd name="connsiteY18" fmla="*/ 0 h 90908"/>
                <a:gd name="connsiteX19" fmla="*/ 30015 w 45540"/>
                <a:gd name="connsiteY19" fmla="*/ 0 h 9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540" h="90908">
                  <a:moveTo>
                    <a:pt x="30015" y="0"/>
                  </a:moveTo>
                  <a:lnTo>
                    <a:pt x="30015" y="19838"/>
                  </a:lnTo>
                  <a:lnTo>
                    <a:pt x="45540" y="19838"/>
                  </a:lnTo>
                  <a:lnTo>
                    <a:pt x="45540" y="35880"/>
                  </a:lnTo>
                  <a:lnTo>
                    <a:pt x="30015" y="35880"/>
                  </a:lnTo>
                  <a:lnTo>
                    <a:pt x="30015" y="61065"/>
                  </a:lnTo>
                  <a:cubicBezTo>
                    <a:pt x="30015" y="69346"/>
                    <a:pt x="31913" y="73313"/>
                    <a:pt x="38467" y="73313"/>
                  </a:cubicBezTo>
                  <a:cubicBezTo>
                    <a:pt x="41228" y="73313"/>
                    <a:pt x="43297" y="73141"/>
                    <a:pt x="44850" y="72623"/>
                  </a:cubicBezTo>
                  <a:lnTo>
                    <a:pt x="45023" y="89011"/>
                  </a:lnTo>
                  <a:cubicBezTo>
                    <a:pt x="42262" y="90046"/>
                    <a:pt x="37260" y="90908"/>
                    <a:pt x="31050" y="90908"/>
                  </a:cubicBezTo>
                  <a:cubicBezTo>
                    <a:pt x="23977" y="90908"/>
                    <a:pt x="18285" y="88493"/>
                    <a:pt x="15008" y="84871"/>
                  </a:cubicBezTo>
                  <a:cubicBezTo>
                    <a:pt x="11040" y="80730"/>
                    <a:pt x="9143" y="74003"/>
                    <a:pt x="9143" y="64170"/>
                  </a:cubicBezTo>
                  <a:lnTo>
                    <a:pt x="9143" y="35708"/>
                  </a:lnTo>
                  <a:lnTo>
                    <a:pt x="0" y="35708"/>
                  </a:lnTo>
                  <a:lnTo>
                    <a:pt x="0" y="19665"/>
                  </a:lnTo>
                  <a:lnTo>
                    <a:pt x="9143" y="19665"/>
                  </a:lnTo>
                  <a:lnTo>
                    <a:pt x="9143" y="4485"/>
                  </a:lnTo>
                  <a:lnTo>
                    <a:pt x="30015" y="0"/>
                  </a:lnTo>
                  <a:lnTo>
                    <a:pt x="30015" y="0"/>
                  </a:lnTo>
                  <a:lnTo>
                    <a:pt x="30015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0" name="Gráfico 1344">
              <a:extLst>
                <a:ext uri="{FF2B5EF4-FFF2-40B4-BE49-F238E27FC236}">
                  <a16:creationId xmlns:a16="http://schemas.microsoft.com/office/drawing/2014/main" id="{BED941FF-05BA-4139-87FE-50A28DB521AE}"/>
                </a:ext>
              </a:extLst>
            </p:cNvPr>
            <p:cNvSpPr/>
            <p:nvPr/>
          </p:nvSpPr>
          <p:spPr>
            <a:xfrm>
              <a:off x="7013103" y="2694630"/>
              <a:ext cx="72450" cy="72450"/>
            </a:xfrm>
            <a:custGeom>
              <a:avLst/>
              <a:gdLst>
                <a:gd name="connsiteX0" fmla="*/ 72450 w 72450"/>
                <a:gd name="connsiteY0" fmla="*/ 35535 h 72450"/>
                <a:gd name="connsiteX1" fmla="*/ 35880 w 72450"/>
                <a:gd name="connsiteY1" fmla="*/ 72450 h 72450"/>
                <a:gd name="connsiteX2" fmla="*/ 0 w 72450"/>
                <a:gd name="connsiteY2" fmla="*/ 36743 h 72450"/>
                <a:gd name="connsiteX3" fmla="*/ 36915 w 72450"/>
                <a:gd name="connsiteY3" fmla="*/ 0 h 72450"/>
                <a:gd name="connsiteX4" fmla="*/ 72450 w 72450"/>
                <a:gd name="connsiteY4" fmla="*/ 35535 h 72450"/>
                <a:gd name="connsiteX5" fmla="*/ 22080 w 72450"/>
                <a:gd name="connsiteY5" fmla="*/ 36053 h 72450"/>
                <a:gd name="connsiteX6" fmla="*/ 36398 w 72450"/>
                <a:gd name="connsiteY6" fmla="*/ 56925 h 72450"/>
                <a:gd name="connsiteX7" fmla="*/ 50198 w 72450"/>
                <a:gd name="connsiteY7" fmla="*/ 36053 h 72450"/>
                <a:gd name="connsiteX8" fmla="*/ 36398 w 72450"/>
                <a:gd name="connsiteY8" fmla="*/ 15180 h 72450"/>
                <a:gd name="connsiteX9" fmla="*/ 22080 w 72450"/>
                <a:gd name="connsiteY9" fmla="*/ 3605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72450">
                  <a:moveTo>
                    <a:pt x="72450" y="35535"/>
                  </a:moveTo>
                  <a:cubicBezTo>
                    <a:pt x="72450" y="61065"/>
                    <a:pt x="54338" y="72450"/>
                    <a:pt x="35880" y="72450"/>
                  </a:cubicBezTo>
                  <a:cubicBezTo>
                    <a:pt x="15698" y="72450"/>
                    <a:pt x="0" y="58995"/>
                    <a:pt x="0" y="36743"/>
                  </a:cubicBezTo>
                  <a:cubicBezTo>
                    <a:pt x="0" y="14490"/>
                    <a:pt x="14663" y="0"/>
                    <a:pt x="36915" y="0"/>
                  </a:cubicBezTo>
                  <a:cubicBezTo>
                    <a:pt x="58133" y="0"/>
                    <a:pt x="72450" y="14662"/>
                    <a:pt x="72450" y="35535"/>
                  </a:cubicBezTo>
                  <a:moveTo>
                    <a:pt x="22080" y="36053"/>
                  </a:moveTo>
                  <a:cubicBezTo>
                    <a:pt x="22080" y="47955"/>
                    <a:pt x="26910" y="56925"/>
                    <a:pt x="36398" y="56925"/>
                  </a:cubicBezTo>
                  <a:cubicBezTo>
                    <a:pt x="44678" y="56925"/>
                    <a:pt x="50198" y="48645"/>
                    <a:pt x="50198" y="36053"/>
                  </a:cubicBezTo>
                  <a:cubicBezTo>
                    <a:pt x="50198" y="25703"/>
                    <a:pt x="46230" y="15180"/>
                    <a:pt x="36398" y="15180"/>
                  </a:cubicBezTo>
                  <a:cubicBezTo>
                    <a:pt x="25875" y="15353"/>
                    <a:pt x="22080" y="25875"/>
                    <a:pt x="22080" y="3605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1" name="Gráfico 1344">
              <a:extLst>
                <a:ext uri="{FF2B5EF4-FFF2-40B4-BE49-F238E27FC236}">
                  <a16:creationId xmlns:a16="http://schemas.microsoft.com/office/drawing/2014/main" id="{8EC3D2EF-6135-4004-9F06-834454EB3199}"/>
                </a:ext>
              </a:extLst>
            </p:cNvPr>
            <p:cNvSpPr/>
            <p:nvPr/>
          </p:nvSpPr>
          <p:spPr>
            <a:xfrm>
              <a:off x="7126954" y="2669789"/>
              <a:ext cx="80903" cy="97290"/>
            </a:xfrm>
            <a:custGeom>
              <a:avLst/>
              <a:gdLst>
                <a:gd name="connsiteX0" fmla="*/ 0 w 80903"/>
                <a:gd name="connsiteY0" fmla="*/ 97291 h 97290"/>
                <a:gd name="connsiteX1" fmla="*/ 0 w 80903"/>
                <a:gd name="connsiteY1" fmla="*/ 172 h 97290"/>
                <a:gd name="connsiteX2" fmla="*/ 25875 w 80903"/>
                <a:gd name="connsiteY2" fmla="*/ 172 h 97290"/>
                <a:gd name="connsiteX3" fmla="*/ 46058 w 80903"/>
                <a:gd name="connsiteY3" fmla="*/ 35708 h 97290"/>
                <a:gd name="connsiteX4" fmla="*/ 61928 w 80903"/>
                <a:gd name="connsiteY4" fmla="*/ 69001 h 97290"/>
                <a:gd name="connsiteX5" fmla="*/ 62445 w 80903"/>
                <a:gd name="connsiteY5" fmla="*/ 69001 h 97290"/>
                <a:gd name="connsiteX6" fmla="*/ 60548 w 80903"/>
                <a:gd name="connsiteY6" fmla="*/ 28463 h 97290"/>
                <a:gd name="connsiteX7" fmla="*/ 60548 w 80903"/>
                <a:gd name="connsiteY7" fmla="*/ 0 h 97290"/>
                <a:gd name="connsiteX8" fmla="*/ 80903 w 80903"/>
                <a:gd name="connsiteY8" fmla="*/ 0 h 97290"/>
                <a:gd name="connsiteX9" fmla="*/ 80903 w 80903"/>
                <a:gd name="connsiteY9" fmla="*/ 97118 h 97290"/>
                <a:gd name="connsiteX10" fmla="*/ 57615 w 80903"/>
                <a:gd name="connsiteY10" fmla="*/ 97118 h 97290"/>
                <a:gd name="connsiteX11" fmla="*/ 36743 w 80903"/>
                <a:gd name="connsiteY11" fmla="*/ 59858 h 97290"/>
                <a:gd name="connsiteX12" fmla="*/ 19838 w 80903"/>
                <a:gd name="connsiteY12" fmla="*/ 25530 h 97290"/>
                <a:gd name="connsiteX13" fmla="*/ 19320 w 80903"/>
                <a:gd name="connsiteY13" fmla="*/ 25703 h 97290"/>
                <a:gd name="connsiteX14" fmla="*/ 20182 w 80903"/>
                <a:gd name="connsiteY14" fmla="*/ 67966 h 97290"/>
                <a:gd name="connsiteX15" fmla="*/ 20182 w 80903"/>
                <a:gd name="connsiteY15" fmla="*/ 97118 h 97290"/>
                <a:gd name="connsiteX16" fmla="*/ 0 w 80903"/>
                <a:gd name="connsiteY16" fmla="*/ 97118 h 97290"/>
                <a:gd name="connsiteX17" fmla="*/ 0 w 80903"/>
                <a:gd name="connsiteY17" fmla="*/ 97291 h 97290"/>
                <a:gd name="connsiteX18" fmla="*/ 0 w 80903"/>
                <a:gd name="connsiteY18" fmla="*/ 97291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0903" h="97290">
                  <a:moveTo>
                    <a:pt x="0" y="97291"/>
                  </a:moveTo>
                  <a:lnTo>
                    <a:pt x="0" y="172"/>
                  </a:lnTo>
                  <a:lnTo>
                    <a:pt x="25875" y="172"/>
                  </a:lnTo>
                  <a:lnTo>
                    <a:pt x="46058" y="35708"/>
                  </a:lnTo>
                  <a:cubicBezTo>
                    <a:pt x="51923" y="45885"/>
                    <a:pt x="57615" y="57960"/>
                    <a:pt x="61928" y="69001"/>
                  </a:cubicBezTo>
                  <a:lnTo>
                    <a:pt x="62445" y="69001"/>
                  </a:lnTo>
                  <a:cubicBezTo>
                    <a:pt x="60893" y="56063"/>
                    <a:pt x="60548" y="43125"/>
                    <a:pt x="60548" y="28463"/>
                  </a:cubicBezTo>
                  <a:lnTo>
                    <a:pt x="60548" y="0"/>
                  </a:lnTo>
                  <a:lnTo>
                    <a:pt x="80903" y="0"/>
                  </a:lnTo>
                  <a:lnTo>
                    <a:pt x="80903" y="97118"/>
                  </a:lnTo>
                  <a:lnTo>
                    <a:pt x="57615" y="97118"/>
                  </a:lnTo>
                  <a:lnTo>
                    <a:pt x="36743" y="59858"/>
                  </a:lnTo>
                  <a:cubicBezTo>
                    <a:pt x="30877" y="49508"/>
                    <a:pt x="24668" y="36915"/>
                    <a:pt x="19838" y="25530"/>
                  </a:cubicBezTo>
                  <a:lnTo>
                    <a:pt x="19320" y="25703"/>
                  </a:lnTo>
                  <a:cubicBezTo>
                    <a:pt x="20010" y="38640"/>
                    <a:pt x="20182" y="52268"/>
                    <a:pt x="20182" y="67966"/>
                  </a:cubicBezTo>
                  <a:lnTo>
                    <a:pt x="20182" y="97118"/>
                  </a:lnTo>
                  <a:lnTo>
                    <a:pt x="0" y="97118"/>
                  </a:lnTo>
                  <a:lnTo>
                    <a:pt x="0" y="97291"/>
                  </a:lnTo>
                  <a:lnTo>
                    <a:pt x="0" y="97291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2" name="Gráfico 1344">
              <a:extLst>
                <a:ext uri="{FF2B5EF4-FFF2-40B4-BE49-F238E27FC236}">
                  <a16:creationId xmlns:a16="http://schemas.microsoft.com/office/drawing/2014/main" id="{3324108C-36A0-4C30-8C4F-BFC43FBA1B87}"/>
                </a:ext>
              </a:extLst>
            </p:cNvPr>
            <p:cNvSpPr/>
            <p:nvPr/>
          </p:nvSpPr>
          <p:spPr>
            <a:xfrm>
              <a:off x="7220105" y="2694457"/>
              <a:ext cx="64170" cy="72450"/>
            </a:xfrm>
            <a:custGeom>
              <a:avLst/>
              <a:gdLst>
                <a:gd name="connsiteX0" fmla="*/ 44160 w 64170"/>
                <a:gd name="connsiteY0" fmla="*/ 71070 h 72450"/>
                <a:gd name="connsiteX1" fmla="*/ 42953 w 64170"/>
                <a:gd name="connsiteY1" fmla="*/ 63998 h 72450"/>
                <a:gd name="connsiteX2" fmla="*/ 42608 w 64170"/>
                <a:gd name="connsiteY2" fmla="*/ 63998 h 72450"/>
                <a:gd name="connsiteX3" fmla="*/ 22598 w 64170"/>
                <a:gd name="connsiteY3" fmla="*/ 72450 h 72450"/>
                <a:gd name="connsiteX4" fmla="*/ 0 w 64170"/>
                <a:gd name="connsiteY4" fmla="*/ 51233 h 72450"/>
                <a:gd name="connsiteX5" fmla="*/ 41228 w 64170"/>
                <a:gd name="connsiteY5" fmla="*/ 24668 h 72450"/>
                <a:gd name="connsiteX6" fmla="*/ 41228 w 64170"/>
                <a:gd name="connsiteY6" fmla="*/ 23633 h 72450"/>
                <a:gd name="connsiteX7" fmla="*/ 28635 w 64170"/>
                <a:gd name="connsiteY7" fmla="*/ 14662 h 72450"/>
                <a:gd name="connsiteX8" fmla="*/ 9315 w 64170"/>
                <a:gd name="connsiteY8" fmla="*/ 20010 h 72450"/>
                <a:gd name="connsiteX9" fmla="*/ 5175 w 64170"/>
                <a:gd name="connsiteY9" fmla="*/ 6210 h 72450"/>
                <a:gd name="connsiteX10" fmla="*/ 32430 w 64170"/>
                <a:gd name="connsiteY10" fmla="*/ 0 h 72450"/>
                <a:gd name="connsiteX11" fmla="*/ 63136 w 64170"/>
                <a:gd name="connsiteY11" fmla="*/ 30015 h 72450"/>
                <a:gd name="connsiteX12" fmla="*/ 63136 w 64170"/>
                <a:gd name="connsiteY12" fmla="*/ 54165 h 72450"/>
                <a:gd name="connsiteX13" fmla="*/ 64170 w 64170"/>
                <a:gd name="connsiteY13" fmla="*/ 70898 h 72450"/>
                <a:gd name="connsiteX14" fmla="*/ 44160 w 64170"/>
                <a:gd name="connsiteY14" fmla="*/ 70898 h 72450"/>
                <a:gd name="connsiteX15" fmla="*/ 44160 w 64170"/>
                <a:gd name="connsiteY15" fmla="*/ 71070 h 72450"/>
                <a:gd name="connsiteX16" fmla="*/ 44160 w 64170"/>
                <a:gd name="connsiteY16" fmla="*/ 71070 h 72450"/>
                <a:gd name="connsiteX17" fmla="*/ 41573 w 64170"/>
                <a:gd name="connsiteY17" fmla="*/ 38123 h 72450"/>
                <a:gd name="connsiteX18" fmla="*/ 21218 w 64170"/>
                <a:gd name="connsiteY18" fmla="*/ 48990 h 72450"/>
                <a:gd name="connsiteX19" fmla="*/ 29843 w 64170"/>
                <a:gd name="connsiteY19" fmla="*/ 57270 h 72450"/>
                <a:gd name="connsiteX20" fmla="*/ 41228 w 64170"/>
                <a:gd name="connsiteY20" fmla="*/ 49335 h 72450"/>
                <a:gd name="connsiteX21" fmla="*/ 41573 w 64170"/>
                <a:gd name="connsiteY21" fmla="*/ 45713 h 72450"/>
                <a:gd name="connsiteX22" fmla="*/ 41573 w 64170"/>
                <a:gd name="connsiteY22" fmla="*/ 38123 h 72450"/>
                <a:gd name="connsiteX23" fmla="*/ 41573 w 64170"/>
                <a:gd name="connsiteY23" fmla="*/ 38123 h 72450"/>
                <a:gd name="connsiteX24" fmla="*/ 41573 w 64170"/>
                <a:gd name="connsiteY24" fmla="*/ 3812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450">
                  <a:moveTo>
                    <a:pt x="44160" y="71070"/>
                  </a:moveTo>
                  <a:lnTo>
                    <a:pt x="42953" y="63998"/>
                  </a:lnTo>
                  <a:lnTo>
                    <a:pt x="42608" y="63998"/>
                  </a:lnTo>
                  <a:cubicBezTo>
                    <a:pt x="38123" y="69518"/>
                    <a:pt x="30878" y="72450"/>
                    <a:pt x="22598" y="72450"/>
                  </a:cubicBezTo>
                  <a:cubicBezTo>
                    <a:pt x="8452" y="72450"/>
                    <a:pt x="0" y="62273"/>
                    <a:pt x="0" y="51233"/>
                  </a:cubicBezTo>
                  <a:cubicBezTo>
                    <a:pt x="0" y="33120"/>
                    <a:pt x="16387" y="24495"/>
                    <a:pt x="41228" y="24668"/>
                  </a:cubicBezTo>
                  <a:lnTo>
                    <a:pt x="41228" y="23633"/>
                  </a:lnTo>
                  <a:cubicBezTo>
                    <a:pt x="41228" y="20010"/>
                    <a:pt x="39330" y="14662"/>
                    <a:pt x="28635" y="14662"/>
                  </a:cubicBezTo>
                  <a:cubicBezTo>
                    <a:pt x="21563" y="14662"/>
                    <a:pt x="13800" y="17077"/>
                    <a:pt x="9315" y="20010"/>
                  </a:cubicBezTo>
                  <a:lnTo>
                    <a:pt x="5175" y="6210"/>
                  </a:lnTo>
                  <a:cubicBezTo>
                    <a:pt x="10178" y="3450"/>
                    <a:pt x="19493" y="0"/>
                    <a:pt x="32430" y="0"/>
                  </a:cubicBezTo>
                  <a:cubicBezTo>
                    <a:pt x="55890" y="0"/>
                    <a:pt x="63136" y="13627"/>
                    <a:pt x="63136" y="30015"/>
                  </a:cubicBezTo>
                  <a:lnTo>
                    <a:pt x="63136" y="54165"/>
                  </a:lnTo>
                  <a:cubicBezTo>
                    <a:pt x="63136" y="60720"/>
                    <a:pt x="63308" y="67103"/>
                    <a:pt x="64170" y="70898"/>
                  </a:cubicBezTo>
                  <a:lnTo>
                    <a:pt x="44160" y="70898"/>
                  </a:lnTo>
                  <a:lnTo>
                    <a:pt x="44160" y="71070"/>
                  </a:lnTo>
                  <a:lnTo>
                    <a:pt x="44160" y="71070"/>
                  </a:lnTo>
                  <a:close/>
                  <a:moveTo>
                    <a:pt x="41573" y="38123"/>
                  </a:moveTo>
                  <a:cubicBezTo>
                    <a:pt x="30188" y="37950"/>
                    <a:pt x="21218" y="40710"/>
                    <a:pt x="21218" y="48990"/>
                  </a:cubicBezTo>
                  <a:cubicBezTo>
                    <a:pt x="21218" y="54510"/>
                    <a:pt x="24840" y="57270"/>
                    <a:pt x="29843" y="57270"/>
                  </a:cubicBezTo>
                  <a:cubicBezTo>
                    <a:pt x="35190" y="57270"/>
                    <a:pt x="39675" y="53648"/>
                    <a:pt x="41228" y="49335"/>
                  </a:cubicBezTo>
                  <a:cubicBezTo>
                    <a:pt x="41400" y="48300"/>
                    <a:pt x="41573" y="46920"/>
                    <a:pt x="41573" y="45713"/>
                  </a:cubicBezTo>
                  <a:lnTo>
                    <a:pt x="41573" y="38123"/>
                  </a:lnTo>
                  <a:lnTo>
                    <a:pt x="41573" y="38123"/>
                  </a:lnTo>
                  <a:lnTo>
                    <a:pt x="41573" y="381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3" name="Gráfico 1344">
              <a:extLst>
                <a:ext uri="{FF2B5EF4-FFF2-40B4-BE49-F238E27FC236}">
                  <a16:creationId xmlns:a16="http://schemas.microsoft.com/office/drawing/2014/main" id="{0CFCA2A8-DB29-4631-8FBA-41CA740D6C73}"/>
                </a:ext>
              </a:extLst>
            </p:cNvPr>
            <p:cNvSpPr/>
            <p:nvPr/>
          </p:nvSpPr>
          <p:spPr>
            <a:xfrm>
              <a:off x="7296695" y="2694630"/>
              <a:ext cx="55890" cy="72450"/>
            </a:xfrm>
            <a:custGeom>
              <a:avLst/>
              <a:gdLst>
                <a:gd name="connsiteX0" fmla="*/ 55890 w 55890"/>
                <a:gd name="connsiteY0" fmla="*/ 69346 h 72450"/>
                <a:gd name="connsiteX1" fmla="*/ 36570 w 55890"/>
                <a:gd name="connsiteY1" fmla="*/ 72450 h 72450"/>
                <a:gd name="connsiteX2" fmla="*/ 0 w 55890"/>
                <a:gd name="connsiteY2" fmla="*/ 36915 h 72450"/>
                <a:gd name="connsiteX3" fmla="*/ 39675 w 55890"/>
                <a:gd name="connsiteY3" fmla="*/ 0 h 72450"/>
                <a:gd name="connsiteX4" fmla="*/ 55890 w 55890"/>
                <a:gd name="connsiteY4" fmla="*/ 2760 h 72450"/>
                <a:gd name="connsiteX5" fmla="*/ 52441 w 55890"/>
                <a:gd name="connsiteY5" fmla="*/ 18630 h 72450"/>
                <a:gd name="connsiteX6" fmla="*/ 40365 w 55890"/>
                <a:gd name="connsiteY6" fmla="*/ 16560 h 72450"/>
                <a:gd name="connsiteX7" fmla="*/ 21907 w 55890"/>
                <a:gd name="connsiteY7" fmla="*/ 35880 h 72450"/>
                <a:gd name="connsiteX8" fmla="*/ 40710 w 55890"/>
                <a:gd name="connsiteY8" fmla="*/ 55373 h 72450"/>
                <a:gd name="connsiteX9" fmla="*/ 52958 w 55890"/>
                <a:gd name="connsiteY9" fmla="*/ 53303 h 72450"/>
                <a:gd name="connsiteX10" fmla="*/ 55890 w 55890"/>
                <a:gd name="connsiteY10" fmla="*/ 69346 h 72450"/>
                <a:gd name="connsiteX11" fmla="*/ 55890 w 55890"/>
                <a:gd name="connsiteY11" fmla="*/ 69346 h 72450"/>
                <a:gd name="connsiteX12" fmla="*/ 55890 w 55890"/>
                <a:gd name="connsiteY12" fmla="*/ 69346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890" h="72450">
                  <a:moveTo>
                    <a:pt x="55890" y="69346"/>
                  </a:moveTo>
                  <a:cubicBezTo>
                    <a:pt x="52095" y="71070"/>
                    <a:pt x="44850" y="72450"/>
                    <a:pt x="36570" y="72450"/>
                  </a:cubicBezTo>
                  <a:cubicBezTo>
                    <a:pt x="14317" y="72450"/>
                    <a:pt x="0" y="58823"/>
                    <a:pt x="0" y="36915"/>
                  </a:cubicBezTo>
                  <a:cubicBezTo>
                    <a:pt x="0" y="16733"/>
                    <a:pt x="13973" y="0"/>
                    <a:pt x="39675" y="0"/>
                  </a:cubicBezTo>
                  <a:cubicBezTo>
                    <a:pt x="45368" y="0"/>
                    <a:pt x="51578" y="1035"/>
                    <a:pt x="55890" y="2760"/>
                  </a:cubicBezTo>
                  <a:lnTo>
                    <a:pt x="52441" y="18630"/>
                  </a:lnTo>
                  <a:cubicBezTo>
                    <a:pt x="49853" y="17595"/>
                    <a:pt x="46058" y="16560"/>
                    <a:pt x="40365" y="16560"/>
                  </a:cubicBezTo>
                  <a:cubicBezTo>
                    <a:pt x="29153" y="16560"/>
                    <a:pt x="21735" y="24668"/>
                    <a:pt x="21907" y="35880"/>
                  </a:cubicBezTo>
                  <a:cubicBezTo>
                    <a:pt x="21907" y="48645"/>
                    <a:pt x="30360" y="55373"/>
                    <a:pt x="40710" y="55373"/>
                  </a:cubicBezTo>
                  <a:cubicBezTo>
                    <a:pt x="45713" y="55373"/>
                    <a:pt x="49853" y="54510"/>
                    <a:pt x="52958" y="53303"/>
                  </a:cubicBezTo>
                  <a:lnTo>
                    <a:pt x="55890" y="69346"/>
                  </a:lnTo>
                  <a:lnTo>
                    <a:pt x="55890" y="69346"/>
                  </a:lnTo>
                  <a:lnTo>
                    <a:pt x="55890" y="6934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4" name="Gráfico 1344">
              <a:extLst>
                <a:ext uri="{FF2B5EF4-FFF2-40B4-BE49-F238E27FC236}">
                  <a16:creationId xmlns:a16="http://schemas.microsoft.com/office/drawing/2014/main" id="{0B4CEECD-A6A7-40A6-B15A-CBE24E83A2BF}"/>
                </a:ext>
              </a:extLst>
            </p:cNvPr>
            <p:cNvSpPr/>
            <p:nvPr/>
          </p:nvSpPr>
          <p:spPr>
            <a:xfrm>
              <a:off x="7365001" y="2665645"/>
              <a:ext cx="22774" cy="99365"/>
            </a:xfrm>
            <a:custGeom>
              <a:avLst/>
              <a:gdLst>
                <a:gd name="connsiteX0" fmla="*/ 22775 w 22774"/>
                <a:gd name="connsiteY0" fmla="*/ 10872 h 99365"/>
                <a:gd name="connsiteX1" fmla="*/ 11217 w 22774"/>
                <a:gd name="connsiteY1" fmla="*/ 21740 h 99365"/>
                <a:gd name="connsiteX2" fmla="*/ 5 w 22774"/>
                <a:gd name="connsiteY2" fmla="*/ 10872 h 99365"/>
                <a:gd name="connsiteX3" fmla="*/ 11217 w 22774"/>
                <a:gd name="connsiteY3" fmla="*/ 5 h 99365"/>
                <a:gd name="connsiteX4" fmla="*/ 22775 w 22774"/>
                <a:gd name="connsiteY4" fmla="*/ 10872 h 99365"/>
                <a:gd name="connsiteX5" fmla="*/ 695 w 22774"/>
                <a:gd name="connsiteY5" fmla="*/ 30020 h 99365"/>
                <a:gd name="connsiteX6" fmla="*/ 22257 w 22774"/>
                <a:gd name="connsiteY6" fmla="*/ 30020 h 99365"/>
                <a:gd name="connsiteX7" fmla="*/ 22257 w 22774"/>
                <a:gd name="connsiteY7" fmla="*/ 99366 h 99365"/>
                <a:gd name="connsiteX8" fmla="*/ 695 w 22774"/>
                <a:gd name="connsiteY8" fmla="*/ 99366 h 99365"/>
                <a:gd name="connsiteX9" fmla="*/ 695 w 22774"/>
                <a:gd name="connsiteY9" fmla="*/ 30020 h 99365"/>
                <a:gd name="connsiteX10" fmla="*/ 695 w 22774"/>
                <a:gd name="connsiteY10" fmla="*/ 30020 h 99365"/>
                <a:gd name="connsiteX11" fmla="*/ 695 w 22774"/>
                <a:gd name="connsiteY11" fmla="*/ 30020 h 9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74" h="99365">
                  <a:moveTo>
                    <a:pt x="22775" y="10872"/>
                  </a:moveTo>
                  <a:cubicBezTo>
                    <a:pt x="22775" y="16910"/>
                    <a:pt x="18290" y="21740"/>
                    <a:pt x="11217" y="21740"/>
                  </a:cubicBezTo>
                  <a:cubicBezTo>
                    <a:pt x="4490" y="21740"/>
                    <a:pt x="5" y="16910"/>
                    <a:pt x="5" y="10872"/>
                  </a:cubicBezTo>
                  <a:cubicBezTo>
                    <a:pt x="-168" y="4662"/>
                    <a:pt x="4490" y="5"/>
                    <a:pt x="11217" y="5"/>
                  </a:cubicBezTo>
                  <a:cubicBezTo>
                    <a:pt x="18290" y="-168"/>
                    <a:pt x="22775" y="4490"/>
                    <a:pt x="22775" y="10872"/>
                  </a:cubicBezTo>
                  <a:moveTo>
                    <a:pt x="695" y="30020"/>
                  </a:moveTo>
                  <a:lnTo>
                    <a:pt x="22257" y="30020"/>
                  </a:lnTo>
                  <a:lnTo>
                    <a:pt x="22257" y="99366"/>
                  </a:lnTo>
                  <a:lnTo>
                    <a:pt x="695" y="99366"/>
                  </a:lnTo>
                  <a:lnTo>
                    <a:pt x="695" y="30020"/>
                  </a:lnTo>
                  <a:lnTo>
                    <a:pt x="695" y="30020"/>
                  </a:lnTo>
                  <a:lnTo>
                    <a:pt x="695" y="3002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5" name="Gráfico 1344">
              <a:extLst>
                <a:ext uri="{FF2B5EF4-FFF2-40B4-BE49-F238E27FC236}">
                  <a16:creationId xmlns:a16="http://schemas.microsoft.com/office/drawing/2014/main" id="{E2CB5799-05CA-41F5-81BC-2C19EC737F07}"/>
                </a:ext>
              </a:extLst>
            </p:cNvPr>
            <p:cNvSpPr/>
            <p:nvPr/>
          </p:nvSpPr>
          <p:spPr>
            <a:xfrm>
              <a:off x="7400196" y="2694630"/>
              <a:ext cx="72450" cy="72450"/>
            </a:xfrm>
            <a:custGeom>
              <a:avLst/>
              <a:gdLst>
                <a:gd name="connsiteX0" fmla="*/ 72450 w 72450"/>
                <a:gd name="connsiteY0" fmla="*/ 35535 h 72450"/>
                <a:gd name="connsiteX1" fmla="*/ 35880 w 72450"/>
                <a:gd name="connsiteY1" fmla="*/ 72450 h 72450"/>
                <a:gd name="connsiteX2" fmla="*/ 0 w 72450"/>
                <a:gd name="connsiteY2" fmla="*/ 36743 h 72450"/>
                <a:gd name="connsiteX3" fmla="*/ 36915 w 72450"/>
                <a:gd name="connsiteY3" fmla="*/ 0 h 72450"/>
                <a:gd name="connsiteX4" fmla="*/ 72450 w 72450"/>
                <a:gd name="connsiteY4" fmla="*/ 35535 h 72450"/>
                <a:gd name="connsiteX5" fmla="*/ 22253 w 72450"/>
                <a:gd name="connsiteY5" fmla="*/ 36053 h 72450"/>
                <a:gd name="connsiteX6" fmla="*/ 36570 w 72450"/>
                <a:gd name="connsiteY6" fmla="*/ 56925 h 72450"/>
                <a:gd name="connsiteX7" fmla="*/ 50370 w 72450"/>
                <a:gd name="connsiteY7" fmla="*/ 36053 h 72450"/>
                <a:gd name="connsiteX8" fmla="*/ 36570 w 72450"/>
                <a:gd name="connsiteY8" fmla="*/ 15180 h 72450"/>
                <a:gd name="connsiteX9" fmla="*/ 22253 w 72450"/>
                <a:gd name="connsiteY9" fmla="*/ 3605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72450">
                  <a:moveTo>
                    <a:pt x="72450" y="35535"/>
                  </a:moveTo>
                  <a:cubicBezTo>
                    <a:pt x="72450" y="61065"/>
                    <a:pt x="54338" y="72450"/>
                    <a:pt x="35880" y="72450"/>
                  </a:cubicBezTo>
                  <a:cubicBezTo>
                    <a:pt x="15525" y="72450"/>
                    <a:pt x="0" y="58995"/>
                    <a:pt x="0" y="36743"/>
                  </a:cubicBezTo>
                  <a:cubicBezTo>
                    <a:pt x="0" y="14490"/>
                    <a:pt x="14835" y="0"/>
                    <a:pt x="36915" y="0"/>
                  </a:cubicBezTo>
                  <a:cubicBezTo>
                    <a:pt x="58133" y="0"/>
                    <a:pt x="72450" y="14662"/>
                    <a:pt x="72450" y="35535"/>
                  </a:cubicBezTo>
                  <a:moveTo>
                    <a:pt x="22253" y="36053"/>
                  </a:moveTo>
                  <a:cubicBezTo>
                    <a:pt x="22253" y="47955"/>
                    <a:pt x="27083" y="56925"/>
                    <a:pt x="36570" y="56925"/>
                  </a:cubicBezTo>
                  <a:cubicBezTo>
                    <a:pt x="44850" y="56925"/>
                    <a:pt x="50370" y="48645"/>
                    <a:pt x="50370" y="36053"/>
                  </a:cubicBezTo>
                  <a:cubicBezTo>
                    <a:pt x="50370" y="25703"/>
                    <a:pt x="46403" y="15180"/>
                    <a:pt x="36570" y="15180"/>
                  </a:cubicBezTo>
                  <a:cubicBezTo>
                    <a:pt x="26047" y="15353"/>
                    <a:pt x="22253" y="25875"/>
                    <a:pt x="22253" y="3605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6" name="Gráfico 1344">
              <a:extLst>
                <a:ext uri="{FF2B5EF4-FFF2-40B4-BE49-F238E27FC236}">
                  <a16:creationId xmlns:a16="http://schemas.microsoft.com/office/drawing/2014/main" id="{A86866A8-5E7D-4BDE-851A-22A95656CF76}"/>
                </a:ext>
              </a:extLst>
            </p:cNvPr>
            <p:cNvSpPr/>
            <p:nvPr/>
          </p:nvSpPr>
          <p:spPr>
            <a:xfrm>
              <a:off x="7485066" y="2694630"/>
              <a:ext cx="66240" cy="70380"/>
            </a:xfrm>
            <a:custGeom>
              <a:avLst/>
              <a:gdLst>
                <a:gd name="connsiteX0" fmla="*/ 690 w 66240"/>
                <a:gd name="connsiteY0" fmla="*/ 23460 h 70380"/>
                <a:gd name="connsiteX1" fmla="*/ 0 w 66240"/>
                <a:gd name="connsiteY1" fmla="*/ 1552 h 70380"/>
                <a:gd name="connsiteX2" fmla="*/ 18630 w 66240"/>
                <a:gd name="connsiteY2" fmla="*/ 1552 h 70380"/>
                <a:gd name="connsiteX3" fmla="*/ 19665 w 66240"/>
                <a:gd name="connsiteY3" fmla="*/ 11040 h 70380"/>
                <a:gd name="connsiteX4" fmla="*/ 20010 w 66240"/>
                <a:gd name="connsiteY4" fmla="*/ 11040 h 70380"/>
                <a:gd name="connsiteX5" fmla="*/ 41401 w 66240"/>
                <a:gd name="connsiteY5" fmla="*/ 0 h 70380"/>
                <a:gd name="connsiteX6" fmla="*/ 66240 w 66240"/>
                <a:gd name="connsiteY6" fmla="*/ 29670 h 70380"/>
                <a:gd name="connsiteX7" fmla="*/ 66240 w 66240"/>
                <a:gd name="connsiteY7" fmla="*/ 70381 h 70380"/>
                <a:gd name="connsiteX8" fmla="*/ 44678 w 66240"/>
                <a:gd name="connsiteY8" fmla="*/ 70381 h 70380"/>
                <a:gd name="connsiteX9" fmla="*/ 44678 w 66240"/>
                <a:gd name="connsiteY9" fmla="*/ 32085 h 70380"/>
                <a:gd name="connsiteX10" fmla="*/ 33811 w 66240"/>
                <a:gd name="connsiteY10" fmla="*/ 17078 h 70380"/>
                <a:gd name="connsiteX11" fmla="*/ 22943 w 66240"/>
                <a:gd name="connsiteY11" fmla="*/ 25185 h 70380"/>
                <a:gd name="connsiteX12" fmla="*/ 22080 w 66240"/>
                <a:gd name="connsiteY12" fmla="*/ 30533 h 70380"/>
                <a:gd name="connsiteX13" fmla="*/ 22080 w 66240"/>
                <a:gd name="connsiteY13" fmla="*/ 70208 h 70380"/>
                <a:gd name="connsiteX14" fmla="*/ 690 w 66240"/>
                <a:gd name="connsiteY14" fmla="*/ 70208 h 70380"/>
                <a:gd name="connsiteX15" fmla="*/ 690 w 66240"/>
                <a:gd name="connsiteY15" fmla="*/ 23460 h 70380"/>
                <a:gd name="connsiteX16" fmla="*/ 690 w 66240"/>
                <a:gd name="connsiteY16" fmla="*/ 23460 h 70380"/>
                <a:gd name="connsiteX17" fmla="*/ 690 w 66240"/>
                <a:gd name="connsiteY17" fmla="*/ 23460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0380">
                  <a:moveTo>
                    <a:pt x="690" y="23460"/>
                  </a:moveTo>
                  <a:cubicBezTo>
                    <a:pt x="690" y="14835"/>
                    <a:pt x="345" y="7590"/>
                    <a:pt x="0" y="1552"/>
                  </a:cubicBezTo>
                  <a:lnTo>
                    <a:pt x="18630" y="1552"/>
                  </a:lnTo>
                  <a:lnTo>
                    <a:pt x="19665" y="11040"/>
                  </a:lnTo>
                  <a:lnTo>
                    <a:pt x="20010" y="11040"/>
                  </a:lnTo>
                  <a:cubicBezTo>
                    <a:pt x="22770" y="6555"/>
                    <a:pt x="30016" y="0"/>
                    <a:pt x="41401" y="0"/>
                  </a:cubicBezTo>
                  <a:cubicBezTo>
                    <a:pt x="55545" y="0"/>
                    <a:pt x="66240" y="9315"/>
                    <a:pt x="66240" y="29670"/>
                  </a:cubicBezTo>
                  <a:lnTo>
                    <a:pt x="66240" y="70381"/>
                  </a:lnTo>
                  <a:lnTo>
                    <a:pt x="44678" y="70381"/>
                  </a:lnTo>
                  <a:lnTo>
                    <a:pt x="44678" y="32085"/>
                  </a:lnTo>
                  <a:cubicBezTo>
                    <a:pt x="44678" y="23288"/>
                    <a:pt x="41573" y="17078"/>
                    <a:pt x="33811" y="17078"/>
                  </a:cubicBezTo>
                  <a:cubicBezTo>
                    <a:pt x="27946" y="17078"/>
                    <a:pt x="24323" y="21045"/>
                    <a:pt x="22943" y="25185"/>
                  </a:cubicBezTo>
                  <a:cubicBezTo>
                    <a:pt x="22253" y="26393"/>
                    <a:pt x="22080" y="28635"/>
                    <a:pt x="22080" y="30533"/>
                  </a:cubicBezTo>
                  <a:lnTo>
                    <a:pt x="22080" y="70208"/>
                  </a:lnTo>
                  <a:lnTo>
                    <a:pt x="690" y="70208"/>
                  </a:lnTo>
                  <a:lnTo>
                    <a:pt x="690" y="23460"/>
                  </a:lnTo>
                  <a:lnTo>
                    <a:pt x="690" y="23460"/>
                  </a:lnTo>
                  <a:lnTo>
                    <a:pt x="690" y="234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7" name="Gráfico 1344">
              <a:extLst>
                <a:ext uri="{FF2B5EF4-FFF2-40B4-BE49-F238E27FC236}">
                  <a16:creationId xmlns:a16="http://schemas.microsoft.com/office/drawing/2014/main" id="{EFCD48C5-D117-4326-89AC-32314A3ABCE8}"/>
                </a:ext>
              </a:extLst>
            </p:cNvPr>
            <p:cNvSpPr/>
            <p:nvPr/>
          </p:nvSpPr>
          <p:spPr>
            <a:xfrm>
              <a:off x="7565797" y="2694457"/>
              <a:ext cx="61927" cy="72450"/>
            </a:xfrm>
            <a:custGeom>
              <a:avLst/>
              <a:gdLst>
                <a:gd name="connsiteX0" fmla="*/ 42608 w 61927"/>
                <a:gd name="connsiteY0" fmla="*/ 71070 h 72450"/>
                <a:gd name="connsiteX1" fmla="*/ 41400 w 61927"/>
                <a:gd name="connsiteY1" fmla="*/ 63998 h 72450"/>
                <a:gd name="connsiteX2" fmla="*/ 41055 w 61927"/>
                <a:gd name="connsiteY2" fmla="*/ 63998 h 72450"/>
                <a:gd name="connsiteX3" fmla="*/ 21735 w 61927"/>
                <a:gd name="connsiteY3" fmla="*/ 72450 h 72450"/>
                <a:gd name="connsiteX4" fmla="*/ 0 w 61927"/>
                <a:gd name="connsiteY4" fmla="*/ 51233 h 72450"/>
                <a:gd name="connsiteX5" fmla="*/ 39675 w 61927"/>
                <a:gd name="connsiteY5" fmla="*/ 24668 h 72450"/>
                <a:gd name="connsiteX6" fmla="*/ 39675 w 61927"/>
                <a:gd name="connsiteY6" fmla="*/ 23633 h 72450"/>
                <a:gd name="connsiteX7" fmla="*/ 27428 w 61927"/>
                <a:gd name="connsiteY7" fmla="*/ 14662 h 72450"/>
                <a:gd name="connsiteX8" fmla="*/ 8797 w 61927"/>
                <a:gd name="connsiteY8" fmla="*/ 20010 h 72450"/>
                <a:gd name="connsiteX9" fmla="*/ 4830 w 61927"/>
                <a:gd name="connsiteY9" fmla="*/ 6210 h 72450"/>
                <a:gd name="connsiteX10" fmla="*/ 31050 w 61927"/>
                <a:gd name="connsiteY10" fmla="*/ 0 h 72450"/>
                <a:gd name="connsiteX11" fmla="*/ 60893 w 61927"/>
                <a:gd name="connsiteY11" fmla="*/ 30015 h 72450"/>
                <a:gd name="connsiteX12" fmla="*/ 60893 w 61927"/>
                <a:gd name="connsiteY12" fmla="*/ 54165 h 72450"/>
                <a:gd name="connsiteX13" fmla="*/ 61928 w 61927"/>
                <a:gd name="connsiteY13" fmla="*/ 70898 h 72450"/>
                <a:gd name="connsiteX14" fmla="*/ 42608 w 61927"/>
                <a:gd name="connsiteY14" fmla="*/ 70898 h 72450"/>
                <a:gd name="connsiteX15" fmla="*/ 42608 w 61927"/>
                <a:gd name="connsiteY15" fmla="*/ 71070 h 72450"/>
                <a:gd name="connsiteX16" fmla="*/ 42608 w 61927"/>
                <a:gd name="connsiteY16" fmla="*/ 71070 h 72450"/>
                <a:gd name="connsiteX17" fmla="*/ 40193 w 61927"/>
                <a:gd name="connsiteY17" fmla="*/ 38123 h 72450"/>
                <a:gd name="connsiteX18" fmla="*/ 20528 w 61927"/>
                <a:gd name="connsiteY18" fmla="*/ 48990 h 72450"/>
                <a:gd name="connsiteX19" fmla="*/ 28807 w 61927"/>
                <a:gd name="connsiteY19" fmla="*/ 57270 h 72450"/>
                <a:gd name="connsiteX20" fmla="*/ 39848 w 61927"/>
                <a:gd name="connsiteY20" fmla="*/ 49335 h 72450"/>
                <a:gd name="connsiteX21" fmla="*/ 40193 w 61927"/>
                <a:gd name="connsiteY21" fmla="*/ 45713 h 72450"/>
                <a:gd name="connsiteX22" fmla="*/ 40193 w 61927"/>
                <a:gd name="connsiteY22" fmla="*/ 38123 h 72450"/>
                <a:gd name="connsiteX23" fmla="*/ 40193 w 61927"/>
                <a:gd name="connsiteY23" fmla="*/ 38123 h 72450"/>
                <a:gd name="connsiteX24" fmla="*/ 40193 w 61927"/>
                <a:gd name="connsiteY24" fmla="*/ 38123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1927" h="72450">
                  <a:moveTo>
                    <a:pt x="42608" y="71070"/>
                  </a:moveTo>
                  <a:lnTo>
                    <a:pt x="41400" y="63998"/>
                  </a:lnTo>
                  <a:lnTo>
                    <a:pt x="41055" y="63998"/>
                  </a:lnTo>
                  <a:cubicBezTo>
                    <a:pt x="36742" y="69518"/>
                    <a:pt x="29670" y="72450"/>
                    <a:pt x="21735" y="72450"/>
                  </a:cubicBezTo>
                  <a:cubicBezTo>
                    <a:pt x="8108" y="72450"/>
                    <a:pt x="0" y="62273"/>
                    <a:pt x="0" y="51233"/>
                  </a:cubicBezTo>
                  <a:cubicBezTo>
                    <a:pt x="0" y="33120"/>
                    <a:pt x="15697" y="24495"/>
                    <a:pt x="39675" y="24668"/>
                  </a:cubicBezTo>
                  <a:lnTo>
                    <a:pt x="39675" y="23633"/>
                  </a:lnTo>
                  <a:cubicBezTo>
                    <a:pt x="39675" y="20010"/>
                    <a:pt x="37778" y="14662"/>
                    <a:pt x="27428" y="14662"/>
                  </a:cubicBezTo>
                  <a:cubicBezTo>
                    <a:pt x="20528" y="14662"/>
                    <a:pt x="13110" y="17077"/>
                    <a:pt x="8797" y="20010"/>
                  </a:cubicBezTo>
                  <a:lnTo>
                    <a:pt x="4830" y="6210"/>
                  </a:lnTo>
                  <a:cubicBezTo>
                    <a:pt x="9660" y="3450"/>
                    <a:pt x="18630" y="0"/>
                    <a:pt x="31050" y="0"/>
                  </a:cubicBezTo>
                  <a:cubicBezTo>
                    <a:pt x="53648" y="0"/>
                    <a:pt x="60893" y="13627"/>
                    <a:pt x="60893" y="30015"/>
                  </a:cubicBezTo>
                  <a:lnTo>
                    <a:pt x="60893" y="54165"/>
                  </a:lnTo>
                  <a:cubicBezTo>
                    <a:pt x="60893" y="60720"/>
                    <a:pt x="61065" y="67103"/>
                    <a:pt x="61928" y="70898"/>
                  </a:cubicBezTo>
                  <a:lnTo>
                    <a:pt x="42608" y="70898"/>
                  </a:lnTo>
                  <a:lnTo>
                    <a:pt x="42608" y="71070"/>
                  </a:lnTo>
                  <a:lnTo>
                    <a:pt x="42608" y="71070"/>
                  </a:lnTo>
                  <a:close/>
                  <a:moveTo>
                    <a:pt x="40193" y="38123"/>
                  </a:moveTo>
                  <a:cubicBezTo>
                    <a:pt x="28980" y="37950"/>
                    <a:pt x="20528" y="40710"/>
                    <a:pt x="20528" y="48990"/>
                  </a:cubicBezTo>
                  <a:cubicBezTo>
                    <a:pt x="20528" y="54510"/>
                    <a:pt x="23977" y="57270"/>
                    <a:pt x="28807" y="57270"/>
                  </a:cubicBezTo>
                  <a:cubicBezTo>
                    <a:pt x="33983" y="57270"/>
                    <a:pt x="38295" y="53648"/>
                    <a:pt x="39848" y="49335"/>
                  </a:cubicBezTo>
                  <a:cubicBezTo>
                    <a:pt x="40020" y="48300"/>
                    <a:pt x="40193" y="46920"/>
                    <a:pt x="40193" y="45713"/>
                  </a:cubicBezTo>
                  <a:lnTo>
                    <a:pt x="40193" y="38123"/>
                  </a:lnTo>
                  <a:lnTo>
                    <a:pt x="40193" y="38123"/>
                  </a:lnTo>
                  <a:lnTo>
                    <a:pt x="40193" y="3812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88" name="Gráfico 1344">
              <a:extLst>
                <a:ext uri="{FF2B5EF4-FFF2-40B4-BE49-F238E27FC236}">
                  <a16:creationId xmlns:a16="http://schemas.microsoft.com/office/drawing/2014/main" id="{005FE9F7-7502-408D-8B7F-7A9D09B395D4}"/>
                </a:ext>
              </a:extLst>
            </p:cNvPr>
            <p:cNvSpPr/>
            <p:nvPr/>
          </p:nvSpPr>
          <p:spPr>
            <a:xfrm>
              <a:off x="7644458" y="2665649"/>
              <a:ext cx="20699" cy="101430"/>
            </a:xfrm>
            <a:custGeom>
              <a:avLst/>
              <a:gdLst>
                <a:gd name="connsiteX0" fmla="*/ 0 w 20699"/>
                <a:gd name="connsiteY0" fmla="*/ 0 h 101430"/>
                <a:gd name="connsiteX1" fmla="*/ 20700 w 20699"/>
                <a:gd name="connsiteY1" fmla="*/ 0 h 101430"/>
                <a:gd name="connsiteX2" fmla="*/ 20700 w 20699"/>
                <a:gd name="connsiteY2" fmla="*/ 101431 h 101430"/>
                <a:gd name="connsiteX3" fmla="*/ 0 w 20699"/>
                <a:gd name="connsiteY3" fmla="*/ 101431 h 101430"/>
                <a:gd name="connsiteX4" fmla="*/ 0 w 20699"/>
                <a:gd name="connsiteY4" fmla="*/ 0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9" h="101430">
                  <a:moveTo>
                    <a:pt x="0" y="0"/>
                  </a:moveTo>
                  <a:lnTo>
                    <a:pt x="20700" y="0"/>
                  </a:lnTo>
                  <a:lnTo>
                    <a:pt x="20700" y="101431"/>
                  </a:lnTo>
                  <a:lnTo>
                    <a:pt x="0" y="1014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1389" name="Agrupar 1388">
            <a:extLst>
              <a:ext uri="{FF2B5EF4-FFF2-40B4-BE49-F238E27FC236}">
                <a16:creationId xmlns:a16="http://schemas.microsoft.com/office/drawing/2014/main" id="{61E01975-DA02-4E9A-B073-02E0639B3B6D}"/>
              </a:ext>
            </a:extLst>
          </p:cNvPr>
          <p:cNvGrpSpPr/>
          <p:nvPr/>
        </p:nvGrpSpPr>
        <p:grpSpPr>
          <a:xfrm>
            <a:off x="8818125" y="4144675"/>
            <a:ext cx="681034" cy="128513"/>
            <a:chOff x="8650485" y="4176760"/>
            <a:chExt cx="681034" cy="128513"/>
          </a:xfrm>
        </p:grpSpPr>
        <p:sp>
          <p:nvSpPr>
            <p:cNvPr id="1390" name="Gráfico 1344">
              <a:extLst>
                <a:ext uri="{FF2B5EF4-FFF2-40B4-BE49-F238E27FC236}">
                  <a16:creationId xmlns:a16="http://schemas.microsoft.com/office/drawing/2014/main" id="{B3019188-DE3A-4F11-8CC6-8035A2953215}"/>
                </a:ext>
              </a:extLst>
            </p:cNvPr>
            <p:cNvSpPr/>
            <p:nvPr/>
          </p:nvSpPr>
          <p:spPr>
            <a:xfrm>
              <a:off x="8650485" y="4180900"/>
              <a:ext cx="72450" cy="97290"/>
            </a:xfrm>
            <a:custGeom>
              <a:avLst/>
              <a:gdLst>
                <a:gd name="connsiteX0" fmla="*/ 25186 w 72450"/>
                <a:gd name="connsiteY0" fmla="*/ 18630 h 97290"/>
                <a:gd name="connsiteX1" fmla="*/ 0 w 72450"/>
                <a:gd name="connsiteY1" fmla="*/ 18630 h 97290"/>
                <a:gd name="connsiteX2" fmla="*/ 0 w 72450"/>
                <a:gd name="connsiteY2" fmla="*/ 0 h 97290"/>
                <a:gd name="connsiteX3" fmla="*/ 72451 w 72450"/>
                <a:gd name="connsiteY3" fmla="*/ 0 h 97290"/>
                <a:gd name="connsiteX4" fmla="*/ 72451 w 72450"/>
                <a:gd name="connsiteY4" fmla="*/ 18630 h 97290"/>
                <a:gd name="connsiteX5" fmla="*/ 46748 w 72450"/>
                <a:gd name="connsiteY5" fmla="*/ 18630 h 97290"/>
                <a:gd name="connsiteX6" fmla="*/ 46748 w 72450"/>
                <a:gd name="connsiteY6" fmla="*/ 97291 h 97290"/>
                <a:gd name="connsiteX7" fmla="*/ 25186 w 72450"/>
                <a:gd name="connsiteY7" fmla="*/ 97291 h 97290"/>
                <a:gd name="connsiteX8" fmla="*/ 25186 w 72450"/>
                <a:gd name="connsiteY8" fmla="*/ 1863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50" h="97290">
                  <a:moveTo>
                    <a:pt x="25186" y="18630"/>
                  </a:moveTo>
                  <a:lnTo>
                    <a:pt x="0" y="18630"/>
                  </a:lnTo>
                  <a:lnTo>
                    <a:pt x="0" y="0"/>
                  </a:lnTo>
                  <a:lnTo>
                    <a:pt x="72451" y="0"/>
                  </a:lnTo>
                  <a:lnTo>
                    <a:pt x="72451" y="18630"/>
                  </a:lnTo>
                  <a:lnTo>
                    <a:pt x="46748" y="18630"/>
                  </a:lnTo>
                  <a:lnTo>
                    <a:pt x="46748" y="97291"/>
                  </a:lnTo>
                  <a:lnTo>
                    <a:pt x="25186" y="97291"/>
                  </a:lnTo>
                  <a:lnTo>
                    <a:pt x="25186" y="1863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1" name="Gráfico 1344">
              <a:extLst>
                <a:ext uri="{FF2B5EF4-FFF2-40B4-BE49-F238E27FC236}">
                  <a16:creationId xmlns:a16="http://schemas.microsoft.com/office/drawing/2014/main" id="{43A6A108-E1A0-47FC-AC69-6E845DD41CD9}"/>
                </a:ext>
              </a:extLst>
            </p:cNvPr>
            <p:cNvSpPr/>
            <p:nvPr/>
          </p:nvSpPr>
          <p:spPr>
            <a:xfrm>
              <a:off x="8735356" y="4180900"/>
              <a:ext cx="20700" cy="97290"/>
            </a:xfrm>
            <a:custGeom>
              <a:avLst/>
              <a:gdLst>
                <a:gd name="connsiteX0" fmla="*/ 0 w 20700"/>
                <a:gd name="connsiteY0" fmla="*/ 0 h 97290"/>
                <a:gd name="connsiteX1" fmla="*/ 20700 w 20700"/>
                <a:gd name="connsiteY1" fmla="*/ 0 h 97290"/>
                <a:gd name="connsiteX2" fmla="*/ 20700 w 20700"/>
                <a:gd name="connsiteY2" fmla="*/ 97291 h 97290"/>
                <a:gd name="connsiteX3" fmla="*/ 0 w 20700"/>
                <a:gd name="connsiteY3" fmla="*/ 97291 h 97290"/>
                <a:gd name="connsiteX4" fmla="*/ 0 w 20700"/>
                <a:gd name="connsiteY4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0" h="97290">
                  <a:moveTo>
                    <a:pt x="0" y="0"/>
                  </a:moveTo>
                  <a:lnTo>
                    <a:pt x="20700" y="0"/>
                  </a:lnTo>
                  <a:lnTo>
                    <a:pt x="20700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2" name="Gráfico 1344">
              <a:extLst>
                <a:ext uri="{FF2B5EF4-FFF2-40B4-BE49-F238E27FC236}">
                  <a16:creationId xmlns:a16="http://schemas.microsoft.com/office/drawing/2014/main" id="{E8E37C12-CCE1-47DA-AB8A-C7F25F43995B}"/>
                </a:ext>
              </a:extLst>
            </p:cNvPr>
            <p:cNvSpPr/>
            <p:nvPr/>
          </p:nvSpPr>
          <p:spPr>
            <a:xfrm>
              <a:off x="8803666" y="4180900"/>
              <a:ext cx="68310" cy="97463"/>
            </a:xfrm>
            <a:custGeom>
              <a:avLst/>
              <a:gdLst>
                <a:gd name="connsiteX0" fmla="*/ 0 w 68310"/>
                <a:gd name="connsiteY0" fmla="*/ 1898 h 97463"/>
                <a:gd name="connsiteX1" fmla="*/ 29153 w 68310"/>
                <a:gd name="connsiteY1" fmla="*/ 0 h 97463"/>
                <a:gd name="connsiteX2" fmla="*/ 58133 w 68310"/>
                <a:gd name="connsiteY2" fmla="*/ 7763 h 97463"/>
                <a:gd name="connsiteX3" fmla="*/ 68311 w 68310"/>
                <a:gd name="connsiteY3" fmla="*/ 30016 h 97463"/>
                <a:gd name="connsiteX4" fmla="*/ 59686 w 68310"/>
                <a:gd name="connsiteY4" fmla="*/ 52958 h 97463"/>
                <a:gd name="connsiteX5" fmla="*/ 28808 w 68310"/>
                <a:gd name="connsiteY5" fmla="*/ 63308 h 97463"/>
                <a:gd name="connsiteX6" fmla="*/ 21391 w 68310"/>
                <a:gd name="connsiteY6" fmla="*/ 62963 h 97463"/>
                <a:gd name="connsiteX7" fmla="*/ 21391 w 68310"/>
                <a:gd name="connsiteY7" fmla="*/ 97464 h 97463"/>
                <a:gd name="connsiteX8" fmla="*/ 0 w 68310"/>
                <a:gd name="connsiteY8" fmla="*/ 97464 h 97463"/>
                <a:gd name="connsiteX9" fmla="*/ 0 w 68310"/>
                <a:gd name="connsiteY9" fmla="*/ 1898 h 97463"/>
                <a:gd name="connsiteX10" fmla="*/ 0 w 68310"/>
                <a:gd name="connsiteY10" fmla="*/ 1898 h 97463"/>
                <a:gd name="connsiteX11" fmla="*/ 0 w 68310"/>
                <a:gd name="connsiteY11" fmla="*/ 1898 h 97463"/>
                <a:gd name="connsiteX12" fmla="*/ 21391 w 68310"/>
                <a:gd name="connsiteY12" fmla="*/ 45885 h 97463"/>
                <a:gd name="connsiteX13" fmla="*/ 28635 w 68310"/>
                <a:gd name="connsiteY13" fmla="*/ 46576 h 97463"/>
                <a:gd name="connsiteX14" fmla="*/ 47266 w 68310"/>
                <a:gd name="connsiteY14" fmla="*/ 30878 h 97463"/>
                <a:gd name="connsiteX15" fmla="*/ 30533 w 68310"/>
                <a:gd name="connsiteY15" fmla="*/ 16733 h 97463"/>
                <a:gd name="connsiteX16" fmla="*/ 21735 w 68310"/>
                <a:gd name="connsiteY16" fmla="*/ 17595 h 97463"/>
                <a:gd name="connsiteX17" fmla="*/ 21735 w 68310"/>
                <a:gd name="connsiteY17" fmla="*/ 45885 h 97463"/>
                <a:gd name="connsiteX18" fmla="*/ 21391 w 68310"/>
                <a:gd name="connsiteY18" fmla="*/ 45885 h 97463"/>
                <a:gd name="connsiteX19" fmla="*/ 21391 w 68310"/>
                <a:gd name="connsiteY19" fmla="*/ 45885 h 97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310" h="97463">
                  <a:moveTo>
                    <a:pt x="0" y="1898"/>
                  </a:moveTo>
                  <a:cubicBezTo>
                    <a:pt x="6555" y="863"/>
                    <a:pt x="15870" y="0"/>
                    <a:pt x="29153" y="0"/>
                  </a:cubicBezTo>
                  <a:cubicBezTo>
                    <a:pt x="42436" y="0"/>
                    <a:pt x="51923" y="2588"/>
                    <a:pt x="58133" y="7763"/>
                  </a:cubicBezTo>
                  <a:cubicBezTo>
                    <a:pt x="64343" y="12765"/>
                    <a:pt x="68311" y="20700"/>
                    <a:pt x="68311" y="30016"/>
                  </a:cubicBezTo>
                  <a:cubicBezTo>
                    <a:pt x="68311" y="39330"/>
                    <a:pt x="65205" y="47438"/>
                    <a:pt x="59686" y="52958"/>
                  </a:cubicBezTo>
                  <a:cubicBezTo>
                    <a:pt x="52268" y="60031"/>
                    <a:pt x="41573" y="63308"/>
                    <a:pt x="28808" y="63308"/>
                  </a:cubicBezTo>
                  <a:cubicBezTo>
                    <a:pt x="26048" y="63308"/>
                    <a:pt x="23460" y="63136"/>
                    <a:pt x="21391" y="62963"/>
                  </a:cubicBezTo>
                  <a:lnTo>
                    <a:pt x="21391" y="97464"/>
                  </a:lnTo>
                  <a:lnTo>
                    <a:pt x="0" y="97464"/>
                  </a:lnTo>
                  <a:lnTo>
                    <a:pt x="0" y="1898"/>
                  </a:lnTo>
                  <a:lnTo>
                    <a:pt x="0" y="1898"/>
                  </a:lnTo>
                  <a:lnTo>
                    <a:pt x="0" y="1898"/>
                  </a:lnTo>
                  <a:close/>
                  <a:moveTo>
                    <a:pt x="21391" y="45885"/>
                  </a:moveTo>
                  <a:cubicBezTo>
                    <a:pt x="23288" y="46231"/>
                    <a:pt x="25358" y="46576"/>
                    <a:pt x="28635" y="46576"/>
                  </a:cubicBezTo>
                  <a:cubicBezTo>
                    <a:pt x="40020" y="46576"/>
                    <a:pt x="47266" y="40711"/>
                    <a:pt x="47266" y="30878"/>
                  </a:cubicBezTo>
                  <a:cubicBezTo>
                    <a:pt x="47266" y="22080"/>
                    <a:pt x="41055" y="16733"/>
                    <a:pt x="30533" y="16733"/>
                  </a:cubicBezTo>
                  <a:cubicBezTo>
                    <a:pt x="26048" y="16733"/>
                    <a:pt x="23115" y="17078"/>
                    <a:pt x="21735" y="17595"/>
                  </a:cubicBezTo>
                  <a:lnTo>
                    <a:pt x="21735" y="45885"/>
                  </a:lnTo>
                  <a:lnTo>
                    <a:pt x="21391" y="45885"/>
                  </a:lnTo>
                  <a:lnTo>
                    <a:pt x="21391" y="458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3" name="Gráfico 1344">
              <a:extLst>
                <a:ext uri="{FF2B5EF4-FFF2-40B4-BE49-F238E27FC236}">
                  <a16:creationId xmlns:a16="http://schemas.microsoft.com/office/drawing/2014/main" id="{57C0083A-018B-45D3-B0CD-AA19408FE51A}"/>
                </a:ext>
              </a:extLst>
            </p:cNvPr>
            <p:cNvSpPr/>
            <p:nvPr/>
          </p:nvSpPr>
          <p:spPr>
            <a:xfrm>
              <a:off x="8884392" y="4176760"/>
              <a:ext cx="22774" cy="101430"/>
            </a:xfrm>
            <a:custGeom>
              <a:avLst/>
              <a:gdLst>
                <a:gd name="connsiteX0" fmla="*/ 22775 w 22774"/>
                <a:gd name="connsiteY0" fmla="*/ 11040 h 101430"/>
                <a:gd name="connsiteX1" fmla="*/ 11217 w 22774"/>
                <a:gd name="connsiteY1" fmla="*/ 22080 h 101430"/>
                <a:gd name="connsiteX2" fmla="*/ 5 w 22774"/>
                <a:gd name="connsiteY2" fmla="*/ 11040 h 101430"/>
                <a:gd name="connsiteX3" fmla="*/ 11217 w 22774"/>
                <a:gd name="connsiteY3" fmla="*/ 0 h 101430"/>
                <a:gd name="connsiteX4" fmla="*/ 22775 w 22774"/>
                <a:gd name="connsiteY4" fmla="*/ 11040 h 101430"/>
                <a:gd name="connsiteX5" fmla="*/ 867 w 22774"/>
                <a:gd name="connsiteY5" fmla="*/ 30705 h 101430"/>
                <a:gd name="connsiteX6" fmla="*/ 22085 w 22774"/>
                <a:gd name="connsiteY6" fmla="*/ 30705 h 101430"/>
                <a:gd name="connsiteX7" fmla="*/ 22085 w 22774"/>
                <a:gd name="connsiteY7" fmla="*/ 101431 h 101430"/>
                <a:gd name="connsiteX8" fmla="*/ 867 w 22774"/>
                <a:gd name="connsiteY8" fmla="*/ 101431 h 101430"/>
                <a:gd name="connsiteX9" fmla="*/ 867 w 22774"/>
                <a:gd name="connsiteY9" fmla="*/ 30705 h 101430"/>
                <a:gd name="connsiteX10" fmla="*/ 867 w 22774"/>
                <a:gd name="connsiteY10" fmla="*/ 30705 h 101430"/>
                <a:gd name="connsiteX11" fmla="*/ 867 w 22774"/>
                <a:gd name="connsiteY11" fmla="*/ 30705 h 10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74" h="101430">
                  <a:moveTo>
                    <a:pt x="22775" y="11040"/>
                  </a:moveTo>
                  <a:cubicBezTo>
                    <a:pt x="22775" y="17077"/>
                    <a:pt x="18290" y="22080"/>
                    <a:pt x="11217" y="22080"/>
                  </a:cubicBezTo>
                  <a:cubicBezTo>
                    <a:pt x="4490" y="22080"/>
                    <a:pt x="5" y="17077"/>
                    <a:pt x="5" y="11040"/>
                  </a:cubicBezTo>
                  <a:cubicBezTo>
                    <a:pt x="-168" y="4830"/>
                    <a:pt x="4145" y="0"/>
                    <a:pt x="11217" y="0"/>
                  </a:cubicBezTo>
                  <a:cubicBezTo>
                    <a:pt x="18290" y="0"/>
                    <a:pt x="22775" y="4830"/>
                    <a:pt x="22775" y="11040"/>
                  </a:cubicBezTo>
                  <a:moveTo>
                    <a:pt x="867" y="30705"/>
                  </a:moveTo>
                  <a:lnTo>
                    <a:pt x="22085" y="30705"/>
                  </a:lnTo>
                  <a:lnTo>
                    <a:pt x="22085" y="101431"/>
                  </a:lnTo>
                  <a:lnTo>
                    <a:pt x="867" y="101431"/>
                  </a:lnTo>
                  <a:lnTo>
                    <a:pt x="867" y="30705"/>
                  </a:lnTo>
                  <a:lnTo>
                    <a:pt x="867" y="30705"/>
                  </a:lnTo>
                  <a:lnTo>
                    <a:pt x="867" y="3070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4" name="Gráfico 1344">
              <a:extLst>
                <a:ext uri="{FF2B5EF4-FFF2-40B4-BE49-F238E27FC236}">
                  <a16:creationId xmlns:a16="http://schemas.microsoft.com/office/drawing/2014/main" id="{EF16FFBD-915B-4673-8D25-DA7344775B85}"/>
                </a:ext>
              </a:extLst>
            </p:cNvPr>
            <p:cNvSpPr/>
            <p:nvPr/>
          </p:nvSpPr>
          <p:spPr>
            <a:xfrm>
              <a:off x="8923727" y="4205568"/>
              <a:ext cx="43642" cy="72277"/>
            </a:xfrm>
            <a:custGeom>
              <a:avLst/>
              <a:gdLst>
                <a:gd name="connsiteX0" fmla="*/ 690 w 43642"/>
                <a:gd name="connsiteY0" fmla="*/ 25185 h 72277"/>
                <a:gd name="connsiteX1" fmla="*/ 0 w 43642"/>
                <a:gd name="connsiteY1" fmla="*/ 1897 h 72277"/>
                <a:gd name="connsiteX2" fmla="*/ 18803 w 43642"/>
                <a:gd name="connsiteY2" fmla="*/ 1897 h 72277"/>
                <a:gd name="connsiteX3" fmla="*/ 19492 w 43642"/>
                <a:gd name="connsiteY3" fmla="*/ 14835 h 72277"/>
                <a:gd name="connsiteX4" fmla="*/ 20182 w 43642"/>
                <a:gd name="connsiteY4" fmla="*/ 14835 h 72277"/>
                <a:gd name="connsiteX5" fmla="*/ 39158 w 43642"/>
                <a:gd name="connsiteY5" fmla="*/ 0 h 72277"/>
                <a:gd name="connsiteX6" fmla="*/ 43643 w 43642"/>
                <a:gd name="connsiteY6" fmla="*/ 517 h 72277"/>
                <a:gd name="connsiteX7" fmla="*/ 43643 w 43642"/>
                <a:gd name="connsiteY7" fmla="*/ 21045 h 72277"/>
                <a:gd name="connsiteX8" fmla="*/ 37777 w 43642"/>
                <a:gd name="connsiteY8" fmla="*/ 20527 h 72277"/>
                <a:gd name="connsiteX9" fmla="*/ 22942 w 43642"/>
                <a:gd name="connsiteY9" fmla="*/ 31567 h 72277"/>
                <a:gd name="connsiteX10" fmla="*/ 22598 w 43642"/>
                <a:gd name="connsiteY10" fmla="*/ 36570 h 72277"/>
                <a:gd name="connsiteX11" fmla="*/ 22598 w 43642"/>
                <a:gd name="connsiteY11" fmla="*/ 72278 h 72277"/>
                <a:gd name="connsiteX12" fmla="*/ 862 w 43642"/>
                <a:gd name="connsiteY12" fmla="*/ 72278 h 72277"/>
                <a:gd name="connsiteX13" fmla="*/ 862 w 43642"/>
                <a:gd name="connsiteY13" fmla="*/ 25185 h 72277"/>
                <a:gd name="connsiteX14" fmla="*/ 690 w 43642"/>
                <a:gd name="connsiteY14" fmla="*/ 25185 h 72277"/>
                <a:gd name="connsiteX15" fmla="*/ 690 w 43642"/>
                <a:gd name="connsiteY15" fmla="*/ 25185 h 7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2277">
                  <a:moveTo>
                    <a:pt x="690" y="25185"/>
                  </a:moveTo>
                  <a:cubicBezTo>
                    <a:pt x="690" y="14835"/>
                    <a:pt x="517" y="8108"/>
                    <a:pt x="0" y="1897"/>
                  </a:cubicBezTo>
                  <a:lnTo>
                    <a:pt x="18803" y="1897"/>
                  </a:lnTo>
                  <a:lnTo>
                    <a:pt x="19492" y="14835"/>
                  </a:lnTo>
                  <a:lnTo>
                    <a:pt x="20182" y="14835"/>
                  </a:lnTo>
                  <a:cubicBezTo>
                    <a:pt x="23805" y="4485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517"/>
                  </a:cubicBezTo>
                  <a:lnTo>
                    <a:pt x="43643" y="21045"/>
                  </a:lnTo>
                  <a:cubicBezTo>
                    <a:pt x="42090" y="20873"/>
                    <a:pt x="40193" y="20527"/>
                    <a:pt x="37777" y="20527"/>
                  </a:cubicBezTo>
                  <a:cubicBezTo>
                    <a:pt x="29842" y="20527"/>
                    <a:pt x="24150" y="24840"/>
                    <a:pt x="22942" y="31567"/>
                  </a:cubicBezTo>
                  <a:cubicBezTo>
                    <a:pt x="22770" y="33120"/>
                    <a:pt x="22598" y="34672"/>
                    <a:pt x="22598" y="36570"/>
                  </a:cubicBezTo>
                  <a:lnTo>
                    <a:pt x="22598" y="72278"/>
                  </a:lnTo>
                  <a:lnTo>
                    <a:pt x="862" y="72278"/>
                  </a:lnTo>
                  <a:lnTo>
                    <a:pt x="862" y="25185"/>
                  </a:lnTo>
                  <a:lnTo>
                    <a:pt x="690" y="25185"/>
                  </a:lnTo>
                  <a:lnTo>
                    <a:pt x="690" y="251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5" name="Gráfico 1344">
              <a:extLst>
                <a:ext uri="{FF2B5EF4-FFF2-40B4-BE49-F238E27FC236}">
                  <a16:creationId xmlns:a16="http://schemas.microsoft.com/office/drawing/2014/main" id="{816B3B39-1E3F-4A86-BC3C-B1DEAD2C0E59}"/>
                </a:ext>
              </a:extLst>
            </p:cNvPr>
            <p:cNvSpPr/>
            <p:nvPr/>
          </p:nvSpPr>
          <p:spPr>
            <a:xfrm>
              <a:off x="8971510" y="4205913"/>
              <a:ext cx="63997" cy="74347"/>
            </a:xfrm>
            <a:custGeom>
              <a:avLst/>
              <a:gdLst>
                <a:gd name="connsiteX0" fmla="*/ 43815 w 63997"/>
                <a:gd name="connsiteY0" fmla="*/ 72623 h 74347"/>
                <a:gd name="connsiteX1" fmla="*/ 42608 w 63997"/>
                <a:gd name="connsiteY1" fmla="*/ 65550 h 74347"/>
                <a:gd name="connsiteX2" fmla="*/ 42263 w 63997"/>
                <a:gd name="connsiteY2" fmla="*/ 65550 h 74347"/>
                <a:gd name="connsiteX3" fmla="*/ 22425 w 63997"/>
                <a:gd name="connsiteY3" fmla="*/ 74348 h 74347"/>
                <a:gd name="connsiteX4" fmla="*/ 0 w 63997"/>
                <a:gd name="connsiteY4" fmla="*/ 52441 h 74347"/>
                <a:gd name="connsiteX5" fmla="*/ 41055 w 63997"/>
                <a:gd name="connsiteY5" fmla="*/ 25185 h 74347"/>
                <a:gd name="connsiteX6" fmla="*/ 41055 w 63997"/>
                <a:gd name="connsiteY6" fmla="*/ 24150 h 74347"/>
                <a:gd name="connsiteX7" fmla="*/ 28463 w 63997"/>
                <a:gd name="connsiteY7" fmla="*/ 15008 h 74347"/>
                <a:gd name="connsiteX8" fmla="*/ 9143 w 63997"/>
                <a:gd name="connsiteY8" fmla="*/ 20528 h 74347"/>
                <a:gd name="connsiteX9" fmla="*/ 5003 w 63997"/>
                <a:gd name="connsiteY9" fmla="*/ 6382 h 74347"/>
                <a:gd name="connsiteX10" fmla="*/ 32085 w 63997"/>
                <a:gd name="connsiteY10" fmla="*/ 0 h 74347"/>
                <a:gd name="connsiteX11" fmla="*/ 62963 w 63997"/>
                <a:gd name="connsiteY11" fmla="*/ 30878 h 74347"/>
                <a:gd name="connsiteX12" fmla="*/ 62963 w 63997"/>
                <a:gd name="connsiteY12" fmla="*/ 55718 h 74347"/>
                <a:gd name="connsiteX13" fmla="*/ 63998 w 63997"/>
                <a:gd name="connsiteY13" fmla="*/ 72968 h 74347"/>
                <a:gd name="connsiteX14" fmla="*/ 43815 w 63997"/>
                <a:gd name="connsiteY14" fmla="*/ 72968 h 74347"/>
                <a:gd name="connsiteX15" fmla="*/ 43815 w 63997"/>
                <a:gd name="connsiteY15" fmla="*/ 72623 h 74347"/>
                <a:gd name="connsiteX16" fmla="*/ 43815 w 63997"/>
                <a:gd name="connsiteY16" fmla="*/ 72623 h 74347"/>
                <a:gd name="connsiteX17" fmla="*/ 41400 w 63997"/>
                <a:gd name="connsiteY17" fmla="*/ 38985 h 74347"/>
                <a:gd name="connsiteX18" fmla="*/ 21045 w 63997"/>
                <a:gd name="connsiteY18" fmla="*/ 50198 h 74347"/>
                <a:gd name="connsiteX19" fmla="*/ 29670 w 63997"/>
                <a:gd name="connsiteY19" fmla="*/ 58650 h 74347"/>
                <a:gd name="connsiteX20" fmla="*/ 41055 w 63997"/>
                <a:gd name="connsiteY20" fmla="*/ 50543 h 74347"/>
                <a:gd name="connsiteX21" fmla="*/ 41400 w 63997"/>
                <a:gd name="connsiteY21" fmla="*/ 46748 h 74347"/>
                <a:gd name="connsiteX22" fmla="*/ 41400 w 63997"/>
                <a:gd name="connsiteY22" fmla="*/ 38985 h 74347"/>
                <a:gd name="connsiteX23" fmla="*/ 41400 w 63997"/>
                <a:gd name="connsiteY23" fmla="*/ 38985 h 74347"/>
                <a:gd name="connsiteX24" fmla="*/ 41400 w 63997"/>
                <a:gd name="connsiteY24" fmla="*/ 38985 h 7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997" h="74347">
                  <a:moveTo>
                    <a:pt x="43815" y="72623"/>
                  </a:moveTo>
                  <a:lnTo>
                    <a:pt x="42608" y="65550"/>
                  </a:lnTo>
                  <a:lnTo>
                    <a:pt x="42263" y="65550"/>
                  </a:lnTo>
                  <a:cubicBezTo>
                    <a:pt x="37778" y="71243"/>
                    <a:pt x="30533" y="74348"/>
                    <a:pt x="22425" y="74348"/>
                  </a:cubicBezTo>
                  <a:cubicBezTo>
                    <a:pt x="8280" y="74348"/>
                    <a:pt x="0" y="63826"/>
                    <a:pt x="0" y="52441"/>
                  </a:cubicBezTo>
                  <a:cubicBezTo>
                    <a:pt x="0" y="33810"/>
                    <a:pt x="16215" y="25185"/>
                    <a:pt x="41055" y="25185"/>
                  </a:cubicBezTo>
                  <a:lnTo>
                    <a:pt x="41055" y="24150"/>
                  </a:lnTo>
                  <a:cubicBezTo>
                    <a:pt x="41055" y="20355"/>
                    <a:pt x="39158" y="15008"/>
                    <a:pt x="28463" y="15008"/>
                  </a:cubicBezTo>
                  <a:cubicBezTo>
                    <a:pt x="21390" y="15008"/>
                    <a:pt x="13628" y="17423"/>
                    <a:pt x="9143" y="20528"/>
                  </a:cubicBezTo>
                  <a:lnTo>
                    <a:pt x="5003" y="6382"/>
                  </a:lnTo>
                  <a:cubicBezTo>
                    <a:pt x="10005" y="3622"/>
                    <a:pt x="19320" y="0"/>
                    <a:pt x="32085" y="0"/>
                  </a:cubicBezTo>
                  <a:cubicBezTo>
                    <a:pt x="55373" y="0"/>
                    <a:pt x="62963" y="13973"/>
                    <a:pt x="62963" y="30878"/>
                  </a:cubicBezTo>
                  <a:lnTo>
                    <a:pt x="62963" y="55718"/>
                  </a:lnTo>
                  <a:cubicBezTo>
                    <a:pt x="62963" y="62445"/>
                    <a:pt x="63136" y="69001"/>
                    <a:pt x="63998" y="72968"/>
                  </a:cubicBezTo>
                  <a:lnTo>
                    <a:pt x="43815" y="72968"/>
                  </a:lnTo>
                  <a:lnTo>
                    <a:pt x="43815" y="72623"/>
                  </a:lnTo>
                  <a:lnTo>
                    <a:pt x="43815" y="72623"/>
                  </a:lnTo>
                  <a:close/>
                  <a:moveTo>
                    <a:pt x="41400" y="38985"/>
                  </a:moveTo>
                  <a:cubicBezTo>
                    <a:pt x="29843" y="38813"/>
                    <a:pt x="21045" y="41573"/>
                    <a:pt x="21045" y="50198"/>
                  </a:cubicBezTo>
                  <a:cubicBezTo>
                    <a:pt x="21045" y="55890"/>
                    <a:pt x="24668" y="58650"/>
                    <a:pt x="29670" y="58650"/>
                  </a:cubicBezTo>
                  <a:cubicBezTo>
                    <a:pt x="35190" y="58650"/>
                    <a:pt x="39503" y="54855"/>
                    <a:pt x="41055" y="50543"/>
                  </a:cubicBezTo>
                  <a:cubicBezTo>
                    <a:pt x="41228" y="49163"/>
                    <a:pt x="41400" y="48128"/>
                    <a:pt x="41400" y="46748"/>
                  </a:cubicBezTo>
                  <a:lnTo>
                    <a:pt x="41400" y="38985"/>
                  </a:lnTo>
                  <a:lnTo>
                    <a:pt x="41400" y="38985"/>
                  </a:lnTo>
                  <a:lnTo>
                    <a:pt x="41400" y="389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6" name="Gráfico 1344">
              <a:extLst>
                <a:ext uri="{FF2B5EF4-FFF2-40B4-BE49-F238E27FC236}">
                  <a16:creationId xmlns:a16="http://schemas.microsoft.com/office/drawing/2014/main" id="{26EE7A64-6F0E-447C-9770-CAEC9C5A435D}"/>
                </a:ext>
              </a:extLst>
            </p:cNvPr>
            <p:cNvSpPr/>
            <p:nvPr/>
          </p:nvSpPr>
          <p:spPr>
            <a:xfrm>
              <a:off x="9049998" y="4205740"/>
              <a:ext cx="72278" cy="99533"/>
            </a:xfrm>
            <a:custGeom>
              <a:avLst/>
              <a:gdLst>
                <a:gd name="connsiteX0" fmla="*/ 690 w 72278"/>
                <a:gd name="connsiteY0" fmla="*/ 25186 h 99533"/>
                <a:gd name="connsiteX1" fmla="*/ 0 w 72278"/>
                <a:gd name="connsiteY1" fmla="*/ 1725 h 99533"/>
                <a:gd name="connsiteX2" fmla="*/ 18803 w 72278"/>
                <a:gd name="connsiteY2" fmla="*/ 1725 h 99533"/>
                <a:gd name="connsiteX3" fmla="*/ 19838 w 72278"/>
                <a:gd name="connsiteY3" fmla="*/ 11385 h 99533"/>
                <a:gd name="connsiteX4" fmla="*/ 20010 w 72278"/>
                <a:gd name="connsiteY4" fmla="*/ 11385 h 99533"/>
                <a:gd name="connsiteX5" fmla="*/ 43298 w 72278"/>
                <a:gd name="connsiteY5" fmla="*/ 0 h 99533"/>
                <a:gd name="connsiteX6" fmla="*/ 72278 w 72278"/>
                <a:gd name="connsiteY6" fmla="*/ 35535 h 99533"/>
                <a:gd name="connsiteX7" fmla="*/ 40538 w 72278"/>
                <a:gd name="connsiteY7" fmla="*/ 72968 h 99533"/>
                <a:gd name="connsiteX8" fmla="*/ 22253 w 72278"/>
                <a:gd name="connsiteY8" fmla="*/ 64861 h 99533"/>
                <a:gd name="connsiteX9" fmla="*/ 21908 w 72278"/>
                <a:gd name="connsiteY9" fmla="*/ 64861 h 99533"/>
                <a:gd name="connsiteX10" fmla="*/ 21908 w 72278"/>
                <a:gd name="connsiteY10" fmla="*/ 99534 h 99533"/>
                <a:gd name="connsiteX11" fmla="*/ 173 w 72278"/>
                <a:gd name="connsiteY11" fmla="*/ 99534 h 99533"/>
                <a:gd name="connsiteX12" fmla="*/ 173 w 72278"/>
                <a:gd name="connsiteY12" fmla="*/ 25358 h 99533"/>
                <a:gd name="connsiteX13" fmla="*/ 690 w 72278"/>
                <a:gd name="connsiteY13" fmla="*/ 25358 h 99533"/>
                <a:gd name="connsiteX14" fmla="*/ 690 w 72278"/>
                <a:gd name="connsiteY14" fmla="*/ 25186 h 99533"/>
                <a:gd name="connsiteX15" fmla="*/ 22425 w 72278"/>
                <a:gd name="connsiteY15" fmla="*/ 41746 h 99533"/>
                <a:gd name="connsiteX16" fmla="*/ 22770 w 72278"/>
                <a:gd name="connsiteY16" fmla="*/ 46230 h 99533"/>
                <a:gd name="connsiteX17" fmla="*/ 35363 w 72278"/>
                <a:gd name="connsiteY17" fmla="*/ 56408 h 99533"/>
                <a:gd name="connsiteX18" fmla="*/ 50371 w 72278"/>
                <a:gd name="connsiteY18" fmla="*/ 36743 h 99533"/>
                <a:gd name="connsiteX19" fmla="*/ 35535 w 72278"/>
                <a:gd name="connsiteY19" fmla="*/ 17250 h 99533"/>
                <a:gd name="connsiteX20" fmla="*/ 22425 w 72278"/>
                <a:gd name="connsiteY20" fmla="*/ 28118 h 99533"/>
                <a:gd name="connsiteX21" fmla="*/ 22080 w 72278"/>
                <a:gd name="connsiteY21" fmla="*/ 31913 h 99533"/>
                <a:gd name="connsiteX22" fmla="*/ 22080 w 72278"/>
                <a:gd name="connsiteY22" fmla="*/ 41573 h 99533"/>
                <a:gd name="connsiteX23" fmla="*/ 22425 w 72278"/>
                <a:gd name="connsiteY23" fmla="*/ 41573 h 99533"/>
                <a:gd name="connsiteX24" fmla="*/ 22425 w 72278"/>
                <a:gd name="connsiteY24" fmla="*/ 41746 h 9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2278" h="99533">
                  <a:moveTo>
                    <a:pt x="690" y="25186"/>
                  </a:moveTo>
                  <a:cubicBezTo>
                    <a:pt x="690" y="16042"/>
                    <a:pt x="517" y="8108"/>
                    <a:pt x="0" y="1725"/>
                  </a:cubicBezTo>
                  <a:lnTo>
                    <a:pt x="18803" y="1725"/>
                  </a:lnTo>
                  <a:lnTo>
                    <a:pt x="19838" y="11385"/>
                  </a:lnTo>
                  <a:lnTo>
                    <a:pt x="20010" y="11385"/>
                  </a:lnTo>
                  <a:cubicBezTo>
                    <a:pt x="25186" y="3968"/>
                    <a:pt x="33120" y="0"/>
                    <a:pt x="43298" y="0"/>
                  </a:cubicBezTo>
                  <a:cubicBezTo>
                    <a:pt x="58478" y="0"/>
                    <a:pt x="72278" y="13283"/>
                    <a:pt x="72278" y="35535"/>
                  </a:cubicBezTo>
                  <a:cubicBezTo>
                    <a:pt x="72278" y="60893"/>
                    <a:pt x="56236" y="72968"/>
                    <a:pt x="40538" y="72968"/>
                  </a:cubicBezTo>
                  <a:cubicBezTo>
                    <a:pt x="32258" y="72968"/>
                    <a:pt x="25530" y="69518"/>
                    <a:pt x="22253" y="64861"/>
                  </a:cubicBezTo>
                  <a:lnTo>
                    <a:pt x="21908" y="64861"/>
                  </a:lnTo>
                  <a:lnTo>
                    <a:pt x="21908" y="99534"/>
                  </a:lnTo>
                  <a:lnTo>
                    <a:pt x="173" y="99534"/>
                  </a:lnTo>
                  <a:lnTo>
                    <a:pt x="173" y="25358"/>
                  </a:lnTo>
                  <a:lnTo>
                    <a:pt x="690" y="25358"/>
                  </a:lnTo>
                  <a:lnTo>
                    <a:pt x="690" y="25186"/>
                  </a:lnTo>
                  <a:close/>
                  <a:moveTo>
                    <a:pt x="22425" y="41746"/>
                  </a:moveTo>
                  <a:cubicBezTo>
                    <a:pt x="22425" y="43471"/>
                    <a:pt x="22598" y="45023"/>
                    <a:pt x="22770" y="46230"/>
                  </a:cubicBezTo>
                  <a:cubicBezTo>
                    <a:pt x="24323" y="51923"/>
                    <a:pt x="29153" y="56408"/>
                    <a:pt x="35363" y="56408"/>
                  </a:cubicBezTo>
                  <a:cubicBezTo>
                    <a:pt x="44850" y="56408"/>
                    <a:pt x="50371" y="48473"/>
                    <a:pt x="50371" y="36743"/>
                  </a:cubicBezTo>
                  <a:cubicBezTo>
                    <a:pt x="50371" y="25703"/>
                    <a:pt x="45368" y="17250"/>
                    <a:pt x="35535" y="17250"/>
                  </a:cubicBezTo>
                  <a:cubicBezTo>
                    <a:pt x="29325" y="17250"/>
                    <a:pt x="23978" y="21735"/>
                    <a:pt x="22425" y="28118"/>
                  </a:cubicBezTo>
                  <a:cubicBezTo>
                    <a:pt x="22253" y="29153"/>
                    <a:pt x="22080" y="30705"/>
                    <a:pt x="22080" y="31913"/>
                  </a:cubicBezTo>
                  <a:lnTo>
                    <a:pt x="22080" y="41573"/>
                  </a:lnTo>
                  <a:lnTo>
                    <a:pt x="22425" y="41573"/>
                  </a:lnTo>
                  <a:lnTo>
                    <a:pt x="22425" y="41746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7" name="Gráfico 1344">
              <a:extLst>
                <a:ext uri="{FF2B5EF4-FFF2-40B4-BE49-F238E27FC236}">
                  <a16:creationId xmlns:a16="http://schemas.microsoft.com/office/drawing/2014/main" id="{6CB97D88-AAB1-4F7C-9662-F7DD7CCACBB9}"/>
                </a:ext>
              </a:extLst>
            </p:cNvPr>
            <p:cNvSpPr/>
            <p:nvPr/>
          </p:nvSpPr>
          <p:spPr>
            <a:xfrm>
              <a:off x="9132799" y="4205740"/>
              <a:ext cx="72450" cy="72450"/>
            </a:xfrm>
            <a:custGeom>
              <a:avLst/>
              <a:gdLst>
                <a:gd name="connsiteX0" fmla="*/ 72450 w 72450"/>
                <a:gd name="connsiteY0" fmla="*/ 35535 h 72450"/>
                <a:gd name="connsiteX1" fmla="*/ 35880 w 72450"/>
                <a:gd name="connsiteY1" fmla="*/ 72451 h 72450"/>
                <a:gd name="connsiteX2" fmla="*/ 0 w 72450"/>
                <a:gd name="connsiteY2" fmla="*/ 36743 h 72450"/>
                <a:gd name="connsiteX3" fmla="*/ 36915 w 72450"/>
                <a:gd name="connsiteY3" fmla="*/ 0 h 72450"/>
                <a:gd name="connsiteX4" fmla="*/ 72450 w 72450"/>
                <a:gd name="connsiteY4" fmla="*/ 35535 h 72450"/>
                <a:gd name="connsiteX5" fmla="*/ 22080 w 72450"/>
                <a:gd name="connsiteY5" fmla="*/ 36398 h 72450"/>
                <a:gd name="connsiteX6" fmla="*/ 36398 w 72450"/>
                <a:gd name="connsiteY6" fmla="*/ 57271 h 72450"/>
                <a:gd name="connsiteX7" fmla="*/ 50198 w 72450"/>
                <a:gd name="connsiteY7" fmla="*/ 36398 h 72450"/>
                <a:gd name="connsiteX8" fmla="*/ 36398 w 72450"/>
                <a:gd name="connsiteY8" fmla="*/ 15525 h 72450"/>
                <a:gd name="connsiteX9" fmla="*/ 22080 w 72450"/>
                <a:gd name="connsiteY9" fmla="*/ 3639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72450">
                  <a:moveTo>
                    <a:pt x="72450" y="35535"/>
                  </a:moveTo>
                  <a:cubicBezTo>
                    <a:pt x="72450" y="61066"/>
                    <a:pt x="54338" y="72451"/>
                    <a:pt x="35880" y="72451"/>
                  </a:cubicBezTo>
                  <a:cubicBezTo>
                    <a:pt x="15698" y="72451"/>
                    <a:pt x="0" y="58996"/>
                    <a:pt x="0" y="36743"/>
                  </a:cubicBezTo>
                  <a:cubicBezTo>
                    <a:pt x="0" y="14490"/>
                    <a:pt x="14663" y="0"/>
                    <a:pt x="36915" y="0"/>
                  </a:cubicBezTo>
                  <a:cubicBezTo>
                    <a:pt x="58133" y="0"/>
                    <a:pt x="72450" y="14663"/>
                    <a:pt x="72450" y="35535"/>
                  </a:cubicBezTo>
                  <a:moveTo>
                    <a:pt x="22080" y="36398"/>
                  </a:moveTo>
                  <a:cubicBezTo>
                    <a:pt x="22080" y="48301"/>
                    <a:pt x="26910" y="57271"/>
                    <a:pt x="36398" y="57271"/>
                  </a:cubicBezTo>
                  <a:cubicBezTo>
                    <a:pt x="44678" y="57271"/>
                    <a:pt x="50198" y="48990"/>
                    <a:pt x="50198" y="36398"/>
                  </a:cubicBezTo>
                  <a:cubicBezTo>
                    <a:pt x="50198" y="26048"/>
                    <a:pt x="46230" y="15525"/>
                    <a:pt x="36398" y="15525"/>
                  </a:cubicBezTo>
                  <a:cubicBezTo>
                    <a:pt x="25875" y="15525"/>
                    <a:pt x="22080" y="26048"/>
                    <a:pt x="22080" y="36398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8" name="Gráfico 1344">
              <a:extLst>
                <a:ext uri="{FF2B5EF4-FFF2-40B4-BE49-F238E27FC236}">
                  <a16:creationId xmlns:a16="http://schemas.microsoft.com/office/drawing/2014/main" id="{0C11E76A-1976-4B3E-B9B4-AF9B479E32B9}"/>
                </a:ext>
              </a:extLst>
            </p:cNvPr>
            <p:cNvSpPr/>
            <p:nvPr/>
          </p:nvSpPr>
          <p:spPr>
            <a:xfrm>
              <a:off x="9217669" y="4205568"/>
              <a:ext cx="43642" cy="72277"/>
            </a:xfrm>
            <a:custGeom>
              <a:avLst/>
              <a:gdLst>
                <a:gd name="connsiteX0" fmla="*/ 690 w 43642"/>
                <a:gd name="connsiteY0" fmla="*/ 25185 h 72277"/>
                <a:gd name="connsiteX1" fmla="*/ 0 w 43642"/>
                <a:gd name="connsiteY1" fmla="*/ 1897 h 72277"/>
                <a:gd name="connsiteX2" fmla="*/ 18803 w 43642"/>
                <a:gd name="connsiteY2" fmla="*/ 1897 h 72277"/>
                <a:gd name="connsiteX3" fmla="*/ 19493 w 43642"/>
                <a:gd name="connsiteY3" fmla="*/ 14835 h 72277"/>
                <a:gd name="connsiteX4" fmla="*/ 20183 w 43642"/>
                <a:gd name="connsiteY4" fmla="*/ 14835 h 72277"/>
                <a:gd name="connsiteX5" fmla="*/ 39158 w 43642"/>
                <a:gd name="connsiteY5" fmla="*/ 0 h 72277"/>
                <a:gd name="connsiteX6" fmla="*/ 43643 w 43642"/>
                <a:gd name="connsiteY6" fmla="*/ 517 h 72277"/>
                <a:gd name="connsiteX7" fmla="*/ 43643 w 43642"/>
                <a:gd name="connsiteY7" fmla="*/ 21045 h 72277"/>
                <a:gd name="connsiteX8" fmla="*/ 37778 w 43642"/>
                <a:gd name="connsiteY8" fmla="*/ 20527 h 72277"/>
                <a:gd name="connsiteX9" fmla="*/ 22943 w 43642"/>
                <a:gd name="connsiteY9" fmla="*/ 31567 h 72277"/>
                <a:gd name="connsiteX10" fmla="*/ 22598 w 43642"/>
                <a:gd name="connsiteY10" fmla="*/ 36570 h 72277"/>
                <a:gd name="connsiteX11" fmla="*/ 22598 w 43642"/>
                <a:gd name="connsiteY11" fmla="*/ 72278 h 72277"/>
                <a:gd name="connsiteX12" fmla="*/ 690 w 43642"/>
                <a:gd name="connsiteY12" fmla="*/ 72278 h 72277"/>
                <a:gd name="connsiteX13" fmla="*/ 690 w 43642"/>
                <a:gd name="connsiteY13" fmla="*/ 25185 h 72277"/>
                <a:gd name="connsiteX14" fmla="*/ 690 w 43642"/>
                <a:gd name="connsiteY14" fmla="*/ 25185 h 72277"/>
                <a:gd name="connsiteX15" fmla="*/ 690 w 43642"/>
                <a:gd name="connsiteY15" fmla="*/ 25185 h 7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2277">
                  <a:moveTo>
                    <a:pt x="690" y="25185"/>
                  </a:moveTo>
                  <a:cubicBezTo>
                    <a:pt x="690" y="14835"/>
                    <a:pt x="517" y="8108"/>
                    <a:pt x="0" y="1897"/>
                  </a:cubicBezTo>
                  <a:lnTo>
                    <a:pt x="18803" y="1897"/>
                  </a:lnTo>
                  <a:lnTo>
                    <a:pt x="19493" y="14835"/>
                  </a:lnTo>
                  <a:lnTo>
                    <a:pt x="20183" y="14835"/>
                  </a:lnTo>
                  <a:cubicBezTo>
                    <a:pt x="23805" y="4485"/>
                    <a:pt x="32258" y="0"/>
                    <a:pt x="39158" y="0"/>
                  </a:cubicBezTo>
                  <a:cubicBezTo>
                    <a:pt x="41055" y="0"/>
                    <a:pt x="42090" y="0"/>
                    <a:pt x="43643" y="517"/>
                  </a:cubicBezTo>
                  <a:lnTo>
                    <a:pt x="43643" y="21045"/>
                  </a:lnTo>
                  <a:cubicBezTo>
                    <a:pt x="42090" y="20873"/>
                    <a:pt x="40193" y="20527"/>
                    <a:pt x="37778" y="20527"/>
                  </a:cubicBezTo>
                  <a:cubicBezTo>
                    <a:pt x="29670" y="20527"/>
                    <a:pt x="24150" y="24840"/>
                    <a:pt x="22943" y="31567"/>
                  </a:cubicBezTo>
                  <a:cubicBezTo>
                    <a:pt x="22770" y="33120"/>
                    <a:pt x="22598" y="34672"/>
                    <a:pt x="22598" y="36570"/>
                  </a:cubicBezTo>
                  <a:lnTo>
                    <a:pt x="22598" y="72278"/>
                  </a:lnTo>
                  <a:lnTo>
                    <a:pt x="690" y="72278"/>
                  </a:lnTo>
                  <a:lnTo>
                    <a:pt x="690" y="25185"/>
                  </a:lnTo>
                  <a:lnTo>
                    <a:pt x="690" y="25185"/>
                  </a:lnTo>
                  <a:lnTo>
                    <a:pt x="690" y="251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399" name="Gráfico 1344">
              <a:extLst>
                <a:ext uri="{FF2B5EF4-FFF2-40B4-BE49-F238E27FC236}">
                  <a16:creationId xmlns:a16="http://schemas.microsoft.com/office/drawing/2014/main" id="{586047A6-BFE1-4800-9F55-0C29DA8B0D23}"/>
                </a:ext>
              </a:extLst>
            </p:cNvPr>
            <p:cNvSpPr/>
            <p:nvPr/>
          </p:nvSpPr>
          <p:spPr>
            <a:xfrm>
              <a:off x="9267349" y="4205568"/>
              <a:ext cx="64170" cy="72450"/>
            </a:xfrm>
            <a:custGeom>
              <a:avLst/>
              <a:gdLst>
                <a:gd name="connsiteX0" fmla="*/ 44160 w 64170"/>
                <a:gd name="connsiteY0" fmla="*/ 71070 h 72450"/>
                <a:gd name="connsiteX1" fmla="*/ 42953 w 64170"/>
                <a:gd name="connsiteY1" fmla="*/ 63998 h 72450"/>
                <a:gd name="connsiteX2" fmla="*/ 42608 w 64170"/>
                <a:gd name="connsiteY2" fmla="*/ 63998 h 72450"/>
                <a:gd name="connsiteX3" fmla="*/ 22598 w 64170"/>
                <a:gd name="connsiteY3" fmla="*/ 72450 h 72450"/>
                <a:gd name="connsiteX4" fmla="*/ 0 w 64170"/>
                <a:gd name="connsiteY4" fmla="*/ 51233 h 72450"/>
                <a:gd name="connsiteX5" fmla="*/ 41055 w 64170"/>
                <a:gd name="connsiteY5" fmla="*/ 24668 h 72450"/>
                <a:gd name="connsiteX6" fmla="*/ 41055 w 64170"/>
                <a:gd name="connsiteY6" fmla="*/ 23633 h 72450"/>
                <a:gd name="connsiteX7" fmla="*/ 28463 w 64170"/>
                <a:gd name="connsiteY7" fmla="*/ 14662 h 72450"/>
                <a:gd name="connsiteX8" fmla="*/ 9143 w 64170"/>
                <a:gd name="connsiteY8" fmla="*/ 20010 h 72450"/>
                <a:gd name="connsiteX9" fmla="*/ 5003 w 64170"/>
                <a:gd name="connsiteY9" fmla="*/ 6210 h 72450"/>
                <a:gd name="connsiteX10" fmla="*/ 32258 w 64170"/>
                <a:gd name="connsiteY10" fmla="*/ 0 h 72450"/>
                <a:gd name="connsiteX11" fmla="*/ 63136 w 64170"/>
                <a:gd name="connsiteY11" fmla="*/ 30015 h 72450"/>
                <a:gd name="connsiteX12" fmla="*/ 63136 w 64170"/>
                <a:gd name="connsiteY12" fmla="*/ 54165 h 72450"/>
                <a:gd name="connsiteX13" fmla="*/ 64170 w 64170"/>
                <a:gd name="connsiteY13" fmla="*/ 70898 h 72450"/>
                <a:gd name="connsiteX14" fmla="*/ 44160 w 64170"/>
                <a:gd name="connsiteY14" fmla="*/ 70898 h 72450"/>
                <a:gd name="connsiteX15" fmla="*/ 44160 w 64170"/>
                <a:gd name="connsiteY15" fmla="*/ 71070 h 72450"/>
                <a:gd name="connsiteX16" fmla="*/ 44160 w 64170"/>
                <a:gd name="connsiteY16" fmla="*/ 71070 h 72450"/>
                <a:gd name="connsiteX17" fmla="*/ 41573 w 64170"/>
                <a:gd name="connsiteY17" fmla="*/ 38467 h 72450"/>
                <a:gd name="connsiteX18" fmla="*/ 21218 w 64170"/>
                <a:gd name="connsiteY18" fmla="*/ 49335 h 72450"/>
                <a:gd name="connsiteX19" fmla="*/ 29843 w 64170"/>
                <a:gd name="connsiteY19" fmla="*/ 57615 h 72450"/>
                <a:gd name="connsiteX20" fmla="*/ 41228 w 64170"/>
                <a:gd name="connsiteY20" fmla="*/ 49680 h 72450"/>
                <a:gd name="connsiteX21" fmla="*/ 41573 w 64170"/>
                <a:gd name="connsiteY21" fmla="*/ 46058 h 72450"/>
                <a:gd name="connsiteX22" fmla="*/ 41573 w 64170"/>
                <a:gd name="connsiteY22" fmla="*/ 38467 h 72450"/>
                <a:gd name="connsiteX23" fmla="*/ 41573 w 64170"/>
                <a:gd name="connsiteY23" fmla="*/ 38467 h 72450"/>
                <a:gd name="connsiteX24" fmla="*/ 41573 w 64170"/>
                <a:gd name="connsiteY24" fmla="*/ 38467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450">
                  <a:moveTo>
                    <a:pt x="44160" y="71070"/>
                  </a:moveTo>
                  <a:lnTo>
                    <a:pt x="42953" y="63998"/>
                  </a:lnTo>
                  <a:lnTo>
                    <a:pt x="42608" y="63998"/>
                  </a:lnTo>
                  <a:cubicBezTo>
                    <a:pt x="38123" y="69518"/>
                    <a:pt x="30878" y="72450"/>
                    <a:pt x="22598" y="72450"/>
                  </a:cubicBezTo>
                  <a:cubicBezTo>
                    <a:pt x="8452" y="72450"/>
                    <a:pt x="0" y="62273"/>
                    <a:pt x="0" y="51233"/>
                  </a:cubicBezTo>
                  <a:cubicBezTo>
                    <a:pt x="0" y="33120"/>
                    <a:pt x="16388" y="24668"/>
                    <a:pt x="41055" y="24668"/>
                  </a:cubicBezTo>
                  <a:lnTo>
                    <a:pt x="41055" y="23633"/>
                  </a:lnTo>
                  <a:cubicBezTo>
                    <a:pt x="41055" y="20010"/>
                    <a:pt x="39158" y="14662"/>
                    <a:pt x="28463" y="14662"/>
                  </a:cubicBezTo>
                  <a:cubicBezTo>
                    <a:pt x="21390" y="14662"/>
                    <a:pt x="13628" y="17077"/>
                    <a:pt x="9143" y="20010"/>
                  </a:cubicBezTo>
                  <a:lnTo>
                    <a:pt x="5003" y="6210"/>
                  </a:lnTo>
                  <a:cubicBezTo>
                    <a:pt x="10005" y="3450"/>
                    <a:pt x="19320" y="0"/>
                    <a:pt x="32258" y="0"/>
                  </a:cubicBezTo>
                  <a:cubicBezTo>
                    <a:pt x="55718" y="0"/>
                    <a:pt x="63136" y="13627"/>
                    <a:pt x="63136" y="30015"/>
                  </a:cubicBezTo>
                  <a:lnTo>
                    <a:pt x="63136" y="54165"/>
                  </a:lnTo>
                  <a:cubicBezTo>
                    <a:pt x="63136" y="60720"/>
                    <a:pt x="63308" y="67103"/>
                    <a:pt x="64170" y="70898"/>
                  </a:cubicBezTo>
                  <a:lnTo>
                    <a:pt x="44160" y="70898"/>
                  </a:lnTo>
                  <a:lnTo>
                    <a:pt x="44160" y="71070"/>
                  </a:lnTo>
                  <a:lnTo>
                    <a:pt x="44160" y="71070"/>
                  </a:lnTo>
                  <a:close/>
                  <a:moveTo>
                    <a:pt x="41573" y="38467"/>
                  </a:moveTo>
                  <a:cubicBezTo>
                    <a:pt x="30015" y="38295"/>
                    <a:pt x="21218" y="41055"/>
                    <a:pt x="21218" y="49335"/>
                  </a:cubicBezTo>
                  <a:cubicBezTo>
                    <a:pt x="21218" y="54855"/>
                    <a:pt x="24840" y="57615"/>
                    <a:pt x="29843" y="57615"/>
                  </a:cubicBezTo>
                  <a:cubicBezTo>
                    <a:pt x="35190" y="57615"/>
                    <a:pt x="39676" y="53992"/>
                    <a:pt x="41228" y="49680"/>
                  </a:cubicBezTo>
                  <a:cubicBezTo>
                    <a:pt x="41400" y="48473"/>
                    <a:pt x="41573" y="47265"/>
                    <a:pt x="41573" y="46058"/>
                  </a:cubicBezTo>
                  <a:lnTo>
                    <a:pt x="41573" y="38467"/>
                  </a:lnTo>
                  <a:lnTo>
                    <a:pt x="41573" y="38467"/>
                  </a:lnTo>
                  <a:lnTo>
                    <a:pt x="41573" y="38467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grpSp>
        <p:nvGrpSpPr>
          <p:cNvPr id="1400" name="Agrupar 1399">
            <a:extLst>
              <a:ext uri="{FF2B5EF4-FFF2-40B4-BE49-F238E27FC236}">
                <a16:creationId xmlns:a16="http://schemas.microsoft.com/office/drawing/2014/main" id="{5F13CBB0-EBE8-4E40-867D-618933B6C052}"/>
              </a:ext>
            </a:extLst>
          </p:cNvPr>
          <p:cNvGrpSpPr/>
          <p:nvPr/>
        </p:nvGrpSpPr>
        <p:grpSpPr>
          <a:xfrm>
            <a:off x="9130697" y="4541083"/>
            <a:ext cx="865438" cy="101603"/>
            <a:chOff x="8963057" y="4574203"/>
            <a:chExt cx="865438" cy="101603"/>
          </a:xfrm>
        </p:grpSpPr>
        <p:sp>
          <p:nvSpPr>
            <p:cNvPr id="1401" name="Gráfico 1344">
              <a:extLst>
                <a:ext uri="{FF2B5EF4-FFF2-40B4-BE49-F238E27FC236}">
                  <a16:creationId xmlns:a16="http://schemas.microsoft.com/office/drawing/2014/main" id="{1893FEB1-4EE7-4989-A3A1-F287DF3777C1}"/>
                </a:ext>
              </a:extLst>
            </p:cNvPr>
            <p:cNvSpPr/>
            <p:nvPr/>
          </p:nvSpPr>
          <p:spPr>
            <a:xfrm>
              <a:off x="8963057" y="4578343"/>
              <a:ext cx="74520" cy="95220"/>
            </a:xfrm>
            <a:custGeom>
              <a:avLst/>
              <a:gdLst>
                <a:gd name="connsiteX0" fmla="*/ 26220 w 74520"/>
                <a:gd name="connsiteY0" fmla="*/ 17940 h 95220"/>
                <a:gd name="connsiteX1" fmla="*/ 0 w 74520"/>
                <a:gd name="connsiteY1" fmla="*/ 17940 h 95220"/>
                <a:gd name="connsiteX2" fmla="*/ 0 w 74520"/>
                <a:gd name="connsiteY2" fmla="*/ 0 h 95220"/>
                <a:gd name="connsiteX3" fmla="*/ 74520 w 74520"/>
                <a:gd name="connsiteY3" fmla="*/ 0 h 95220"/>
                <a:gd name="connsiteX4" fmla="*/ 74520 w 74520"/>
                <a:gd name="connsiteY4" fmla="*/ 17940 h 95220"/>
                <a:gd name="connsiteX5" fmla="*/ 48127 w 74520"/>
                <a:gd name="connsiteY5" fmla="*/ 17940 h 95220"/>
                <a:gd name="connsiteX6" fmla="*/ 48127 w 74520"/>
                <a:gd name="connsiteY6" fmla="*/ 95221 h 95220"/>
                <a:gd name="connsiteX7" fmla="*/ 26220 w 74520"/>
                <a:gd name="connsiteY7" fmla="*/ 95221 h 95220"/>
                <a:gd name="connsiteX8" fmla="*/ 26220 w 74520"/>
                <a:gd name="connsiteY8" fmla="*/ 1794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20" h="95220">
                  <a:moveTo>
                    <a:pt x="26220" y="17940"/>
                  </a:moveTo>
                  <a:lnTo>
                    <a:pt x="0" y="17940"/>
                  </a:lnTo>
                  <a:lnTo>
                    <a:pt x="0" y="0"/>
                  </a:lnTo>
                  <a:lnTo>
                    <a:pt x="74520" y="0"/>
                  </a:lnTo>
                  <a:lnTo>
                    <a:pt x="74520" y="17940"/>
                  </a:lnTo>
                  <a:lnTo>
                    <a:pt x="48127" y="17940"/>
                  </a:lnTo>
                  <a:lnTo>
                    <a:pt x="48127" y="95221"/>
                  </a:lnTo>
                  <a:lnTo>
                    <a:pt x="26220" y="95221"/>
                  </a:lnTo>
                  <a:lnTo>
                    <a:pt x="26220" y="1794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2" name="Gráfico 1344">
              <a:extLst>
                <a:ext uri="{FF2B5EF4-FFF2-40B4-BE49-F238E27FC236}">
                  <a16:creationId xmlns:a16="http://schemas.microsoft.com/office/drawing/2014/main" id="{B12D1023-7471-4F5D-9FD7-B2A938A18BAA}"/>
                </a:ext>
              </a:extLst>
            </p:cNvPr>
            <p:cNvSpPr/>
            <p:nvPr/>
          </p:nvSpPr>
          <p:spPr>
            <a:xfrm>
              <a:off x="9047928" y="4578343"/>
              <a:ext cx="22770" cy="95220"/>
            </a:xfrm>
            <a:custGeom>
              <a:avLst/>
              <a:gdLst>
                <a:gd name="connsiteX0" fmla="*/ 0 w 22770"/>
                <a:gd name="connsiteY0" fmla="*/ 0 h 95220"/>
                <a:gd name="connsiteX1" fmla="*/ 22770 w 22770"/>
                <a:gd name="connsiteY1" fmla="*/ 0 h 95220"/>
                <a:gd name="connsiteX2" fmla="*/ 22770 w 22770"/>
                <a:gd name="connsiteY2" fmla="*/ 95221 h 95220"/>
                <a:gd name="connsiteX3" fmla="*/ 0 w 22770"/>
                <a:gd name="connsiteY3" fmla="*/ 95221 h 95220"/>
                <a:gd name="connsiteX4" fmla="*/ 0 w 22770"/>
                <a:gd name="connsiteY4" fmla="*/ 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0" h="95220">
                  <a:moveTo>
                    <a:pt x="0" y="0"/>
                  </a:moveTo>
                  <a:lnTo>
                    <a:pt x="22770" y="0"/>
                  </a:lnTo>
                  <a:lnTo>
                    <a:pt x="2277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3" name="Gráfico 1344">
              <a:extLst>
                <a:ext uri="{FF2B5EF4-FFF2-40B4-BE49-F238E27FC236}">
                  <a16:creationId xmlns:a16="http://schemas.microsoft.com/office/drawing/2014/main" id="{E2AFB493-2D87-4908-AE86-1E79D40C1D50}"/>
                </a:ext>
              </a:extLst>
            </p:cNvPr>
            <p:cNvSpPr/>
            <p:nvPr/>
          </p:nvSpPr>
          <p:spPr>
            <a:xfrm>
              <a:off x="9113823" y="4576446"/>
              <a:ext cx="66240" cy="99360"/>
            </a:xfrm>
            <a:custGeom>
              <a:avLst/>
              <a:gdLst>
                <a:gd name="connsiteX0" fmla="*/ 4657 w 66240"/>
                <a:gd name="connsiteY0" fmla="*/ 75383 h 99360"/>
                <a:gd name="connsiteX1" fmla="*/ 28807 w 66240"/>
                <a:gd name="connsiteY1" fmla="*/ 81421 h 99360"/>
                <a:gd name="connsiteX2" fmla="*/ 43988 w 66240"/>
                <a:gd name="connsiteY2" fmla="*/ 70898 h 99360"/>
                <a:gd name="connsiteX3" fmla="*/ 27945 w 66240"/>
                <a:gd name="connsiteY3" fmla="*/ 57443 h 99360"/>
                <a:gd name="connsiteX4" fmla="*/ 1552 w 66240"/>
                <a:gd name="connsiteY4" fmla="*/ 28980 h 99360"/>
                <a:gd name="connsiteX5" fmla="*/ 37950 w 66240"/>
                <a:gd name="connsiteY5" fmla="*/ 0 h 99360"/>
                <a:gd name="connsiteX6" fmla="*/ 62618 w 66240"/>
                <a:gd name="connsiteY6" fmla="*/ 5002 h 99360"/>
                <a:gd name="connsiteX7" fmla="*/ 57615 w 66240"/>
                <a:gd name="connsiteY7" fmla="*/ 22598 h 99360"/>
                <a:gd name="connsiteX8" fmla="*/ 37432 w 66240"/>
                <a:gd name="connsiteY8" fmla="*/ 18112 h 99360"/>
                <a:gd name="connsiteX9" fmla="*/ 23288 w 66240"/>
                <a:gd name="connsiteY9" fmla="*/ 27255 h 99360"/>
                <a:gd name="connsiteX10" fmla="*/ 41228 w 66240"/>
                <a:gd name="connsiteY10" fmla="*/ 40710 h 99360"/>
                <a:gd name="connsiteX11" fmla="*/ 66240 w 66240"/>
                <a:gd name="connsiteY11" fmla="*/ 69518 h 99360"/>
                <a:gd name="connsiteX12" fmla="*/ 27428 w 66240"/>
                <a:gd name="connsiteY12" fmla="*/ 99360 h 99360"/>
                <a:gd name="connsiteX13" fmla="*/ 0 w 66240"/>
                <a:gd name="connsiteY13" fmla="*/ 93495 h 99360"/>
                <a:gd name="connsiteX14" fmla="*/ 4657 w 66240"/>
                <a:gd name="connsiteY14" fmla="*/ 75383 h 99360"/>
                <a:gd name="connsiteX15" fmla="*/ 4657 w 66240"/>
                <a:gd name="connsiteY15" fmla="*/ 75383 h 99360"/>
                <a:gd name="connsiteX16" fmla="*/ 4657 w 66240"/>
                <a:gd name="connsiteY16" fmla="*/ 75383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40" h="99360">
                  <a:moveTo>
                    <a:pt x="4657" y="75383"/>
                  </a:moveTo>
                  <a:cubicBezTo>
                    <a:pt x="10522" y="78315"/>
                    <a:pt x="19493" y="81421"/>
                    <a:pt x="28807" y="81421"/>
                  </a:cubicBezTo>
                  <a:cubicBezTo>
                    <a:pt x="38813" y="81421"/>
                    <a:pt x="43988" y="77280"/>
                    <a:pt x="43988" y="70898"/>
                  </a:cubicBezTo>
                  <a:cubicBezTo>
                    <a:pt x="43988" y="64860"/>
                    <a:pt x="39503" y="61410"/>
                    <a:pt x="27945" y="57443"/>
                  </a:cubicBezTo>
                  <a:cubicBezTo>
                    <a:pt x="11903" y="51923"/>
                    <a:pt x="1552" y="42780"/>
                    <a:pt x="1552" y="28980"/>
                  </a:cubicBezTo>
                  <a:cubicBezTo>
                    <a:pt x="1552" y="12420"/>
                    <a:pt x="15352" y="0"/>
                    <a:pt x="37950" y="0"/>
                  </a:cubicBezTo>
                  <a:cubicBezTo>
                    <a:pt x="48818" y="0"/>
                    <a:pt x="56753" y="2415"/>
                    <a:pt x="62618" y="5002"/>
                  </a:cubicBezTo>
                  <a:lnTo>
                    <a:pt x="57615" y="22598"/>
                  </a:lnTo>
                  <a:cubicBezTo>
                    <a:pt x="53820" y="20700"/>
                    <a:pt x="46920" y="18112"/>
                    <a:pt x="37432" y="18112"/>
                  </a:cubicBezTo>
                  <a:cubicBezTo>
                    <a:pt x="27945" y="18112"/>
                    <a:pt x="23288" y="22425"/>
                    <a:pt x="23288" y="27255"/>
                  </a:cubicBezTo>
                  <a:cubicBezTo>
                    <a:pt x="23288" y="33293"/>
                    <a:pt x="28807" y="36053"/>
                    <a:pt x="41228" y="40710"/>
                  </a:cubicBezTo>
                  <a:cubicBezTo>
                    <a:pt x="58133" y="46920"/>
                    <a:pt x="66240" y="55890"/>
                    <a:pt x="66240" y="69518"/>
                  </a:cubicBezTo>
                  <a:cubicBezTo>
                    <a:pt x="66240" y="85905"/>
                    <a:pt x="53820" y="99360"/>
                    <a:pt x="27428" y="99360"/>
                  </a:cubicBezTo>
                  <a:cubicBezTo>
                    <a:pt x="16215" y="99360"/>
                    <a:pt x="5520" y="96600"/>
                    <a:pt x="0" y="93495"/>
                  </a:cubicBezTo>
                  <a:lnTo>
                    <a:pt x="4657" y="75383"/>
                  </a:lnTo>
                  <a:lnTo>
                    <a:pt x="4657" y="75383"/>
                  </a:lnTo>
                  <a:lnTo>
                    <a:pt x="4657" y="7538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4" name="Gráfico 1344">
              <a:extLst>
                <a:ext uri="{FF2B5EF4-FFF2-40B4-BE49-F238E27FC236}">
                  <a16:creationId xmlns:a16="http://schemas.microsoft.com/office/drawing/2014/main" id="{50FDC0E2-E812-4DB4-9B7D-6F78A47ED1D7}"/>
                </a:ext>
              </a:extLst>
            </p:cNvPr>
            <p:cNvSpPr/>
            <p:nvPr/>
          </p:nvSpPr>
          <p:spPr>
            <a:xfrm>
              <a:off x="9190931" y="4603011"/>
              <a:ext cx="62100" cy="72450"/>
            </a:xfrm>
            <a:custGeom>
              <a:avLst/>
              <a:gdLst>
                <a:gd name="connsiteX0" fmla="*/ 42953 w 62100"/>
                <a:gd name="connsiteY0" fmla="*/ 71070 h 72450"/>
                <a:gd name="connsiteX1" fmla="*/ 41745 w 62100"/>
                <a:gd name="connsiteY1" fmla="*/ 63998 h 72450"/>
                <a:gd name="connsiteX2" fmla="*/ 41400 w 62100"/>
                <a:gd name="connsiteY2" fmla="*/ 63998 h 72450"/>
                <a:gd name="connsiteX3" fmla="*/ 22080 w 62100"/>
                <a:gd name="connsiteY3" fmla="*/ 72451 h 72450"/>
                <a:gd name="connsiteX4" fmla="*/ 0 w 62100"/>
                <a:gd name="connsiteY4" fmla="*/ 51233 h 72450"/>
                <a:gd name="connsiteX5" fmla="*/ 40020 w 62100"/>
                <a:gd name="connsiteY5" fmla="*/ 24668 h 72450"/>
                <a:gd name="connsiteX6" fmla="*/ 40020 w 62100"/>
                <a:gd name="connsiteY6" fmla="*/ 23633 h 72450"/>
                <a:gd name="connsiteX7" fmla="*/ 27600 w 62100"/>
                <a:gd name="connsiteY7" fmla="*/ 14663 h 72450"/>
                <a:gd name="connsiteX8" fmla="*/ 8798 w 62100"/>
                <a:gd name="connsiteY8" fmla="*/ 20010 h 72450"/>
                <a:gd name="connsiteX9" fmla="*/ 4830 w 62100"/>
                <a:gd name="connsiteY9" fmla="*/ 6210 h 72450"/>
                <a:gd name="connsiteX10" fmla="*/ 31223 w 62100"/>
                <a:gd name="connsiteY10" fmla="*/ 0 h 72450"/>
                <a:gd name="connsiteX11" fmla="*/ 61066 w 62100"/>
                <a:gd name="connsiteY11" fmla="*/ 30016 h 72450"/>
                <a:gd name="connsiteX12" fmla="*/ 61066 w 62100"/>
                <a:gd name="connsiteY12" fmla="*/ 54166 h 72450"/>
                <a:gd name="connsiteX13" fmla="*/ 62101 w 62100"/>
                <a:gd name="connsiteY13" fmla="*/ 70898 h 72450"/>
                <a:gd name="connsiteX14" fmla="*/ 42953 w 62100"/>
                <a:gd name="connsiteY14" fmla="*/ 70898 h 72450"/>
                <a:gd name="connsiteX15" fmla="*/ 42953 w 62100"/>
                <a:gd name="connsiteY15" fmla="*/ 71070 h 72450"/>
                <a:gd name="connsiteX16" fmla="*/ 42953 w 62100"/>
                <a:gd name="connsiteY16" fmla="*/ 71070 h 72450"/>
                <a:gd name="connsiteX17" fmla="*/ 40538 w 62100"/>
                <a:gd name="connsiteY17" fmla="*/ 38468 h 72450"/>
                <a:gd name="connsiteX18" fmla="*/ 20700 w 62100"/>
                <a:gd name="connsiteY18" fmla="*/ 49336 h 72450"/>
                <a:gd name="connsiteX19" fmla="*/ 28980 w 62100"/>
                <a:gd name="connsiteY19" fmla="*/ 57615 h 72450"/>
                <a:gd name="connsiteX20" fmla="*/ 40020 w 62100"/>
                <a:gd name="connsiteY20" fmla="*/ 49680 h 72450"/>
                <a:gd name="connsiteX21" fmla="*/ 40365 w 62100"/>
                <a:gd name="connsiteY21" fmla="*/ 46058 h 72450"/>
                <a:gd name="connsiteX22" fmla="*/ 40365 w 62100"/>
                <a:gd name="connsiteY22" fmla="*/ 38468 h 72450"/>
                <a:gd name="connsiteX23" fmla="*/ 40538 w 62100"/>
                <a:gd name="connsiteY23" fmla="*/ 38468 h 72450"/>
                <a:gd name="connsiteX24" fmla="*/ 40538 w 62100"/>
                <a:gd name="connsiteY24" fmla="*/ 3846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100" h="72450">
                  <a:moveTo>
                    <a:pt x="42953" y="71070"/>
                  </a:moveTo>
                  <a:lnTo>
                    <a:pt x="41745" y="63998"/>
                  </a:lnTo>
                  <a:lnTo>
                    <a:pt x="41400" y="63998"/>
                  </a:lnTo>
                  <a:cubicBezTo>
                    <a:pt x="37088" y="69518"/>
                    <a:pt x="30015" y="72451"/>
                    <a:pt x="22080" y="72451"/>
                  </a:cubicBezTo>
                  <a:cubicBezTo>
                    <a:pt x="8280" y="72451"/>
                    <a:pt x="0" y="62273"/>
                    <a:pt x="0" y="51233"/>
                  </a:cubicBezTo>
                  <a:cubicBezTo>
                    <a:pt x="0" y="33120"/>
                    <a:pt x="15870" y="24495"/>
                    <a:pt x="40020" y="24668"/>
                  </a:cubicBezTo>
                  <a:lnTo>
                    <a:pt x="40020" y="23633"/>
                  </a:lnTo>
                  <a:cubicBezTo>
                    <a:pt x="40020" y="20010"/>
                    <a:pt x="38123" y="14663"/>
                    <a:pt x="27600" y="14663"/>
                  </a:cubicBezTo>
                  <a:cubicBezTo>
                    <a:pt x="20700" y="14663"/>
                    <a:pt x="13282" y="17078"/>
                    <a:pt x="8798" y="20010"/>
                  </a:cubicBezTo>
                  <a:lnTo>
                    <a:pt x="4830" y="6210"/>
                  </a:lnTo>
                  <a:cubicBezTo>
                    <a:pt x="9660" y="3623"/>
                    <a:pt x="18803" y="0"/>
                    <a:pt x="31223" y="0"/>
                  </a:cubicBezTo>
                  <a:cubicBezTo>
                    <a:pt x="53993" y="0"/>
                    <a:pt x="61066" y="13628"/>
                    <a:pt x="61066" y="30016"/>
                  </a:cubicBezTo>
                  <a:lnTo>
                    <a:pt x="61066" y="54166"/>
                  </a:lnTo>
                  <a:cubicBezTo>
                    <a:pt x="61066" y="60721"/>
                    <a:pt x="61238" y="67103"/>
                    <a:pt x="62101" y="70898"/>
                  </a:cubicBezTo>
                  <a:lnTo>
                    <a:pt x="42953" y="70898"/>
                  </a:lnTo>
                  <a:lnTo>
                    <a:pt x="42953" y="71070"/>
                  </a:lnTo>
                  <a:lnTo>
                    <a:pt x="42953" y="71070"/>
                  </a:lnTo>
                  <a:close/>
                  <a:moveTo>
                    <a:pt x="40538" y="38468"/>
                  </a:moveTo>
                  <a:cubicBezTo>
                    <a:pt x="29498" y="38295"/>
                    <a:pt x="20700" y="41055"/>
                    <a:pt x="20700" y="49336"/>
                  </a:cubicBezTo>
                  <a:cubicBezTo>
                    <a:pt x="20700" y="54856"/>
                    <a:pt x="24323" y="57615"/>
                    <a:pt x="28980" y="57615"/>
                  </a:cubicBezTo>
                  <a:cubicBezTo>
                    <a:pt x="34155" y="57615"/>
                    <a:pt x="38640" y="54166"/>
                    <a:pt x="40020" y="49680"/>
                  </a:cubicBezTo>
                  <a:cubicBezTo>
                    <a:pt x="40193" y="48645"/>
                    <a:pt x="40365" y="47266"/>
                    <a:pt x="40365" y="46058"/>
                  </a:cubicBezTo>
                  <a:lnTo>
                    <a:pt x="40365" y="38468"/>
                  </a:lnTo>
                  <a:lnTo>
                    <a:pt x="40538" y="38468"/>
                  </a:lnTo>
                  <a:lnTo>
                    <a:pt x="40538" y="3846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5" name="Gráfico 1344">
              <a:extLst>
                <a:ext uri="{FF2B5EF4-FFF2-40B4-BE49-F238E27FC236}">
                  <a16:creationId xmlns:a16="http://schemas.microsoft.com/office/drawing/2014/main" id="{5C568662-7AEA-44BA-9E47-6307C562F3BD}"/>
                </a:ext>
              </a:extLst>
            </p:cNvPr>
            <p:cNvSpPr/>
            <p:nvPr/>
          </p:nvSpPr>
          <p:spPr>
            <a:xfrm>
              <a:off x="9269419" y="4603183"/>
              <a:ext cx="66240" cy="70380"/>
            </a:xfrm>
            <a:custGeom>
              <a:avLst/>
              <a:gdLst>
                <a:gd name="connsiteX0" fmla="*/ 690 w 66240"/>
                <a:gd name="connsiteY0" fmla="*/ 23460 h 70380"/>
                <a:gd name="connsiteX1" fmla="*/ 0 w 66240"/>
                <a:gd name="connsiteY1" fmla="*/ 1552 h 70380"/>
                <a:gd name="connsiteX2" fmla="*/ 18630 w 66240"/>
                <a:gd name="connsiteY2" fmla="*/ 1552 h 70380"/>
                <a:gd name="connsiteX3" fmla="*/ 19665 w 66240"/>
                <a:gd name="connsiteY3" fmla="*/ 11040 h 70380"/>
                <a:gd name="connsiteX4" fmla="*/ 20010 w 66240"/>
                <a:gd name="connsiteY4" fmla="*/ 11040 h 70380"/>
                <a:gd name="connsiteX5" fmla="*/ 41400 w 66240"/>
                <a:gd name="connsiteY5" fmla="*/ 0 h 70380"/>
                <a:gd name="connsiteX6" fmla="*/ 66240 w 66240"/>
                <a:gd name="connsiteY6" fmla="*/ 29670 h 70380"/>
                <a:gd name="connsiteX7" fmla="*/ 66240 w 66240"/>
                <a:gd name="connsiteY7" fmla="*/ 70380 h 70380"/>
                <a:gd name="connsiteX8" fmla="*/ 44850 w 66240"/>
                <a:gd name="connsiteY8" fmla="*/ 70380 h 70380"/>
                <a:gd name="connsiteX9" fmla="*/ 44850 w 66240"/>
                <a:gd name="connsiteY9" fmla="*/ 32085 h 70380"/>
                <a:gd name="connsiteX10" fmla="*/ 33983 w 66240"/>
                <a:gd name="connsiteY10" fmla="*/ 17077 h 70380"/>
                <a:gd name="connsiteX11" fmla="*/ 22943 w 66240"/>
                <a:gd name="connsiteY11" fmla="*/ 25185 h 70380"/>
                <a:gd name="connsiteX12" fmla="*/ 22080 w 66240"/>
                <a:gd name="connsiteY12" fmla="*/ 30533 h 70380"/>
                <a:gd name="connsiteX13" fmla="*/ 22080 w 66240"/>
                <a:gd name="connsiteY13" fmla="*/ 70208 h 70380"/>
                <a:gd name="connsiteX14" fmla="*/ 690 w 66240"/>
                <a:gd name="connsiteY14" fmla="*/ 70208 h 70380"/>
                <a:gd name="connsiteX15" fmla="*/ 690 w 66240"/>
                <a:gd name="connsiteY15" fmla="*/ 23460 h 70380"/>
                <a:gd name="connsiteX16" fmla="*/ 690 w 66240"/>
                <a:gd name="connsiteY16" fmla="*/ 23460 h 70380"/>
                <a:gd name="connsiteX17" fmla="*/ 690 w 66240"/>
                <a:gd name="connsiteY17" fmla="*/ 23460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0380">
                  <a:moveTo>
                    <a:pt x="690" y="23460"/>
                  </a:moveTo>
                  <a:cubicBezTo>
                    <a:pt x="690" y="14835"/>
                    <a:pt x="345" y="7590"/>
                    <a:pt x="0" y="1552"/>
                  </a:cubicBezTo>
                  <a:lnTo>
                    <a:pt x="18630" y="1552"/>
                  </a:lnTo>
                  <a:lnTo>
                    <a:pt x="19665" y="11040"/>
                  </a:lnTo>
                  <a:lnTo>
                    <a:pt x="20010" y="11040"/>
                  </a:lnTo>
                  <a:cubicBezTo>
                    <a:pt x="22770" y="6555"/>
                    <a:pt x="30016" y="0"/>
                    <a:pt x="41400" y="0"/>
                  </a:cubicBezTo>
                  <a:cubicBezTo>
                    <a:pt x="55545" y="0"/>
                    <a:pt x="66240" y="9315"/>
                    <a:pt x="66240" y="29670"/>
                  </a:cubicBezTo>
                  <a:lnTo>
                    <a:pt x="66240" y="70380"/>
                  </a:lnTo>
                  <a:lnTo>
                    <a:pt x="44850" y="70380"/>
                  </a:lnTo>
                  <a:lnTo>
                    <a:pt x="44850" y="32085"/>
                  </a:lnTo>
                  <a:cubicBezTo>
                    <a:pt x="44850" y="23288"/>
                    <a:pt x="41746" y="17077"/>
                    <a:pt x="33983" y="17077"/>
                  </a:cubicBezTo>
                  <a:cubicBezTo>
                    <a:pt x="28118" y="17077"/>
                    <a:pt x="24495" y="21045"/>
                    <a:pt x="22943" y="25185"/>
                  </a:cubicBezTo>
                  <a:cubicBezTo>
                    <a:pt x="22253" y="26393"/>
                    <a:pt x="22080" y="28635"/>
                    <a:pt x="22080" y="30533"/>
                  </a:cubicBezTo>
                  <a:lnTo>
                    <a:pt x="22080" y="70208"/>
                  </a:lnTo>
                  <a:lnTo>
                    <a:pt x="690" y="70208"/>
                  </a:lnTo>
                  <a:lnTo>
                    <a:pt x="690" y="23460"/>
                  </a:lnTo>
                  <a:lnTo>
                    <a:pt x="690" y="23460"/>
                  </a:lnTo>
                  <a:lnTo>
                    <a:pt x="690" y="234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6" name="Gráfico 1344">
              <a:extLst>
                <a:ext uri="{FF2B5EF4-FFF2-40B4-BE49-F238E27FC236}">
                  <a16:creationId xmlns:a16="http://schemas.microsoft.com/office/drawing/2014/main" id="{0C8CED3B-DEF1-4727-9E47-473FB0502CEE}"/>
                </a:ext>
              </a:extLst>
            </p:cNvPr>
            <p:cNvSpPr/>
            <p:nvPr/>
          </p:nvSpPr>
          <p:spPr>
            <a:xfrm>
              <a:off x="9346010" y="4584554"/>
              <a:ext cx="45540" cy="90907"/>
            </a:xfrm>
            <a:custGeom>
              <a:avLst/>
              <a:gdLst>
                <a:gd name="connsiteX0" fmla="*/ 30016 w 45540"/>
                <a:gd name="connsiteY0" fmla="*/ 0 h 90907"/>
                <a:gd name="connsiteX1" fmla="*/ 30016 w 45540"/>
                <a:gd name="connsiteY1" fmla="*/ 19838 h 90907"/>
                <a:gd name="connsiteX2" fmla="*/ 45541 w 45540"/>
                <a:gd name="connsiteY2" fmla="*/ 19838 h 90907"/>
                <a:gd name="connsiteX3" fmla="*/ 45541 w 45540"/>
                <a:gd name="connsiteY3" fmla="*/ 35880 h 90907"/>
                <a:gd name="connsiteX4" fmla="*/ 30016 w 45540"/>
                <a:gd name="connsiteY4" fmla="*/ 35880 h 90907"/>
                <a:gd name="connsiteX5" fmla="*/ 30016 w 45540"/>
                <a:gd name="connsiteY5" fmla="*/ 61065 h 90907"/>
                <a:gd name="connsiteX6" fmla="*/ 38468 w 45540"/>
                <a:gd name="connsiteY6" fmla="*/ 73313 h 90907"/>
                <a:gd name="connsiteX7" fmla="*/ 44850 w 45540"/>
                <a:gd name="connsiteY7" fmla="*/ 72623 h 90907"/>
                <a:gd name="connsiteX8" fmla="*/ 45023 w 45540"/>
                <a:gd name="connsiteY8" fmla="*/ 89010 h 90907"/>
                <a:gd name="connsiteX9" fmla="*/ 31051 w 45540"/>
                <a:gd name="connsiteY9" fmla="*/ 90908 h 90907"/>
                <a:gd name="connsiteX10" fmla="*/ 15008 w 45540"/>
                <a:gd name="connsiteY10" fmla="*/ 84870 h 90907"/>
                <a:gd name="connsiteX11" fmla="*/ 9143 w 45540"/>
                <a:gd name="connsiteY11" fmla="*/ 64170 h 90907"/>
                <a:gd name="connsiteX12" fmla="*/ 9143 w 45540"/>
                <a:gd name="connsiteY12" fmla="*/ 35707 h 90907"/>
                <a:gd name="connsiteX13" fmla="*/ 0 w 45540"/>
                <a:gd name="connsiteY13" fmla="*/ 35707 h 90907"/>
                <a:gd name="connsiteX14" fmla="*/ 0 w 45540"/>
                <a:gd name="connsiteY14" fmla="*/ 19665 h 90907"/>
                <a:gd name="connsiteX15" fmla="*/ 9143 w 45540"/>
                <a:gd name="connsiteY15" fmla="*/ 19665 h 90907"/>
                <a:gd name="connsiteX16" fmla="*/ 9143 w 45540"/>
                <a:gd name="connsiteY16" fmla="*/ 4657 h 90907"/>
                <a:gd name="connsiteX17" fmla="*/ 30016 w 45540"/>
                <a:gd name="connsiteY17" fmla="*/ 0 h 90907"/>
                <a:gd name="connsiteX18" fmla="*/ 30016 w 45540"/>
                <a:gd name="connsiteY18" fmla="*/ 0 h 90907"/>
                <a:gd name="connsiteX19" fmla="*/ 30016 w 45540"/>
                <a:gd name="connsiteY19" fmla="*/ 0 h 9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540" h="90907">
                  <a:moveTo>
                    <a:pt x="30016" y="0"/>
                  </a:moveTo>
                  <a:lnTo>
                    <a:pt x="30016" y="19838"/>
                  </a:lnTo>
                  <a:lnTo>
                    <a:pt x="45541" y="19838"/>
                  </a:lnTo>
                  <a:lnTo>
                    <a:pt x="45541" y="35880"/>
                  </a:lnTo>
                  <a:lnTo>
                    <a:pt x="30016" y="35880"/>
                  </a:lnTo>
                  <a:lnTo>
                    <a:pt x="30016" y="61065"/>
                  </a:lnTo>
                  <a:cubicBezTo>
                    <a:pt x="30016" y="69690"/>
                    <a:pt x="31913" y="73313"/>
                    <a:pt x="38468" y="73313"/>
                  </a:cubicBezTo>
                  <a:cubicBezTo>
                    <a:pt x="41228" y="73313"/>
                    <a:pt x="43298" y="72968"/>
                    <a:pt x="44850" y="72623"/>
                  </a:cubicBezTo>
                  <a:lnTo>
                    <a:pt x="45023" y="89010"/>
                  </a:lnTo>
                  <a:cubicBezTo>
                    <a:pt x="42263" y="90045"/>
                    <a:pt x="37260" y="90908"/>
                    <a:pt x="31051" y="90908"/>
                  </a:cubicBezTo>
                  <a:cubicBezTo>
                    <a:pt x="23978" y="90908"/>
                    <a:pt x="18285" y="88493"/>
                    <a:pt x="15008" y="84870"/>
                  </a:cubicBezTo>
                  <a:cubicBezTo>
                    <a:pt x="11040" y="80730"/>
                    <a:pt x="9143" y="74003"/>
                    <a:pt x="9143" y="64170"/>
                  </a:cubicBezTo>
                  <a:lnTo>
                    <a:pt x="9143" y="35707"/>
                  </a:lnTo>
                  <a:lnTo>
                    <a:pt x="0" y="35707"/>
                  </a:lnTo>
                  <a:lnTo>
                    <a:pt x="0" y="19665"/>
                  </a:lnTo>
                  <a:lnTo>
                    <a:pt x="9143" y="19665"/>
                  </a:lnTo>
                  <a:lnTo>
                    <a:pt x="9143" y="4657"/>
                  </a:lnTo>
                  <a:lnTo>
                    <a:pt x="30016" y="0"/>
                  </a:lnTo>
                  <a:lnTo>
                    <a:pt x="30016" y="0"/>
                  </a:lnTo>
                  <a:lnTo>
                    <a:pt x="30016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7" name="Gráfico 1344">
              <a:extLst>
                <a:ext uri="{FF2B5EF4-FFF2-40B4-BE49-F238E27FC236}">
                  <a16:creationId xmlns:a16="http://schemas.microsoft.com/office/drawing/2014/main" id="{0B1001D7-9ECA-46D2-87BD-CCD412B423F2}"/>
                </a:ext>
              </a:extLst>
            </p:cNvPr>
            <p:cNvSpPr/>
            <p:nvPr/>
          </p:nvSpPr>
          <p:spPr>
            <a:xfrm>
              <a:off x="9400176" y="4603011"/>
              <a:ext cx="63997" cy="72450"/>
            </a:xfrm>
            <a:custGeom>
              <a:avLst/>
              <a:gdLst>
                <a:gd name="connsiteX0" fmla="*/ 43988 w 63997"/>
                <a:gd name="connsiteY0" fmla="*/ 71070 h 72450"/>
                <a:gd name="connsiteX1" fmla="*/ 42780 w 63997"/>
                <a:gd name="connsiteY1" fmla="*/ 63998 h 72450"/>
                <a:gd name="connsiteX2" fmla="*/ 42435 w 63997"/>
                <a:gd name="connsiteY2" fmla="*/ 63998 h 72450"/>
                <a:gd name="connsiteX3" fmla="*/ 22598 w 63997"/>
                <a:gd name="connsiteY3" fmla="*/ 72451 h 72450"/>
                <a:gd name="connsiteX4" fmla="*/ 0 w 63997"/>
                <a:gd name="connsiteY4" fmla="*/ 51233 h 72450"/>
                <a:gd name="connsiteX5" fmla="*/ 41055 w 63997"/>
                <a:gd name="connsiteY5" fmla="*/ 24668 h 72450"/>
                <a:gd name="connsiteX6" fmla="*/ 41055 w 63997"/>
                <a:gd name="connsiteY6" fmla="*/ 23633 h 72450"/>
                <a:gd name="connsiteX7" fmla="*/ 28463 w 63997"/>
                <a:gd name="connsiteY7" fmla="*/ 14663 h 72450"/>
                <a:gd name="connsiteX8" fmla="*/ 9143 w 63997"/>
                <a:gd name="connsiteY8" fmla="*/ 20010 h 72450"/>
                <a:gd name="connsiteX9" fmla="*/ 5002 w 63997"/>
                <a:gd name="connsiteY9" fmla="*/ 6210 h 72450"/>
                <a:gd name="connsiteX10" fmla="*/ 32085 w 63997"/>
                <a:gd name="connsiteY10" fmla="*/ 0 h 72450"/>
                <a:gd name="connsiteX11" fmla="*/ 62963 w 63997"/>
                <a:gd name="connsiteY11" fmla="*/ 30016 h 72450"/>
                <a:gd name="connsiteX12" fmla="*/ 62963 w 63997"/>
                <a:gd name="connsiteY12" fmla="*/ 54166 h 72450"/>
                <a:gd name="connsiteX13" fmla="*/ 63998 w 63997"/>
                <a:gd name="connsiteY13" fmla="*/ 70898 h 72450"/>
                <a:gd name="connsiteX14" fmla="*/ 43988 w 63997"/>
                <a:gd name="connsiteY14" fmla="*/ 70898 h 72450"/>
                <a:gd name="connsiteX15" fmla="*/ 43988 w 63997"/>
                <a:gd name="connsiteY15" fmla="*/ 71070 h 72450"/>
                <a:gd name="connsiteX16" fmla="*/ 43988 w 63997"/>
                <a:gd name="connsiteY16" fmla="*/ 71070 h 72450"/>
                <a:gd name="connsiteX17" fmla="*/ 41400 w 63997"/>
                <a:gd name="connsiteY17" fmla="*/ 38468 h 72450"/>
                <a:gd name="connsiteX18" fmla="*/ 21045 w 63997"/>
                <a:gd name="connsiteY18" fmla="*/ 49336 h 72450"/>
                <a:gd name="connsiteX19" fmla="*/ 29670 w 63997"/>
                <a:gd name="connsiteY19" fmla="*/ 57615 h 72450"/>
                <a:gd name="connsiteX20" fmla="*/ 41055 w 63997"/>
                <a:gd name="connsiteY20" fmla="*/ 49680 h 72450"/>
                <a:gd name="connsiteX21" fmla="*/ 41400 w 63997"/>
                <a:gd name="connsiteY21" fmla="*/ 46058 h 72450"/>
                <a:gd name="connsiteX22" fmla="*/ 41400 w 63997"/>
                <a:gd name="connsiteY22" fmla="*/ 38468 h 72450"/>
                <a:gd name="connsiteX23" fmla="*/ 41400 w 63997"/>
                <a:gd name="connsiteY23" fmla="*/ 38468 h 72450"/>
                <a:gd name="connsiteX24" fmla="*/ 41400 w 63997"/>
                <a:gd name="connsiteY24" fmla="*/ 3846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997" h="72450">
                  <a:moveTo>
                    <a:pt x="43988" y="71070"/>
                  </a:moveTo>
                  <a:lnTo>
                    <a:pt x="42780" y="63998"/>
                  </a:lnTo>
                  <a:lnTo>
                    <a:pt x="42435" y="63998"/>
                  </a:lnTo>
                  <a:cubicBezTo>
                    <a:pt x="37950" y="69518"/>
                    <a:pt x="30705" y="72451"/>
                    <a:pt x="22598" y="72451"/>
                  </a:cubicBezTo>
                  <a:cubicBezTo>
                    <a:pt x="8452" y="72451"/>
                    <a:pt x="0" y="62273"/>
                    <a:pt x="0" y="51233"/>
                  </a:cubicBezTo>
                  <a:cubicBezTo>
                    <a:pt x="0" y="33120"/>
                    <a:pt x="16215" y="24495"/>
                    <a:pt x="41055" y="24668"/>
                  </a:cubicBezTo>
                  <a:lnTo>
                    <a:pt x="41055" y="23633"/>
                  </a:lnTo>
                  <a:cubicBezTo>
                    <a:pt x="41055" y="20010"/>
                    <a:pt x="39158" y="14663"/>
                    <a:pt x="28463" y="14663"/>
                  </a:cubicBezTo>
                  <a:cubicBezTo>
                    <a:pt x="21217" y="14663"/>
                    <a:pt x="13627" y="17078"/>
                    <a:pt x="9143" y="20010"/>
                  </a:cubicBezTo>
                  <a:lnTo>
                    <a:pt x="5002" y="6210"/>
                  </a:lnTo>
                  <a:cubicBezTo>
                    <a:pt x="10005" y="3623"/>
                    <a:pt x="19320" y="0"/>
                    <a:pt x="32085" y="0"/>
                  </a:cubicBezTo>
                  <a:cubicBezTo>
                    <a:pt x="55373" y="0"/>
                    <a:pt x="62963" y="13628"/>
                    <a:pt x="62963" y="30016"/>
                  </a:cubicBezTo>
                  <a:lnTo>
                    <a:pt x="62963" y="54166"/>
                  </a:lnTo>
                  <a:cubicBezTo>
                    <a:pt x="62963" y="60721"/>
                    <a:pt x="63136" y="67103"/>
                    <a:pt x="63998" y="70898"/>
                  </a:cubicBezTo>
                  <a:lnTo>
                    <a:pt x="43988" y="70898"/>
                  </a:lnTo>
                  <a:lnTo>
                    <a:pt x="43988" y="71070"/>
                  </a:lnTo>
                  <a:lnTo>
                    <a:pt x="43988" y="71070"/>
                  </a:lnTo>
                  <a:close/>
                  <a:moveTo>
                    <a:pt x="41400" y="38468"/>
                  </a:moveTo>
                  <a:cubicBezTo>
                    <a:pt x="30015" y="38295"/>
                    <a:pt x="21045" y="41055"/>
                    <a:pt x="21045" y="49336"/>
                  </a:cubicBezTo>
                  <a:cubicBezTo>
                    <a:pt x="21045" y="54856"/>
                    <a:pt x="24668" y="57615"/>
                    <a:pt x="29670" y="57615"/>
                  </a:cubicBezTo>
                  <a:cubicBezTo>
                    <a:pt x="35018" y="57615"/>
                    <a:pt x="39502" y="54166"/>
                    <a:pt x="41055" y="49680"/>
                  </a:cubicBezTo>
                  <a:cubicBezTo>
                    <a:pt x="41228" y="48645"/>
                    <a:pt x="41400" y="47266"/>
                    <a:pt x="41400" y="46058"/>
                  </a:cubicBezTo>
                  <a:lnTo>
                    <a:pt x="41400" y="38468"/>
                  </a:lnTo>
                  <a:lnTo>
                    <a:pt x="41400" y="38468"/>
                  </a:lnTo>
                  <a:lnTo>
                    <a:pt x="41400" y="3846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8" name="Gráfico 1344">
              <a:extLst>
                <a:ext uri="{FF2B5EF4-FFF2-40B4-BE49-F238E27FC236}">
                  <a16:creationId xmlns:a16="http://schemas.microsoft.com/office/drawing/2014/main" id="{48545EBA-7B81-4152-8F42-642D5DE8B03A}"/>
                </a:ext>
              </a:extLst>
            </p:cNvPr>
            <p:cNvSpPr/>
            <p:nvPr/>
          </p:nvSpPr>
          <p:spPr>
            <a:xfrm>
              <a:off x="9509541" y="4578343"/>
              <a:ext cx="60030" cy="95220"/>
            </a:xfrm>
            <a:custGeom>
              <a:avLst/>
              <a:gdLst>
                <a:gd name="connsiteX0" fmla="*/ 0 w 60030"/>
                <a:gd name="connsiteY0" fmla="*/ 0 h 95220"/>
                <a:gd name="connsiteX1" fmla="*/ 21735 w 60030"/>
                <a:gd name="connsiteY1" fmla="*/ 0 h 95220"/>
                <a:gd name="connsiteX2" fmla="*/ 21735 w 60030"/>
                <a:gd name="connsiteY2" fmla="*/ 77281 h 95220"/>
                <a:gd name="connsiteX3" fmla="*/ 60030 w 60030"/>
                <a:gd name="connsiteY3" fmla="*/ 77281 h 95220"/>
                <a:gd name="connsiteX4" fmla="*/ 60030 w 60030"/>
                <a:gd name="connsiteY4" fmla="*/ 95221 h 95220"/>
                <a:gd name="connsiteX5" fmla="*/ 0 w 60030"/>
                <a:gd name="connsiteY5" fmla="*/ 95221 h 95220"/>
                <a:gd name="connsiteX6" fmla="*/ 0 w 60030"/>
                <a:gd name="connsiteY6" fmla="*/ 0 h 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030" h="95220">
                  <a:moveTo>
                    <a:pt x="0" y="0"/>
                  </a:moveTo>
                  <a:lnTo>
                    <a:pt x="21735" y="0"/>
                  </a:lnTo>
                  <a:lnTo>
                    <a:pt x="21735" y="77281"/>
                  </a:lnTo>
                  <a:lnTo>
                    <a:pt x="60030" y="77281"/>
                  </a:lnTo>
                  <a:lnTo>
                    <a:pt x="60030" y="95221"/>
                  </a:lnTo>
                  <a:lnTo>
                    <a:pt x="0" y="952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09" name="Gráfico 1344">
              <a:extLst>
                <a:ext uri="{FF2B5EF4-FFF2-40B4-BE49-F238E27FC236}">
                  <a16:creationId xmlns:a16="http://schemas.microsoft.com/office/drawing/2014/main" id="{929B298E-9343-4535-8E79-B567658CB671}"/>
                </a:ext>
              </a:extLst>
            </p:cNvPr>
            <p:cNvSpPr/>
            <p:nvPr/>
          </p:nvSpPr>
          <p:spPr>
            <a:xfrm>
              <a:off x="9579922" y="4605426"/>
              <a:ext cx="66240" cy="70380"/>
            </a:xfrm>
            <a:custGeom>
              <a:avLst/>
              <a:gdLst>
                <a:gd name="connsiteX0" fmla="*/ 65551 w 66240"/>
                <a:gd name="connsiteY0" fmla="*/ 46403 h 70380"/>
                <a:gd name="connsiteX1" fmla="*/ 66240 w 66240"/>
                <a:gd name="connsiteY1" fmla="*/ 68655 h 70380"/>
                <a:gd name="connsiteX2" fmla="*/ 47611 w 66240"/>
                <a:gd name="connsiteY2" fmla="*/ 68655 h 70380"/>
                <a:gd name="connsiteX3" fmla="*/ 46576 w 66240"/>
                <a:gd name="connsiteY3" fmla="*/ 58995 h 70380"/>
                <a:gd name="connsiteX4" fmla="*/ 46231 w 66240"/>
                <a:gd name="connsiteY4" fmla="*/ 58995 h 70380"/>
                <a:gd name="connsiteX5" fmla="*/ 24495 w 66240"/>
                <a:gd name="connsiteY5" fmla="*/ 70380 h 70380"/>
                <a:gd name="connsiteX6" fmla="*/ 0 w 66240"/>
                <a:gd name="connsiteY6" fmla="*/ 40365 h 70380"/>
                <a:gd name="connsiteX7" fmla="*/ 0 w 66240"/>
                <a:gd name="connsiteY7" fmla="*/ 0 h 70380"/>
                <a:gd name="connsiteX8" fmla="*/ 21735 w 66240"/>
                <a:gd name="connsiteY8" fmla="*/ 0 h 70380"/>
                <a:gd name="connsiteX9" fmla="*/ 21735 w 66240"/>
                <a:gd name="connsiteY9" fmla="*/ 37088 h 70380"/>
                <a:gd name="connsiteX10" fmla="*/ 32603 w 66240"/>
                <a:gd name="connsiteY10" fmla="*/ 53130 h 70380"/>
                <a:gd name="connsiteX11" fmla="*/ 43471 w 66240"/>
                <a:gd name="connsiteY11" fmla="*/ 45713 h 70380"/>
                <a:gd name="connsiteX12" fmla="*/ 44160 w 66240"/>
                <a:gd name="connsiteY12" fmla="*/ 41055 h 70380"/>
                <a:gd name="connsiteX13" fmla="*/ 44160 w 66240"/>
                <a:gd name="connsiteY13" fmla="*/ 0 h 70380"/>
                <a:gd name="connsiteX14" fmla="*/ 65896 w 66240"/>
                <a:gd name="connsiteY14" fmla="*/ 0 h 70380"/>
                <a:gd name="connsiteX15" fmla="*/ 65896 w 66240"/>
                <a:gd name="connsiteY15" fmla="*/ 46403 h 70380"/>
                <a:gd name="connsiteX16" fmla="*/ 65551 w 66240"/>
                <a:gd name="connsiteY16" fmla="*/ 46403 h 70380"/>
                <a:gd name="connsiteX17" fmla="*/ 65551 w 66240"/>
                <a:gd name="connsiteY17" fmla="*/ 46403 h 70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0380">
                  <a:moveTo>
                    <a:pt x="65551" y="46403"/>
                  </a:moveTo>
                  <a:cubicBezTo>
                    <a:pt x="65551" y="55545"/>
                    <a:pt x="65723" y="62618"/>
                    <a:pt x="66240" y="68655"/>
                  </a:cubicBezTo>
                  <a:lnTo>
                    <a:pt x="47611" y="68655"/>
                  </a:lnTo>
                  <a:lnTo>
                    <a:pt x="46576" y="58995"/>
                  </a:lnTo>
                  <a:lnTo>
                    <a:pt x="46231" y="58995"/>
                  </a:lnTo>
                  <a:cubicBezTo>
                    <a:pt x="43471" y="63136"/>
                    <a:pt x="37088" y="70380"/>
                    <a:pt x="24495" y="70380"/>
                  </a:cubicBezTo>
                  <a:cubicBezTo>
                    <a:pt x="10523" y="70380"/>
                    <a:pt x="0" y="61755"/>
                    <a:pt x="0" y="40365"/>
                  </a:cubicBezTo>
                  <a:lnTo>
                    <a:pt x="0" y="0"/>
                  </a:lnTo>
                  <a:lnTo>
                    <a:pt x="21735" y="0"/>
                  </a:lnTo>
                  <a:lnTo>
                    <a:pt x="21735" y="37088"/>
                  </a:lnTo>
                  <a:cubicBezTo>
                    <a:pt x="21735" y="47265"/>
                    <a:pt x="24840" y="53130"/>
                    <a:pt x="32603" y="53130"/>
                  </a:cubicBezTo>
                  <a:cubicBezTo>
                    <a:pt x="38468" y="53130"/>
                    <a:pt x="41918" y="49163"/>
                    <a:pt x="43471" y="45713"/>
                  </a:cubicBezTo>
                  <a:cubicBezTo>
                    <a:pt x="43815" y="44505"/>
                    <a:pt x="44160" y="42780"/>
                    <a:pt x="44160" y="41055"/>
                  </a:cubicBezTo>
                  <a:lnTo>
                    <a:pt x="44160" y="0"/>
                  </a:lnTo>
                  <a:lnTo>
                    <a:pt x="65896" y="0"/>
                  </a:lnTo>
                  <a:lnTo>
                    <a:pt x="65896" y="46403"/>
                  </a:lnTo>
                  <a:lnTo>
                    <a:pt x="65551" y="46403"/>
                  </a:lnTo>
                  <a:lnTo>
                    <a:pt x="65551" y="4640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0" name="Gráfico 1344">
              <a:extLst>
                <a:ext uri="{FF2B5EF4-FFF2-40B4-BE49-F238E27FC236}">
                  <a16:creationId xmlns:a16="http://schemas.microsoft.com/office/drawing/2014/main" id="{937B7049-3FAA-4A4C-85C1-ED7B24DD6839}"/>
                </a:ext>
              </a:extLst>
            </p:cNvPr>
            <p:cNvSpPr/>
            <p:nvPr/>
          </p:nvSpPr>
          <p:spPr>
            <a:xfrm>
              <a:off x="9656512" y="4605426"/>
              <a:ext cx="62100" cy="68310"/>
            </a:xfrm>
            <a:custGeom>
              <a:avLst/>
              <a:gdLst>
                <a:gd name="connsiteX0" fmla="*/ 0 w 62100"/>
                <a:gd name="connsiteY0" fmla="*/ 56063 h 68310"/>
                <a:gd name="connsiteX1" fmla="*/ 22425 w 62100"/>
                <a:gd name="connsiteY1" fmla="*/ 28980 h 68310"/>
                <a:gd name="connsiteX2" fmla="*/ 33810 w 62100"/>
                <a:gd name="connsiteY2" fmla="*/ 16905 h 68310"/>
                <a:gd name="connsiteX3" fmla="*/ 33810 w 62100"/>
                <a:gd name="connsiteY3" fmla="*/ 16733 h 68310"/>
                <a:gd name="connsiteX4" fmla="*/ 2587 w 62100"/>
                <a:gd name="connsiteY4" fmla="*/ 16733 h 68310"/>
                <a:gd name="connsiteX5" fmla="*/ 2587 w 62100"/>
                <a:gd name="connsiteY5" fmla="*/ 0 h 68310"/>
                <a:gd name="connsiteX6" fmla="*/ 60721 w 62100"/>
                <a:gd name="connsiteY6" fmla="*/ 0 h 68310"/>
                <a:gd name="connsiteX7" fmla="*/ 60721 w 62100"/>
                <a:gd name="connsiteY7" fmla="*/ 12765 h 68310"/>
                <a:gd name="connsiteX8" fmla="*/ 39330 w 62100"/>
                <a:gd name="connsiteY8" fmla="*/ 38813 h 68310"/>
                <a:gd name="connsiteX9" fmla="*/ 27773 w 62100"/>
                <a:gd name="connsiteY9" fmla="*/ 51405 h 68310"/>
                <a:gd name="connsiteX10" fmla="*/ 27773 w 62100"/>
                <a:gd name="connsiteY10" fmla="*/ 51578 h 68310"/>
                <a:gd name="connsiteX11" fmla="*/ 62101 w 62100"/>
                <a:gd name="connsiteY11" fmla="*/ 51578 h 68310"/>
                <a:gd name="connsiteX12" fmla="*/ 62101 w 62100"/>
                <a:gd name="connsiteY12" fmla="*/ 68310 h 68310"/>
                <a:gd name="connsiteX13" fmla="*/ 173 w 62100"/>
                <a:gd name="connsiteY13" fmla="*/ 68310 h 68310"/>
                <a:gd name="connsiteX14" fmla="*/ 173 w 62100"/>
                <a:gd name="connsiteY14" fmla="*/ 56235 h 68310"/>
                <a:gd name="connsiteX15" fmla="*/ 0 w 62100"/>
                <a:gd name="connsiteY15" fmla="*/ 56235 h 68310"/>
                <a:gd name="connsiteX16" fmla="*/ 0 w 62100"/>
                <a:gd name="connsiteY16" fmla="*/ 56063 h 6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100" h="68310">
                  <a:moveTo>
                    <a:pt x="0" y="56063"/>
                  </a:moveTo>
                  <a:lnTo>
                    <a:pt x="22425" y="28980"/>
                  </a:lnTo>
                  <a:cubicBezTo>
                    <a:pt x="26393" y="24323"/>
                    <a:pt x="29670" y="21045"/>
                    <a:pt x="33810" y="16905"/>
                  </a:cubicBezTo>
                  <a:lnTo>
                    <a:pt x="33810" y="16733"/>
                  </a:lnTo>
                  <a:lnTo>
                    <a:pt x="2587" y="16733"/>
                  </a:lnTo>
                  <a:lnTo>
                    <a:pt x="2587" y="0"/>
                  </a:lnTo>
                  <a:lnTo>
                    <a:pt x="60721" y="0"/>
                  </a:lnTo>
                  <a:lnTo>
                    <a:pt x="60721" y="12765"/>
                  </a:lnTo>
                  <a:lnTo>
                    <a:pt x="39330" y="38813"/>
                  </a:lnTo>
                  <a:cubicBezTo>
                    <a:pt x="35363" y="43297"/>
                    <a:pt x="31740" y="47610"/>
                    <a:pt x="27773" y="51405"/>
                  </a:cubicBezTo>
                  <a:lnTo>
                    <a:pt x="27773" y="51578"/>
                  </a:lnTo>
                  <a:lnTo>
                    <a:pt x="62101" y="51578"/>
                  </a:lnTo>
                  <a:lnTo>
                    <a:pt x="62101" y="68310"/>
                  </a:lnTo>
                  <a:lnTo>
                    <a:pt x="173" y="68310"/>
                  </a:lnTo>
                  <a:lnTo>
                    <a:pt x="173" y="56235"/>
                  </a:lnTo>
                  <a:lnTo>
                    <a:pt x="0" y="56235"/>
                  </a:lnTo>
                  <a:lnTo>
                    <a:pt x="0" y="5606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1" name="Gráfico 1344">
              <a:extLst>
                <a:ext uri="{FF2B5EF4-FFF2-40B4-BE49-F238E27FC236}">
                  <a16:creationId xmlns:a16="http://schemas.microsoft.com/office/drawing/2014/main" id="{AFBD66B8-33D0-4043-A34B-14B23D37AFF1}"/>
                </a:ext>
              </a:extLst>
            </p:cNvPr>
            <p:cNvSpPr/>
            <p:nvPr/>
          </p:nvSpPr>
          <p:spPr>
            <a:xfrm>
              <a:off x="9728958" y="4574203"/>
              <a:ext cx="22774" cy="99360"/>
            </a:xfrm>
            <a:custGeom>
              <a:avLst/>
              <a:gdLst>
                <a:gd name="connsiteX0" fmla="*/ 22775 w 22774"/>
                <a:gd name="connsiteY0" fmla="*/ 11040 h 99360"/>
                <a:gd name="connsiteX1" fmla="*/ 11217 w 22774"/>
                <a:gd name="connsiteY1" fmla="*/ 21907 h 99360"/>
                <a:gd name="connsiteX2" fmla="*/ 5 w 22774"/>
                <a:gd name="connsiteY2" fmla="*/ 11040 h 99360"/>
                <a:gd name="connsiteX3" fmla="*/ 11217 w 22774"/>
                <a:gd name="connsiteY3" fmla="*/ 0 h 99360"/>
                <a:gd name="connsiteX4" fmla="*/ 22775 w 22774"/>
                <a:gd name="connsiteY4" fmla="*/ 11040 h 99360"/>
                <a:gd name="connsiteX5" fmla="*/ 695 w 22774"/>
                <a:gd name="connsiteY5" fmla="*/ 30360 h 99360"/>
                <a:gd name="connsiteX6" fmla="*/ 22257 w 22774"/>
                <a:gd name="connsiteY6" fmla="*/ 30360 h 99360"/>
                <a:gd name="connsiteX7" fmla="*/ 22257 w 22774"/>
                <a:gd name="connsiteY7" fmla="*/ 99360 h 99360"/>
                <a:gd name="connsiteX8" fmla="*/ 695 w 22774"/>
                <a:gd name="connsiteY8" fmla="*/ 99360 h 99360"/>
                <a:gd name="connsiteX9" fmla="*/ 695 w 22774"/>
                <a:gd name="connsiteY9" fmla="*/ 30360 h 99360"/>
                <a:gd name="connsiteX10" fmla="*/ 695 w 22774"/>
                <a:gd name="connsiteY10" fmla="*/ 30360 h 99360"/>
                <a:gd name="connsiteX11" fmla="*/ 695 w 22774"/>
                <a:gd name="connsiteY11" fmla="*/ 30360 h 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74" h="99360">
                  <a:moveTo>
                    <a:pt x="22775" y="11040"/>
                  </a:moveTo>
                  <a:cubicBezTo>
                    <a:pt x="22775" y="16905"/>
                    <a:pt x="18290" y="21907"/>
                    <a:pt x="11217" y="21907"/>
                  </a:cubicBezTo>
                  <a:cubicBezTo>
                    <a:pt x="4489" y="21907"/>
                    <a:pt x="5" y="17077"/>
                    <a:pt x="5" y="11040"/>
                  </a:cubicBezTo>
                  <a:cubicBezTo>
                    <a:pt x="-168" y="4830"/>
                    <a:pt x="4489" y="0"/>
                    <a:pt x="11217" y="0"/>
                  </a:cubicBezTo>
                  <a:cubicBezTo>
                    <a:pt x="18117" y="172"/>
                    <a:pt x="22602" y="4830"/>
                    <a:pt x="22775" y="11040"/>
                  </a:cubicBezTo>
                  <a:moveTo>
                    <a:pt x="695" y="30360"/>
                  </a:moveTo>
                  <a:lnTo>
                    <a:pt x="22257" y="30360"/>
                  </a:lnTo>
                  <a:lnTo>
                    <a:pt x="22257" y="99360"/>
                  </a:lnTo>
                  <a:lnTo>
                    <a:pt x="695" y="99360"/>
                  </a:lnTo>
                  <a:lnTo>
                    <a:pt x="695" y="30360"/>
                  </a:lnTo>
                  <a:lnTo>
                    <a:pt x="695" y="30360"/>
                  </a:lnTo>
                  <a:lnTo>
                    <a:pt x="695" y="3036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2" name="Gráfico 1344">
              <a:extLst>
                <a:ext uri="{FF2B5EF4-FFF2-40B4-BE49-F238E27FC236}">
                  <a16:creationId xmlns:a16="http://schemas.microsoft.com/office/drawing/2014/main" id="{72E89B95-A850-4752-83F7-D3DD58835B5D}"/>
                </a:ext>
              </a:extLst>
            </p:cNvPr>
            <p:cNvSpPr/>
            <p:nvPr/>
          </p:nvSpPr>
          <p:spPr>
            <a:xfrm>
              <a:off x="9764325" y="4603011"/>
              <a:ext cx="64170" cy="72450"/>
            </a:xfrm>
            <a:custGeom>
              <a:avLst/>
              <a:gdLst>
                <a:gd name="connsiteX0" fmla="*/ 44333 w 64170"/>
                <a:gd name="connsiteY0" fmla="*/ 71070 h 72450"/>
                <a:gd name="connsiteX1" fmla="*/ 43125 w 64170"/>
                <a:gd name="connsiteY1" fmla="*/ 63998 h 72450"/>
                <a:gd name="connsiteX2" fmla="*/ 42781 w 64170"/>
                <a:gd name="connsiteY2" fmla="*/ 63998 h 72450"/>
                <a:gd name="connsiteX3" fmla="*/ 22770 w 64170"/>
                <a:gd name="connsiteY3" fmla="*/ 72451 h 72450"/>
                <a:gd name="connsiteX4" fmla="*/ 0 w 64170"/>
                <a:gd name="connsiteY4" fmla="*/ 51233 h 72450"/>
                <a:gd name="connsiteX5" fmla="*/ 41055 w 64170"/>
                <a:gd name="connsiteY5" fmla="*/ 24668 h 72450"/>
                <a:gd name="connsiteX6" fmla="*/ 41055 w 64170"/>
                <a:gd name="connsiteY6" fmla="*/ 23633 h 72450"/>
                <a:gd name="connsiteX7" fmla="*/ 28463 w 64170"/>
                <a:gd name="connsiteY7" fmla="*/ 14663 h 72450"/>
                <a:gd name="connsiteX8" fmla="*/ 9143 w 64170"/>
                <a:gd name="connsiteY8" fmla="*/ 20010 h 72450"/>
                <a:gd name="connsiteX9" fmla="*/ 5003 w 64170"/>
                <a:gd name="connsiteY9" fmla="*/ 6210 h 72450"/>
                <a:gd name="connsiteX10" fmla="*/ 32258 w 64170"/>
                <a:gd name="connsiteY10" fmla="*/ 0 h 72450"/>
                <a:gd name="connsiteX11" fmla="*/ 63136 w 64170"/>
                <a:gd name="connsiteY11" fmla="*/ 30016 h 72450"/>
                <a:gd name="connsiteX12" fmla="*/ 63136 w 64170"/>
                <a:gd name="connsiteY12" fmla="*/ 54166 h 72450"/>
                <a:gd name="connsiteX13" fmla="*/ 64170 w 64170"/>
                <a:gd name="connsiteY13" fmla="*/ 70898 h 72450"/>
                <a:gd name="connsiteX14" fmla="*/ 44333 w 64170"/>
                <a:gd name="connsiteY14" fmla="*/ 70898 h 72450"/>
                <a:gd name="connsiteX15" fmla="*/ 44333 w 64170"/>
                <a:gd name="connsiteY15" fmla="*/ 71070 h 72450"/>
                <a:gd name="connsiteX16" fmla="*/ 44333 w 64170"/>
                <a:gd name="connsiteY16" fmla="*/ 71070 h 72450"/>
                <a:gd name="connsiteX17" fmla="*/ 41746 w 64170"/>
                <a:gd name="connsiteY17" fmla="*/ 38468 h 72450"/>
                <a:gd name="connsiteX18" fmla="*/ 21391 w 64170"/>
                <a:gd name="connsiteY18" fmla="*/ 49336 h 72450"/>
                <a:gd name="connsiteX19" fmla="*/ 30016 w 64170"/>
                <a:gd name="connsiteY19" fmla="*/ 57615 h 72450"/>
                <a:gd name="connsiteX20" fmla="*/ 41400 w 64170"/>
                <a:gd name="connsiteY20" fmla="*/ 49680 h 72450"/>
                <a:gd name="connsiteX21" fmla="*/ 41746 w 64170"/>
                <a:gd name="connsiteY21" fmla="*/ 46058 h 72450"/>
                <a:gd name="connsiteX22" fmla="*/ 41746 w 64170"/>
                <a:gd name="connsiteY22" fmla="*/ 38468 h 72450"/>
                <a:gd name="connsiteX23" fmla="*/ 41746 w 64170"/>
                <a:gd name="connsiteY23" fmla="*/ 38468 h 72450"/>
                <a:gd name="connsiteX24" fmla="*/ 41746 w 64170"/>
                <a:gd name="connsiteY24" fmla="*/ 3846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170" h="72450">
                  <a:moveTo>
                    <a:pt x="44333" y="71070"/>
                  </a:moveTo>
                  <a:lnTo>
                    <a:pt x="43125" y="63998"/>
                  </a:lnTo>
                  <a:lnTo>
                    <a:pt x="42781" y="63998"/>
                  </a:lnTo>
                  <a:cubicBezTo>
                    <a:pt x="38295" y="69518"/>
                    <a:pt x="31051" y="72451"/>
                    <a:pt x="22770" y="72451"/>
                  </a:cubicBezTo>
                  <a:cubicBezTo>
                    <a:pt x="8625" y="72451"/>
                    <a:pt x="0" y="62273"/>
                    <a:pt x="0" y="51233"/>
                  </a:cubicBezTo>
                  <a:cubicBezTo>
                    <a:pt x="0" y="33120"/>
                    <a:pt x="16388" y="24495"/>
                    <a:pt x="41055" y="24668"/>
                  </a:cubicBezTo>
                  <a:lnTo>
                    <a:pt x="41055" y="23633"/>
                  </a:lnTo>
                  <a:cubicBezTo>
                    <a:pt x="41055" y="20010"/>
                    <a:pt x="39158" y="14663"/>
                    <a:pt x="28463" y="14663"/>
                  </a:cubicBezTo>
                  <a:cubicBezTo>
                    <a:pt x="21218" y="14663"/>
                    <a:pt x="13628" y="17078"/>
                    <a:pt x="9143" y="20010"/>
                  </a:cubicBezTo>
                  <a:lnTo>
                    <a:pt x="5003" y="6210"/>
                  </a:lnTo>
                  <a:cubicBezTo>
                    <a:pt x="10005" y="3623"/>
                    <a:pt x="19320" y="0"/>
                    <a:pt x="32258" y="0"/>
                  </a:cubicBezTo>
                  <a:cubicBezTo>
                    <a:pt x="55718" y="0"/>
                    <a:pt x="63136" y="13628"/>
                    <a:pt x="63136" y="30016"/>
                  </a:cubicBezTo>
                  <a:lnTo>
                    <a:pt x="63136" y="54166"/>
                  </a:lnTo>
                  <a:cubicBezTo>
                    <a:pt x="63136" y="60721"/>
                    <a:pt x="63308" y="67103"/>
                    <a:pt x="64170" y="70898"/>
                  </a:cubicBezTo>
                  <a:lnTo>
                    <a:pt x="44333" y="70898"/>
                  </a:lnTo>
                  <a:lnTo>
                    <a:pt x="44333" y="71070"/>
                  </a:lnTo>
                  <a:lnTo>
                    <a:pt x="44333" y="71070"/>
                  </a:lnTo>
                  <a:close/>
                  <a:moveTo>
                    <a:pt x="41746" y="38468"/>
                  </a:moveTo>
                  <a:cubicBezTo>
                    <a:pt x="30360" y="38295"/>
                    <a:pt x="21391" y="41055"/>
                    <a:pt x="21391" y="49336"/>
                  </a:cubicBezTo>
                  <a:cubicBezTo>
                    <a:pt x="21391" y="54856"/>
                    <a:pt x="25013" y="57615"/>
                    <a:pt x="30016" y="57615"/>
                  </a:cubicBezTo>
                  <a:cubicBezTo>
                    <a:pt x="35535" y="57615"/>
                    <a:pt x="39848" y="54166"/>
                    <a:pt x="41400" y="49680"/>
                  </a:cubicBezTo>
                  <a:cubicBezTo>
                    <a:pt x="41573" y="48645"/>
                    <a:pt x="41746" y="47266"/>
                    <a:pt x="41746" y="46058"/>
                  </a:cubicBezTo>
                  <a:lnTo>
                    <a:pt x="41746" y="38468"/>
                  </a:lnTo>
                  <a:lnTo>
                    <a:pt x="41746" y="38468"/>
                  </a:lnTo>
                  <a:lnTo>
                    <a:pt x="41746" y="3846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sp>
        <p:nvSpPr>
          <p:cNvPr id="1433" name="TextBox 11">
            <a:extLst>
              <a:ext uri="{FF2B5EF4-FFF2-40B4-BE49-F238E27FC236}">
                <a16:creationId xmlns:a16="http://schemas.microsoft.com/office/drawing/2014/main" id="{12A70E09-2D24-4B05-9677-1AB55B3DF5C6}"/>
              </a:ext>
            </a:extLst>
          </p:cNvPr>
          <p:cNvSpPr txBox="1"/>
          <p:nvPr/>
        </p:nvSpPr>
        <p:spPr>
          <a:xfrm>
            <a:off x="752538" y="499034"/>
            <a:ext cx="4088802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100" cap="all" spc="200">
                <a:solidFill>
                  <a:srgbClr val="0074C0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Sistema</a:t>
            </a:r>
          </a:p>
          <a:p>
            <a:r>
              <a:rPr lang="pt-BR" sz="4100" cap="all" spc="200">
                <a:solidFill>
                  <a:srgbClr val="0074C0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Logístico</a:t>
            </a:r>
          </a:p>
          <a:p>
            <a:r>
              <a:rPr lang="pt-BR" sz="4100" cap="all" spc="200">
                <a:solidFill>
                  <a:srgbClr val="0074C0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rPr>
              <a:t>multimodal</a:t>
            </a:r>
          </a:p>
        </p:txBody>
      </p:sp>
      <p:sp>
        <p:nvSpPr>
          <p:cNvPr id="1434" name="Gráfico 1782">
            <a:extLst>
              <a:ext uri="{FF2B5EF4-FFF2-40B4-BE49-F238E27FC236}">
                <a16:creationId xmlns:a16="http://schemas.microsoft.com/office/drawing/2014/main" id="{BC06C63A-C1DF-42D4-8093-48ECD2CFAC8C}"/>
              </a:ext>
            </a:extLst>
          </p:cNvPr>
          <p:cNvSpPr/>
          <p:nvPr/>
        </p:nvSpPr>
        <p:spPr>
          <a:xfrm>
            <a:off x="7917154" y="2657873"/>
            <a:ext cx="129340" cy="1400485"/>
          </a:xfrm>
          <a:custGeom>
            <a:avLst/>
            <a:gdLst>
              <a:gd name="connsiteX0" fmla="*/ 38941 w 129340"/>
              <a:gd name="connsiteY0" fmla="*/ 1400486 h 1400485"/>
              <a:gd name="connsiteX1" fmla="*/ 31365 w 129340"/>
              <a:gd name="connsiteY1" fmla="*/ 1395728 h 1400485"/>
              <a:gd name="connsiteX2" fmla="*/ 17973 w 129340"/>
              <a:gd name="connsiteY2" fmla="*/ 1361721 h 1400485"/>
              <a:gd name="connsiteX3" fmla="*/ 23435 w 129340"/>
              <a:gd name="connsiteY3" fmla="*/ 1350796 h 1400485"/>
              <a:gd name="connsiteX4" fmla="*/ 34360 w 129340"/>
              <a:gd name="connsiteY4" fmla="*/ 1356258 h 1400485"/>
              <a:gd name="connsiteX5" fmla="*/ 46871 w 129340"/>
              <a:gd name="connsiteY5" fmla="*/ 1387799 h 1400485"/>
              <a:gd name="connsiteX6" fmla="*/ 43170 w 129340"/>
              <a:gd name="connsiteY6" fmla="*/ 1399429 h 1400485"/>
              <a:gd name="connsiteX7" fmla="*/ 38941 w 129340"/>
              <a:gd name="connsiteY7" fmla="*/ 1400486 h 1400485"/>
              <a:gd name="connsiteX8" fmla="*/ 10925 w 129340"/>
              <a:gd name="connsiteY8" fmla="*/ 1298991 h 1400485"/>
              <a:gd name="connsiteX9" fmla="*/ 2467 w 129340"/>
              <a:gd name="connsiteY9" fmla="*/ 1291414 h 1400485"/>
              <a:gd name="connsiteX10" fmla="*/ 0 w 129340"/>
              <a:gd name="connsiteY10" fmla="*/ 1255292 h 1400485"/>
              <a:gd name="connsiteX11" fmla="*/ 8458 w 129340"/>
              <a:gd name="connsiteY11" fmla="*/ 1246482 h 1400485"/>
              <a:gd name="connsiteX12" fmla="*/ 17268 w 129340"/>
              <a:gd name="connsiteY12" fmla="*/ 1254940 h 1400485"/>
              <a:gd name="connsiteX13" fmla="*/ 19559 w 129340"/>
              <a:gd name="connsiteY13" fmla="*/ 1289300 h 1400485"/>
              <a:gd name="connsiteX14" fmla="*/ 11982 w 129340"/>
              <a:gd name="connsiteY14" fmla="*/ 1298815 h 1400485"/>
              <a:gd name="connsiteX15" fmla="*/ 10925 w 129340"/>
              <a:gd name="connsiteY15" fmla="*/ 1298991 h 1400485"/>
              <a:gd name="connsiteX16" fmla="*/ 15154 w 129340"/>
              <a:gd name="connsiteY16" fmla="*/ 1193796 h 1400485"/>
              <a:gd name="connsiteX17" fmla="*/ 13392 w 129340"/>
              <a:gd name="connsiteY17" fmla="*/ 1193620 h 1400485"/>
              <a:gd name="connsiteX18" fmla="*/ 6696 w 129340"/>
              <a:gd name="connsiteY18" fmla="*/ 1183400 h 1400485"/>
              <a:gd name="connsiteX19" fmla="*/ 7753 w 129340"/>
              <a:gd name="connsiteY19" fmla="*/ 1178114 h 1400485"/>
              <a:gd name="connsiteX20" fmla="*/ 14977 w 129340"/>
              <a:gd name="connsiteY20" fmla="*/ 1148511 h 1400485"/>
              <a:gd name="connsiteX21" fmla="*/ 25550 w 129340"/>
              <a:gd name="connsiteY21" fmla="*/ 1142344 h 1400485"/>
              <a:gd name="connsiteX22" fmla="*/ 31717 w 129340"/>
              <a:gd name="connsiteY22" fmla="*/ 1152916 h 1400485"/>
              <a:gd name="connsiteX23" fmla="*/ 24669 w 129340"/>
              <a:gd name="connsiteY23" fmla="*/ 1181814 h 1400485"/>
              <a:gd name="connsiteX24" fmla="*/ 23612 w 129340"/>
              <a:gd name="connsiteY24" fmla="*/ 1186748 h 1400485"/>
              <a:gd name="connsiteX25" fmla="*/ 15154 w 129340"/>
              <a:gd name="connsiteY25" fmla="*/ 1193796 h 1400485"/>
              <a:gd name="connsiteX26" fmla="*/ 44580 w 129340"/>
              <a:gd name="connsiteY26" fmla="*/ 1092302 h 1400485"/>
              <a:gd name="connsiteX27" fmla="*/ 41761 w 129340"/>
              <a:gd name="connsiteY27" fmla="*/ 1091773 h 1400485"/>
              <a:gd name="connsiteX28" fmla="*/ 36475 w 129340"/>
              <a:gd name="connsiteY28" fmla="*/ 1080848 h 1400485"/>
              <a:gd name="connsiteX29" fmla="*/ 37884 w 129340"/>
              <a:gd name="connsiteY29" fmla="*/ 1077148 h 1400485"/>
              <a:gd name="connsiteX30" fmla="*/ 47928 w 129340"/>
              <a:gd name="connsiteY30" fmla="*/ 1047898 h 1400485"/>
              <a:gd name="connsiteX31" fmla="*/ 58677 w 129340"/>
              <a:gd name="connsiteY31" fmla="*/ 1042259 h 1400485"/>
              <a:gd name="connsiteX32" fmla="*/ 64315 w 129340"/>
              <a:gd name="connsiteY32" fmla="*/ 1053008 h 1400485"/>
              <a:gd name="connsiteX33" fmla="*/ 54095 w 129340"/>
              <a:gd name="connsiteY33" fmla="*/ 1082963 h 1400485"/>
              <a:gd name="connsiteX34" fmla="*/ 52686 w 129340"/>
              <a:gd name="connsiteY34" fmla="*/ 1086663 h 1400485"/>
              <a:gd name="connsiteX35" fmla="*/ 44580 w 129340"/>
              <a:gd name="connsiteY35" fmla="*/ 1092302 h 1400485"/>
              <a:gd name="connsiteX36" fmla="*/ 59381 w 129340"/>
              <a:gd name="connsiteY36" fmla="*/ 989750 h 1400485"/>
              <a:gd name="connsiteX37" fmla="*/ 51100 w 129340"/>
              <a:gd name="connsiteY37" fmla="*/ 983406 h 1400485"/>
              <a:gd name="connsiteX38" fmla="*/ 48104 w 129340"/>
              <a:gd name="connsiteY38" fmla="*/ 973715 h 1400485"/>
              <a:gd name="connsiteX39" fmla="*/ 41585 w 129340"/>
              <a:gd name="connsiteY39" fmla="*/ 948694 h 1400485"/>
              <a:gd name="connsiteX40" fmla="*/ 48457 w 129340"/>
              <a:gd name="connsiteY40" fmla="*/ 938650 h 1400485"/>
              <a:gd name="connsiteX41" fmla="*/ 58500 w 129340"/>
              <a:gd name="connsiteY41" fmla="*/ 945522 h 1400485"/>
              <a:gd name="connsiteX42" fmla="*/ 64315 w 129340"/>
              <a:gd name="connsiteY42" fmla="*/ 967900 h 1400485"/>
              <a:gd name="connsiteX43" fmla="*/ 67663 w 129340"/>
              <a:gd name="connsiteY43" fmla="*/ 978825 h 1400485"/>
              <a:gd name="connsiteX44" fmla="*/ 61672 w 129340"/>
              <a:gd name="connsiteY44" fmla="*/ 989397 h 1400485"/>
              <a:gd name="connsiteX45" fmla="*/ 59381 w 129340"/>
              <a:gd name="connsiteY45" fmla="*/ 989750 h 1400485"/>
              <a:gd name="connsiteX46" fmla="*/ 43875 w 129340"/>
              <a:gd name="connsiteY46" fmla="*/ 885612 h 1400485"/>
              <a:gd name="connsiteX47" fmla="*/ 35241 w 129340"/>
              <a:gd name="connsiteY47" fmla="*/ 877154 h 1400485"/>
              <a:gd name="connsiteX48" fmla="*/ 35065 w 129340"/>
              <a:gd name="connsiteY48" fmla="*/ 862176 h 1400485"/>
              <a:gd name="connsiteX49" fmla="*/ 35241 w 129340"/>
              <a:gd name="connsiteY49" fmla="*/ 841560 h 1400485"/>
              <a:gd name="connsiteX50" fmla="*/ 44051 w 129340"/>
              <a:gd name="connsiteY50" fmla="*/ 833102 h 1400485"/>
              <a:gd name="connsiteX51" fmla="*/ 52509 w 129340"/>
              <a:gd name="connsiteY51" fmla="*/ 841913 h 1400485"/>
              <a:gd name="connsiteX52" fmla="*/ 52333 w 129340"/>
              <a:gd name="connsiteY52" fmla="*/ 862176 h 1400485"/>
              <a:gd name="connsiteX53" fmla="*/ 52509 w 129340"/>
              <a:gd name="connsiteY53" fmla="*/ 876801 h 1400485"/>
              <a:gd name="connsiteX54" fmla="*/ 43875 w 129340"/>
              <a:gd name="connsiteY54" fmla="*/ 885612 h 1400485"/>
              <a:gd name="connsiteX55" fmla="*/ 43875 w 129340"/>
              <a:gd name="connsiteY55" fmla="*/ 885612 h 1400485"/>
              <a:gd name="connsiteX56" fmla="*/ 47928 w 129340"/>
              <a:gd name="connsiteY56" fmla="*/ 780064 h 1400485"/>
              <a:gd name="connsiteX57" fmla="*/ 47223 w 129340"/>
              <a:gd name="connsiteY57" fmla="*/ 780064 h 1400485"/>
              <a:gd name="connsiteX58" fmla="*/ 39294 w 129340"/>
              <a:gd name="connsiteY58" fmla="*/ 770725 h 1400485"/>
              <a:gd name="connsiteX59" fmla="*/ 42818 w 129340"/>
              <a:gd name="connsiteY59" fmla="*/ 735484 h 1400485"/>
              <a:gd name="connsiteX60" fmla="*/ 52333 w 129340"/>
              <a:gd name="connsiteY60" fmla="*/ 727907 h 1400485"/>
              <a:gd name="connsiteX61" fmla="*/ 59910 w 129340"/>
              <a:gd name="connsiteY61" fmla="*/ 737422 h 1400485"/>
              <a:gd name="connsiteX62" fmla="*/ 56386 w 129340"/>
              <a:gd name="connsiteY62" fmla="*/ 772311 h 1400485"/>
              <a:gd name="connsiteX63" fmla="*/ 47928 w 129340"/>
              <a:gd name="connsiteY63" fmla="*/ 780064 h 1400485"/>
              <a:gd name="connsiteX64" fmla="*/ 61143 w 129340"/>
              <a:gd name="connsiteY64" fmla="*/ 675046 h 1400485"/>
              <a:gd name="connsiteX65" fmla="*/ 59734 w 129340"/>
              <a:gd name="connsiteY65" fmla="*/ 674869 h 1400485"/>
              <a:gd name="connsiteX66" fmla="*/ 52686 w 129340"/>
              <a:gd name="connsiteY66" fmla="*/ 665002 h 1400485"/>
              <a:gd name="connsiteX67" fmla="*/ 59029 w 129340"/>
              <a:gd name="connsiteY67" fmla="*/ 630113 h 1400485"/>
              <a:gd name="connsiteX68" fmla="*/ 69073 w 129340"/>
              <a:gd name="connsiteY68" fmla="*/ 623417 h 1400485"/>
              <a:gd name="connsiteX69" fmla="*/ 75768 w 129340"/>
              <a:gd name="connsiteY69" fmla="*/ 633461 h 1400485"/>
              <a:gd name="connsiteX70" fmla="*/ 69425 w 129340"/>
              <a:gd name="connsiteY70" fmla="*/ 667821 h 1400485"/>
              <a:gd name="connsiteX71" fmla="*/ 61143 w 129340"/>
              <a:gd name="connsiteY71" fmla="*/ 675046 h 1400485"/>
              <a:gd name="connsiteX72" fmla="*/ 81407 w 129340"/>
              <a:gd name="connsiteY72" fmla="*/ 571260 h 1400485"/>
              <a:gd name="connsiteX73" fmla="*/ 79821 w 129340"/>
              <a:gd name="connsiteY73" fmla="*/ 571084 h 1400485"/>
              <a:gd name="connsiteX74" fmla="*/ 72949 w 129340"/>
              <a:gd name="connsiteY74" fmla="*/ 561040 h 1400485"/>
              <a:gd name="connsiteX75" fmla="*/ 78764 w 129340"/>
              <a:gd name="connsiteY75" fmla="*/ 526504 h 1400485"/>
              <a:gd name="connsiteX76" fmla="*/ 88631 w 129340"/>
              <a:gd name="connsiteY76" fmla="*/ 519279 h 1400485"/>
              <a:gd name="connsiteX77" fmla="*/ 95856 w 129340"/>
              <a:gd name="connsiteY77" fmla="*/ 529147 h 1400485"/>
              <a:gd name="connsiteX78" fmla="*/ 90041 w 129340"/>
              <a:gd name="connsiteY78" fmla="*/ 564036 h 1400485"/>
              <a:gd name="connsiteX79" fmla="*/ 81407 w 129340"/>
              <a:gd name="connsiteY79" fmla="*/ 571260 h 1400485"/>
              <a:gd name="connsiteX80" fmla="*/ 97266 w 129340"/>
              <a:gd name="connsiteY80" fmla="*/ 466594 h 1400485"/>
              <a:gd name="connsiteX81" fmla="*/ 96208 w 129340"/>
              <a:gd name="connsiteY81" fmla="*/ 466594 h 1400485"/>
              <a:gd name="connsiteX82" fmla="*/ 88808 w 129340"/>
              <a:gd name="connsiteY82" fmla="*/ 456902 h 1400485"/>
              <a:gd name="connsiteX83" fmla="*/ 93213 w 129340"/>
              <a:gd name="connsiteY83" fmla="*/ 422014 h 1400485"/>
              <a:gd name="connsiteX84" fmla="*/ 102728 w 129340"/>
              <a:gd name="connsiteY84" fmla="*/ 414437 h 1400485"/>
              <a:gd name="connsiteX85" fmla="*/ 110305 w 129340"/>
              <a:gd name="connsiteY85" fmla="*/ 423952 h 1400485"/>
              <a:gd name="connsiteX86" fmla="*/ 105900 w 129340"/>
              <a:gd name="connsiteY86" fmla="*/ 459017 h 1400485"/>
              <a:gd name="connsiteX87" fmla="*/ 97266 w 129340"/>
              <a:gd name="connsiteY87" fmla="*/ 466594 h 1400485"/>
              <a:gd name="connsiteX88" fmla="*/ 109248 w 129340"/>
              <a:gd name="connsiteY88" fmla="*/ 361575 h 1400485"/>
              <a:gd name="connsiteX89" fmla="*/ 108367 w 129340"/>
              <a:gd name="connsiteY89" fmla="*/ 361575 h 1400485"/>
              <a:gd name="connsiteX90" fmla="*/ 100613 w 129340"/>
              <a:gd name="connsiteY90" fmla="*/ 352236 h 1400485"/>
              <a:gd name="connsiteX91" fmla="*/ 103961 w 129340"/>
              <a:gd name="connsiteY91" fmla="*/ 317171 h 1400485"/>
              <a:gd name="connsiteX92" fmla="*/ 113300 w 129340"/>
              <a:gd name="connsiteY92" fmla="*/ 309418 h 1400485"/>
              <a:gd name="connsiteX93" fmla="*/ 121053 w 129340"/>
              <a:gd name="connsiteY93" fmla="*/ 318757 h 1400485"/>
              <a:gd name="connsiteX94" fmla="*/ 117705 w 129340"/>
              <a:gd name="connsiteY94" fmla="*/ 353998 h 1400485"/>
              <a:gd name="connsiteX95" fmla="*/ 109248 w 129340"/>
              <a:gd name="connsiteY95" fmla="*/ 361575 h 1400485"/>
              <a:gd name="connsiteX96" fmla="*/ 118234 w 129340"/>
              <a:gd name="connsiteY96" fmla="*/ 256027 h 1400485"/>
              <a:gd name="connsiteX97" fmla="*/ 117705 w 129340"/>
              <a:gd name="connsiteY97" fmla="*/ 256027 h 1400485"/>
              <a:gd name="connsiteX98" fmla="*/ 109600 w 129340"/>
              <a:gd name="connsiteY98" fmla="*/ 246865 h 1400485"/>
              <a:gd name="connsiteX99" fmla="*/ 111714 w 129340"/>
              <a:gd name="connsiteY99" fmla="*/ 211800 h 1400485"/>
              <a:gd name="connsiteX100" fmla="*/ 120701 w 129340"/>
              <a:gd name="connsiteY100" fmla="*/ 203694 h 1400485"/>
              <a:gd name="connsiteX101" fmla="*/ 128806 w 129340"/>
              <a:gd name="connsiteY101" fmla="*/ 212681 h 1400485"/>
              <a:gd name="connsiteX102" fmla="*/ 126692 w 129340"/>
              <a:gd name="connsiteY102" fmla="*/ 248098 h 1400485"/>
              <a:gd name="connsiteX103" fmla="*/ 118234 w 129340"/>
              <a:gd name="connsiteY103" fmla="*/ 256027 h 1400485"/>
              <a:gd name="connsiteX104" fmla="*/ 120877 w 129340"/>
              <a:gd name="connsiteY104" fmla="*/ 150304 h 1400485"/>
              <a:gd name="connsiteX105" fmla="*/ 112243 w 129340"/>
              <a:gd name="connsiteY105" fmla="*/ 142022 h 1400485"/>
              <a:gd name="connsiteX106" fmla="*/ 111538 w 129340"/>
              <a:gd name="connsiteY106" fmla="*/ 106605 h 1400485"/>
              <a:gd name="connsiteX107" fmla="*/ 119996 w 129340"/>
              <a:gd name="connsiteY107" fmla="*/ 97794 h 1400485"/>
              <a:gd name="connsiteX108" fmla="*/ 128630 w 129340"/>
              <a:gd name="connsiteY108" fmla="*/ 106252 h 1400485"/>
              <a:gd name="connsiteX109" fmla="*/ 129335 w 129340"/>
              <a:gd name="connsiteY109" fmla="*/ 141493 h 1400485"/>
              <a:gd name="connsiteX110" fmla="*/ 121053 w 129340"/>
              <a:gd name="connsiteY110" fmla="*/ 150304 h 1400485"/>
              <a:gd name="connsiteX111" fmla="*/ 120877 w 129340"/>
              <a:gd name="connsiteY111" fmla="*/ 150304 h 1400485"/>
              <a:gd name="connsiteX112" fmla="*/ 119291 w 129340"/>
              <a:gd name="connsiteY112" fmla="*/ 44580 h 1400485"/>
              <a:gd name="connsiteX113" fmla="*/ 110657 w 129340"/>
              <a:gd name="connsiteY113" fmla="*/ 35946 h 1400485"/>
              <a:gd name="connsiteX114" fmla="*/ 110657 w 129340"/>
              <a:gd name="connsiteY114" fmla="*/ 22202 h 1400485"/>
              <a:gd name="connsiteX115" fmla="*/ 110657 w 129340"/>
              <a:gd name="connsiteY115" fmla="*/ 8458 h 1400485"/>
              <a:gd name="connsiteX116" fmla="*/ 119291 w 129340"/>
              <a:gd name="connsiteY116" fmla="*/ 0 h 1400485"/>
              <a:gd name="connsiteX117" fmla="*/ 119291 w 129340"/>
              <a:gd name="connsiteY117" fmla="*/ 0 h 1400485"/>
              <a:gd name="connsiteX118" fmla="*/ 127925 w 129340"/>
              <a:gd name="connsiteY118" fmla="*/ 8634 h 1400485"/>
              <a:gd name="connsiteX119" fmla="*/ 127925 w 129340"/>
              <a:gd name="connsiteY119" fmla="*/ 22202 h 1400485"/>
              <a:gd name="connsiteX120" fmla="*/ 127925 w 129340"/>
              <a:gd name="connsiteY120" fmla="*/ 35770 h 1400485"/>
              <a:gd name="connsiteX121" fmla="*/ 119291 w 129340"/>
              <a:gd name="connsiteY121" fmla="*/ 44580 h 1400485"/>
              <a:gd name="connsiteX122" fmla="*/ 119291 w 129340"/>
              <a:gd name="connsiteY122" fmla="*/ 44580 h 140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129340" h="1400485">
                <a:moveTo>
                  <a:pt x="38941" y="1400486"/>
                </a:moveTo>
                <a:cubicBezTo>
                  <a:pt x="35770" y="1400486"/>
                  <a:pt x="32774" y="1398724"/>
                  <a:pt x="31365" y="1395728"/>
                </a:cubicBezTo>
                <a:cubicBezTo>
                  <a:pt x="31012" y="1395200"/>
                  <a:pt x="24845" y="1382865"/>
                  <a:pt x="17973" y="1361721"/>
                </a:cubicBezTo>
                <a:cubicBezTo>
                  <a:pt x="16563" y="1357139"/>
                  <a:pt x="19030" y="1352382"/>
                  <a:pt x="23435" y="1350796"/>
                </a:cubicBezTo>
                <a:cubicBezTo>
                  <a:pt x="28017" y="1349210"/>
                  <a:pt x="32774" y="1351853"/>
                  <a:pt x="34360" y="1356258"/>
                </a:cubicBezTo>
                <a:cubicBezTo>
                  <a:pt x="40880" y="1375993"/>
                  <a:pt x="46695" y="1387623"/>
                  <a:pt x="46871" y="1387799"/>
                </a:cubicBezTo>
                <a:cubicBezTo>
                  <a:pt x="48985" y="1392028"/>
                  <a:pt x="47399" y="1397138"/>
                  <a:pt x="43170" y="1399429"/>
                </a:cubicBezTo>
                <a:cubicBezTo>
                  <a:pt x="41585" y="1400134"/>
                  <a:pt x="40175" y="1400486"/>
                  <a:pt x="38941" y="1400486"/>
                </a:cubicBezTo>
                <a:close/>
                <a:moveTo>
                  <a:pt x="10925" y="1298991"/>
                </a:moveTo>
                <a:cubicBezTo>
                  <a:pt x="6696" y="1298991"/>
                  <a:pt x="2819" y="1295820"/>
                  <a:pt x="2467" y="1291414"/>
                </a:cubicBezTo>
                <a:cubicBezTo>
                  <a:pt x="1057" y="1279256"/>
                  <a:pt x="176" y="1267274"/>
                  <a:pt x="0" y="1255292"/>
                </a:cubicBezTo>
                <a:cubicBezTo>
                  <a:pt x="0" y="1250535"/>
                  <a:pt x="3700" y="1246658"/>
                  <a:pt x="8458" y="1246482"/>
                </a:cubicBezTo>
                <a:cubicBezTo>
                  <a:pt x="12863" y="1245953"/>
                  <a:pt x="17092" y="1250182"/>
                  <a:pt x="17268" y="1254940"/>
                </a:cubicBezTo>
                <a:cubicBezTo>
                  <a:pt x="17444" y="1266217"/>
                  <a:pt x="18149" y="1277846"/>
                  <a:pt x="19559" y="1289300"/>
                </a:cubicBezTo>
                <a:cubicBezTo>
                  <a:pt x="20087" y="1294058"/>
                  <a:pt x="16740" y="1298286"/>
                  <a:pt x="11982" y="1298815"/>
                </a:cubicBezTo>
                <a:cubicBezTo>
                  <a:pt x="11630" y="1298815"/>
                  <a:pt x="11277" y="1298991"/>
                  <a:pt x="10925" y="1298991"/>
                </a:cubicBezTo>
                <a:close/>
                <a:moveTo>
                  <a:pt x="15154" y="1193796"/>
                </a:moveTo>
                <a:cubicBezTo>
                  <a:pt x="14625" y="1193796"/>
                  <a:pt x="14096" y="1193796"/>
                  <a:pt x="13392" y="1193620"/>
                </a:cubicBezTo>
                <a:cubicBezTo>
                  <a:pt x="8810" y="1192739"/>
                  <a:pt x="5639" y="1188158"/>
                  <a:pt x="6696" y="1183400"/>
                </a:cubicBezTo>
                <a:lnTo>
                  <a:pt x="7753" y="1178114"/>
                </a:lnTo>
                <a:cubicBezTo>
                  <a:pt x="10044" y="1167542"/>
                  <a:pt x="12511" y="1157850"/>
                  <a:pt x="14977" y="1148511"/>
                </a:cubicBezTo>
                <a:cubicBezTo>
                  <a:pt x="16211" y="1143930"/>
                  <a:pt x="20968" y="1141111"/>
                  <a:pt x="25550" y="1142344"/>
                </a:cubicBezTo>
                <a:cubicBezTo>
                  <a:pt x="30131" y="1143578"/>
                  <a:pt x="32950" y="1148335"/>
                  <a:pt x="31717" y="1152916"/>
                </a:cubicBezTo>
                <a:cubicBezTo>
                  <a:pt x="29250" y="1161903"/>
                  <a:pt x="26959" y="1171418"/>
                  <a:pt x="24669" y="1181814"/>
                </a:cubicBezTo>
                <a:lnTo>
                  <a:pt x="23612" y="1186748"/>
                </a:lnTo>
                <a:cubicBezTo>
                  <a:pt x="22731" y="1190977"/>
                  <a:pt x="19030" y="1193796"/>
                  <a:pt x="15154" y="1193796"/>
                </a:cubicBezTo>
                <a:close/>
                <a:moveTo>
                  <a:pt x="44580" y="1092302"/>
                </a:moveTo>
                <a:cubicBezTo>
                  <a:pt x="43699" y="1092302"/>
                  <a:pt x="42642" y="1092125"/>
                  <a:pt x="41761" y="1091773"/>
                </a:cubicBezTo>
                <a:cubicBezTo>
                  <a:pt x="37356" y="1090187"/>
                  <a:pt x="34889" y="1085253"/>
                  <a:pt x="36475" y="1080848"/>
                </a:cubicBezTo>
                <a:lnTo>
                  <a:pt x="37884" y="1077148"/>
                </a:lnTo>
                <a:cubicBezTo>
                  <a:pt x="41585" y="1066575"/>
                  <a:pt x="45109" y="1056884"/>
                  <a:pt x="47928" y="1047898"/>
                </a:cubicBezTo>
                <a:cubicBezTo>
                  <a:pt x="49338" y="1043316"/>
                  <a:pt x="54095" y="1040849"/>
                  <a:pt x="58677" y="1042259"/>
                </a:cubicBezTo>
                <a:cubicBezTo>
                  <a:pt x="63258" y="1043669"/>
                  <a:pt x="65725" y="1048426"/>
                  <a:pt x="64315" y="1053008"/>
                </a:cubicBezTo>
                <a:cubicBezTo>
                  <a:pt x="61496" y="1062170"/>
                  <a:pt x="57972" y="1072038"/>
                  <a:pt x="54095" y="1082963"/>
                </a:cubicBezTo>
                <a:lnTo>
                  <a:pt x="52686" y="1086663"/>
                </a:lnTo>
                <a:cubicBezTo>
                  <a:pt x="51452" y="1090187"/>
                  <a:pt x="48104" y="1092302"/>
                  <a:pt x="44580" y="1092302"/>
                </a:cubicBezTo>
                <a:close/>
                <a:moveTo>
                  <a:pt x="59381" y="989750"/>
                </a:moveTo>
                <a:cubicBezTo>
                  <a:pt x="55681" y="989750"/>
                  <a:pt x="52157" y="987283"/>
                  <a:pt x="51100" y="983406"/>
                </a:cubicBezTo>
                <a:cubicBezTo>
                  <a:pt x="50219" y="980234"/>
                  <a:pt x="49161" y="977063"/>
                  <a:pt x="48104" y="973715"/>
                </a:cubicBezTo>
                <a:cubicBezTo>
                  <a:pt x="45637" y="966667"/>
                  <a:pt x="43347" y="958209"/>
                  <a:pt x="41585" y="948694"/>
                </a:cubicBezTo>
                <a:cubicBezTo>
                  <a:pt x="40704" y="943936"/>
                  <a:pt x="43699" y="939531"/>
                  <a:pt x="48457" y="938650"/>
                </a:cubicBezTo>
                <a:cubicBezTo>
                  <a:pt x="53038" y="937769"/>
                  <a:pt x="57619" y="940764"/>
                  <a:pt x="58500" y="945522"/>
                </a:cubicBezTo>
                <a:cubicBezTo>
                  <a:pt x="60086" y="954156"/>
                  <a:pt x="62024" y="961733"/>
                  <a:pt x="64315" y="967900"/>
                </a:cubicBezTo>
                <a:cubicBezTo>
                  <a:pt x="65725" y="971600"/>
                  <a:pt x="66782" y="975301"/>
                  <a:pt x="67663" y="978825"/>
                </a:cubicBezTo>
                <a:cubicBezTo>
                  <a:pt x="68896" y="983406"/>
                  <a:pt x="66253" y="988164"/>
                  <a:pt x="61672" y="989397"/>
                </a:cubicBezTo>
                <a:cubicBezTo>
                  <a:pt x="60791" y="989573"/>
                  <a:pt x="60086" y="989750"/>
                  <a:pt x="59381" y="989750"/>
                </a:cubicBezTo>
                <a:close/>
                <a:moveTo>
                  <a:pt x="43875" y="885612"/>
                </a:moveTo>
                <a:cubicBezTo>
                  <a:pt x="39118" y="885612"/>
                  <a:pt x="35241" y="881911"/>
                  <a:pt x="35241" y="877154"/>
                </a:cubicBezTo>
                <a:cubicBezTo>
                  <a:pt x="35065" y="872220"/>
                  <a:pt x="35065" y="867286"/>
                  <a:pt x="35065" y="862176"/>
                </a:cubicBezTo>
                <a:cubicBezTo>
                  <a:pt x="35065" y="855481"/>
                  <a:pt x="35065" y="848432"/>
                  <a:pt x="35241" y="841560"/>
                </a:cubicBezTo>
                <a:cubicBezTo>
                  <a:pt x="35417" y="836803"/>
                  <a:pt x="38941" y="833102"/>
                  <a:pt x="44051" y="833102"/>
                </a:cubicBezTo>
                <a:cubicBezTo>
                  <a:pt x="48809" y="833279"/>
                  <a:pt x="52509" y="837155"/>
                  <a:pt x="52509" y="841913"/>
                </a:cubicBezTo>
                <a:cubicBezTo>
                  <a:pt x="52333" y="848785"/>
                  <a:pt x="52333" y="855481"/>
                  <a:pt x="52333" y="862176"/>
                </a:cubicBezTo>
                <a:cubicBezTo>
                  <a:pt x="52333" y="867110"/>
                  <a:pt x="52333" y="872044"/>
                  <a:pt x="52509" y="876801"/>
                </a:cubicBezTo>
                <a:cubicBezTo>
                  <a:pt x="52509" y="881559"/>
                  <a:pt x="48809" y="885436"/>
                  <a:pt x="43875" y="885612"/>
                </a:cubicBezTo>
                <a:cubicBezTo>
                  <a:pt x="43875" y="885612"/>
                  <a:pt x="43875" y="885612"/>
                  <a:pt x="43875" y="885612"/>
                </a:cubicBezTo>
                <a:close/>
                <a:moveTo>
                  <a:pt x="47928" y="780064"/>
                </a:moveTo>
                <a:cubicBezTo>
                  <a:pt x="47752" y="780064"/>
                  <a:pt x="47399" y="780064"/>
                  <a:pt x="47223" y="780064"/>
                </a:cubicBezTo>
                <a:cubicBezTo>
                  <a:pt x="42466" y="779536"/>
                  <a:pt x="38941" y="775307"/>
                  <a:pt x="39294" y="770725"/>
                </a:cubicBezTo>
                <a:cubicBezTo>
                  <a:pt x="40351" y="759096"/>
                  <a:pt x="41408" y="747290"/>
                  <a:pt x="42818" y="735484"/>
                </a:cubicBezTo>
                <a:cubicBezTo>
                  <a:pt x="43347" y="730727"/>
                  <a:pt x="47576" y="727379"/>
                  <a:pt x="52333" y="727907"/>
                </a:cubicBezTo>
                <a:cubicBezTo>
                  <a:pt x="57091" y="728436"/>
                  <a:pt x="60439" y="732665"/>
                  <a:pt x="59910" y="737422"/>
                </a:cubicBezTo>
                <a:cubicBezTo>
                  <a:pt x="58677" y="749052"/>
                  <a:pt x="57443" y="760682"/>
                  <a:pt x="56386" y="772311"/>
                </a:cubicBezTo>
                <a:cubicBezTo>
                  <a:pt x="56033" y="776540"/>
                  <a:pt x="52333" y="780064"/>
                  <a:pt x="47928" y="780064"/>
                </a:cubicBezTo>
                <a:close/>
                <a:moveTo>
                  <a:pt x="61143" y="675046"/>
                </a:moveTo>
                <a:cubicBezTo>
                  <a:pt x="60615" y="675046"/>
                  <a:pt x="60262" y="675046"/>
                  <a:pt x="59734" y="674869"/>
                </a:cubicBezTo>
                <a:cubicBezTo>
                  <a:pt x="54976" y="674164"/>
                  <a:pt x="51804" y="669583"/>
                  <a:pt x="52686" y="665002"/>
                </a:cubicBezTo>
                <a:cubicBezTo>
                  <a:pt x="54624" y="653196"/>
                  <a:pt x="56738" y="641566"/>
                  <a:pt x="59029" y="630113"/>
                </a:cubicBezTo>
                <a:cubicBezTo>
                  <a:pt x="59910" y="625532"/>
                  <a:pt x="64491" y="622360"/>
                  <a:pt x="69073" y="623417"/>
                </a:cubicBezTo>
                <a:cubicBezTo>
                  <a:pt x="73654" y="624298"/>
                  <a:pt x="76826" y="628879"/>
                  <a:pt x="75768" y="633461"/>
                </a:cubicBezTo>
                <a:cubicBezTo>
                  <a:pt x="73478" y="644738"/>
                  <a:pt x="71363" y="656191"/>
                  <a:pt x="69425" y="667821"/>
                </a:cubicBezTo>
                <a:cubicBezTo>
                  <a:pt x="68896" y="672050"/>
                  <a:pt x="65196" y="675046"/>
                  <a:pt x="61143" y="675046"/>
                </a:cubicBezTo>
                <a:close/>
                <a:moveTo>
                  <a:pt x="81407" y="571260"/>
                </a:moveTo>
                <a:cubicBezTo>
                  <a:pt x="80878" y="571260"/>
                  <a:pt x="80350" y="571260"/>
                  <a:pt x="79821" y="571084"/>
                </a:cubicBezTo>
                <a:cubicBezTo>
                  <a:pt x="75064" y="570203"/>
                  <a:pt x="72068" y="565798"/>
                  <a:pt x="72949" y="561040"/>
                </a:cubicBezTo>
                <a:cubicBezTo>
                  <a:pt x="74887" y="549939"/>
                  <a:pt x="76826" y="538310"/>
                  <a:pt x="78764" y="526504"/>
                </a:cubicBezTo>
                <a:cubicBezTo>
                  <a:pt x="79469" y="521746"/>
                  <a:pt x="83874" y="518575"/>
                  <a:pt x="88631" y="519279"/>
                </a:cubicBezTo>
                <a:cubicBezTo>
                  <a:pt x="93389" y="519984"/>
                  <a:pt x="96561" y="524389"/>
                  <a:pt x="95856" y="529147"/>
                </a:cubicBezTo>
                <a:cubicBezTo>
                  <a:pt x="93918" y="541305"/>
                  <a:pt x="91979" y="552935"/>
                  <a:pt x="90041" y="564036"/>
                </a:cubicBezTo>
                <a:cubicBezTo>
                  <a:pt x="89160" y="568441"/>
                  <a:pt x="85636" y="571260"/>
                  <a:pt x="81407" y="571260"/>
                </a:cubicBezTo>
                <a:close/>
                <a:moveTo>
                  <a:pt x="97266" y="466594"/>
                </a:moveTo>
                <a:cubicBezTo>
                  <a:pt x="96913" y="466594"/>
                  <a:pt x="96561" y="466594"/>
                  <a:pt x="96208" y="466594"/>
                </a:cubicBezTo>
                <a:cubicBezTo>
                  <a:pt x="91451" y="466065"/>
                  <a:pt x="88103" y="461660"/>
                  <a:pt x="88808" y="456902"/>
                </a:cubicBezTo>
                <a:cubicBezTo>
                  <a:pt x="90217" y="445273"/>
                  <a:pt x="91803" y="433643"/>
                  <a:pt x="93213" y="422014"/>
                </a:cubicBezTo>
                <a:cubicBezTo>
                  <a:pt x="93741" y="417256"/>
                  <a:pt x="98147" y="413908"/>
                  <a:pt x="102728" y="414437"/>
                </a:cubicBezTo>
                <a:cubicBezTo>
                  <a:pt x="107485" y="414965"/>
                  <a:pt x="110833" y="419194"/>
                  <a:pt x="110305" y="423952"/>
                </a:cubicBezTo>
                <a:cubicBezTo>
                  <a:pt x="108895" y="435758"/>
                  <a:pt x="107485" y="447387"/>
                  <a:pt x="105900" y="459017"/>
                </a:cubicBezTo>
                <a:cubicBezTo>
                  <a:pt x="105371" y="463422"/>
                  <a:pt x="101671" y="466594"/>
                  <a:pt x="97266" y="466594"/>
                </a:cubicBezTo>
                <a:close/>
                <a:moveTo>
                  <a:pt x="109248" y="361575"/>
                </a:moveTo>
                <a:cubicBezTo>
                  <a:pt x="108895" y="361575"/>
                  <a:pt x="108719" y="361575"/>
                  <a:pt x="108367" y="361575"/>
                </a:cubicBezTo>
                <a:cubicBezTo>
                  <a:pt x="103609" y="361046"/>
                  <a:pt x="100261" y="356817"/>
                  <a:pt x="100613" y="352236"/>
                </a:cubicBezTo>
                <a:cubicBezTo>
                  <a:pt x="101847" y="340430"/>
                  <a:pt x="102904" y="328624"/>
                  <a:pt x="103961" y="317171"/>
                </a:cubicBezTo>
                <a:cubicBezTo>
                  <a:pt x="104314" y="312413"/>
                  <a:pt x="108543" y="309065"/>
                  <a:pt x="113300" y="309418"/>
                </a:cubicBezTo>
                <a:cubicBezTo>
                  <a:pt x="118058" y="309770"/>
                  <a:pt x="121582" y="313999"/>
                  <a:pt x="121053" y="318757"/>
                </a:cubicBezTo>
                <a:cubicBezTo>
                  <a:pt x="119996" y="330210"/>
                  <a:pt x="118939" y="342016"/>
                  <a:pt x="117705" y="353998"/>
                </a:cubicBezTo>
                <a:cubicBezTo>
                  <a:pt x="117529" y="358227"/>
                  <a:pt x="113653" y="361575"/>
                  <a:pt x="109248" y="361575"/>
                </a:cubicBezTo>
                <a:close/>
                <a:moveTo>
                  <a:pt x="118234" y="256027"/>
                </a:moveTo>
                <a:cubicBezTo>
                  <a:pt x="118058" y="256027"/>
                  <a:pt x="117882" y="256027"/>
                  <a:pt x="117705" y="256027"/>
                </a:cubicBezTo>
                <a:cubicBezTo>
                  <a:pt x="112948" y="255675"/>
                  <a:pt x="109424" y="251622"/>
                  <a:pt x="109600" y="246865"/>
                </a:cubicBezTo>
                <a:cubicBezTo>
                  <a:pt x="110481" y="234354"/>
                  <a:pt x="111010" y="222724"/>
                  <a:pt x="111714" y="211800"/>
                </a:cubicBezTo>
                <a:cubicBezTo>
                  <a:pt x="111891" y="207042"/>
                  <a:pt x="115943" y="203166"/>
                  <a:pt x="120701" y="203694"/>
                </a:cubicBezTo>
                <a:cubicBezTo>
                  <a:pt x="125458" y="203870"/>
                  <a:pt x="129159" y="207923"/>
                  <a:pt x="128806" y="212681"/>
                </a:cubicBezTo>
                <a:cubicBezTo>
                  <a:pt x="128278" y="223606"/>
                  <a:pt x="127573" y="235411"/>
                  <a:pt x="126692" y="248098"/>
                </a:cubicBezTo>
                <a:cubicBezTo>
                  <a:pt x="126340" y="252503"/>
                  <a:pt x="122639" y="256027"/>
                  <a:pt x="118234" y="256027"/>
                </a:cubicBezTo>
                <a:close/>
                <a:moveTo>
                  <a:pt x="120877" y="150304"/>
                </a:moveTo>
                <a:cubicBezTo>
                  <a:pt x="116296" y="150304"/>
                  <a:pt x="112419" y="146603"/>
                  <a:pt x="112243" y="142022"/>
                </a:cubicBezTo>
                <a:cubicBezTo>
                  <a:pt x="111891" y="130040"/>
                  <a:pt x="111714" y="118058"/>
                  <a:pt x="111538" y="106605"/>
                </a:cubicBezTo>
                <a:cubicBezTo>
                  <a:pt x="111538" y="101847"/>
                  <a:pt x="115239" y="97971"/>
                  <a:pt x="119996" y="97794"/>
                </a:cubicBezTo>
                <a:cubicBezTo>
                  <a:pt x="124577" y="97618"/>
                  <a:pt x="128630" y="101495"/>
                  <a:pt x="128630" y="106252"/>
                </a:cubicBezTo>
                <a:cubicBezTo>
                  <a:pt x="128806" y="117706"/>
                  <a:pt x="129159" y="129511"/>
                  <a:pt x="129335" y="141493"/>
                </a:cubicBezTo>
                <a:cubicBezTo>
                  <a:pt x="129511" y="146251"/>
                  <a:pt x="125635" y="150128"/>
                  <a:pt x="121053" y="150304"/>
                </a:cubicBezTo>
                <a:cubicBezTo>
                  <a:pt x="121053" y="150304"/>
                  <a:pt x="120877" y="150304"/>
                  <a:pt x="120877" y="150304"/>
                </a:cubicBezTo>
                <a:close/>
                <a:moveTo>
                  <a:pt x="119291" y="44580"/>
                </a:moveTo>
                <a:cubicBezTo>
                  <a:pt x="114534" y="44580"/>
                  <a:pt x="110657" y="40704"/>
                  <a:pt x="110657" y="35946"/>
                </a:cubicBezTo>
                <a:lnTo>
                  <a:pt x="110657" y="22202"/>
                </a:lnTo>
                <a:lnTo>
                  <a:pt x="110657" y="8458"/>
                </a:lnTo>
                <a:cubicBezTo>
                  <a:pt x="110833" y="3877"/>
                  <a:pt x="114534" y="0"/>
                  <a:pt x="119291" y="0"/>
                </a:cubicBezTo>
                <a:cubicBezTo>
                  <a:pt x="119291" y="0"/>
                  <a:pt x="119291" y="0"/>
                  <a:pt x="119291" y="0"/>
                </a:cubicBezTo>
                <a:cubicBezTo>
                  <a:pt x="124049" y="0"/>
                  <a:pt x="127925" y="3877"/>
                  <a:pt x="127925" y="8634"/>
                </a:cubicBezTo>
                <a:lnTo>
                  <a:pt x="127925" y="22202"/>
                </a:lnTo>
                <a:lnTo>
                  <a:pt x="127925" y="35770"/>
                </a:lnTo>
                <a:cubicBezTo>
                  <a:pt x="127925" y="40704"/>
                  <a:pt x="124225" y="44580"/>
                  <a:pt x="119291" y="44580"/>
                </a:cubicBezTo>
                <a:cubicBezTo>
                  <a:pt x="119467" y="44580"/>
                  <a:pt x="119291" y="44580"/>
                  <a:pt x="119291" y="44580"/>
                </a:cubicBezTo>
                <a:close/>
              </a:path>
            </a:pathLst>
          </a:custGeom>
          <a:solidFill>
            <a:srgbClr val="0074C0"/>
          </a:solidFill>
          <a:ln w="16329" cap="flat">
            <a:solidFill>
              <a:srgbClr val="676766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atin typeface="Manrope" pitchFamily="2" charset="0"/>
            </a:endParaRPr>
          </a:p>
        </p:txBody>
      </p:sp>
      <p:sp>
        <p:nvSpPr>
          <p:cNvPr id="1435" name="Gráfico 1344">
            <a:extLst>
              <a:ext uri="{FF2B5EF4-FFF2-40B4-BE49-F238E27FC236}">
                <a16:creationId xmlns:a16="http://schemas.microsoft.com/office/drawing/2014/main" id="{87065D45-02F6-4535-A54C-A79E5E10523E}"/>
              </a:ext>
            </a:extLst>
          </p:cNvPr>
          <p:cNvSpPr/>
          <p:nvPr/>
        </p:nvSpPr>
        <p:spPr>
          <a:xfrm>
            <a:off x="7594767" y="1079692"/>
            <a:ext cx="1453157" cy="675150"/>
          </a:xfrm>
          <a:custGeom>
            <a:avLst/>
            <a:gdLst>
              <a:gd name="connsiteX0" fmla="*/ 5844 w 1453157"/>
              <a:gd name="connsiteY0" fmla="*/ 675151 h 675150"/>
              <a:gd name="connsiteX1" fmla="*/ 1532 w 1453157"/>
              <a:gd name="connsiteY1" fmla="*/ 673253 h 675150"/>
              <a:gd name="connsiteX2" fmla="*/ 1704 w 1453157"/>
              <a:gd name="connsiteY2" fmla="*/ 664973 h 675150"/>
              <a:gd name="connsiteX3" fmla="*/ 65357 w 1453157"/>
              <a:gd name="connsiteY3" fmla="*/ 605805 h 675150"/>
              <a:gd name="connsiteX4" fmla="*/ 170583 w 1453157"/>
              <a:gd name="connsiteY4" fmla="*/ 625988 h 675150"/>
              <a:gd name="connsiteX5" fmla="*/ 201978 w 1453157"/>
              <a:gd name="connsiteY5" fmla="*/ 574927 h 675150"/>
              <a:gd name="connsiteX6" fmla="*/ 248036 w 1453157"/>
              <a:gd name="connsiteY6" fmla="*/ 554055 h 675150"/>
              <a:gd name="connsiteX7" fmla="*/ 278396 w 1453157"/>
              <a:gd name="connsiteY7" fmla="*/ 532492 h 675150"/>
              <a:gd name="connsiteX8" fmla="*/ 322039 w 1453157"/>
              <a:gd name="connsiteY8" fmla="*/ 540427 h 675150"/>
              <a:gd name="connsiteX9" fmla="*/ 353262 w 1453157"/>
              <a:gd name="connsiteY9" fmla="*/ 494024 h 675150"/>
              <a:gd name="connsiteX10" fmla="*/ 392592 w 1453157"/>
              <a:gd name="connsiteY10" fmla="*/ 463492 h 675150"/>
              <a:gd name="connsiteX11" fmla="*/ 452450 w 1453157"/>
              <a:gd name="connsiteY11" fmla="*/ 463492 h 675150"/>
              <a:gd name="connsiteX12" fmla="*/ 503855 w 1453157"/>
              <a:gd name="connsiteY12" fmla="*/ 467287 h 675150"/>
              <a:gd name="connsiteX13" fmla="*/ 528695 w 1453157"/>
              <a:gd name="connsiteY13" fmla="*/ 454867 h 675150"/>
              <a:gd name="connsiteX14" fmla="*/ 579583 w 1453157"/>
              <a:gd name="connsiteY14" fmla="*/ 463319 h 675150"/>
              <a:gd name="connsiteX15" fmla="*/ 628228 w 1453157"/>
              <a:gd name="connsiteY15" fmla="*/ 467287 h 675150"/>
              <a:gd name="connsiteX16" fmla="*/ 691364 w 1453157"/>
              <a:gd name="connsiteY16" fmla="*/ 467287 h 675150"/>
              <a:gd name="connsiteX17" fmla="*/ 738630 w 1453157"/>
              <a:gd name="connsiteY17" fmla="*/ 431924 h 675150"/>
              <a:gd name="connsiteX18" fmla="*/ 787275 w 1453157"/>
              <a:gd name="connsiteY18" fmla="*/ 387419 h 675150"/>
              <a:gd name="connsiteX19" fmla="*/ 820740 w 1453157"/>
              <a:gd name="connsiteY19" fmla="*/ 349641 h 675150"/>
              <a:gd name="connsiteX20" fmla="*/ 895433 w 1453157"/>
              <a:gd name="connsiteY20" fmla="*/ 324973 h 675150"/>
              <a:gd name="connsiteX21" fmla="*/ 972713 w 1453157"/>
              <a:gd name="connsiteY21" fmla="*/ 284263 h 675150"/>
              <a:gd name="connsiteX22" fmla="*/ 1017046 w 1453157"/>
              <a:gd name="connsiteY22" fmla="*/ 260113 h 675150"/>
              <a:gd name="connsiteX23" fmla="*/ 1044819 w 1453157"/>
              <a:gd name="connsiteY23" fmla="*/ 236480 h 675150"/>
              <a:gd name="connsiteX24" fmla="*/ 1074662 w 1453157"/>
              <a:gd name="connsiteY24" fmla="*/ 198185 h 675150"/>
              <a:gd name="connsiteX25" fmla="*/ 1135900 w 1453157"/>
              <a:gd name="connsiteY25" fmla="*/ 193700 h 675150"/>
              <a:gd name="connsiteX26" fmla="*/ 1185408 w 1453157"/>
              <a:gd name="connsiteY26" fmla="*/ 214400 h 675150"/>
              <a:gd name="connsiteX27" fmla="*/ 1228533 w 1453157"/>
              <a:gd name="connsiteY27" fmla="*/ 218195 h 675150"/>
              <a:gd name="connsiteX28" fmla="*/ 1281318 w 1453157"/>
              <a:gd name="connsiteY28" fmla="*/ 206120 h 675150"/>
              <a:gd name="connsiteX29" fmla="*/ 1342211 w 1453157"/>
              <a:gd name="connsiteY29" fmla="*/ 198012 h 675150"/>
              <a:gd name="connsiteX30" fmla="*/ 1397067 w 1453157"/>
              <a:gd name="connsiteY30" fmla="*/ 178347 h 675150"/>
              <a:gd name="connsiteX31" fmla="*/ 1427254 w 1453157"/>
              <a:gd name="connsiteY31" fmla="*/ 133324 h 675150"/>
              <a:gd name="connsiteX32" fmla="*/ 1403967 w 1453157"/>
              <a:gd name="connsiteY32" fmla="*/ 66394 h 675150"/>
              <a:gd name="connsiteX33" fmla="*/ 1442262 w 1453157"/>
              <a:gd name="connsiteY33" fmla="*/ 2913 h 675150"/>
              <a:gd name="connsiteX34" fmla="*/ 1450369 w 1453157"/>
              <a:gd name="connsiteY34" fmla="*/ 843 h 675150"/>
              <a:gd name="connsiteX35" fmla="*/ 1452267 w 1453157"/>
              <a:gd name="connsiteY35" fmla="*/ 8951 h 675150"/>
              <a:gd name="connsiteX36" fmla="*/ 1416904 w 1453157"/>
              <a:gd name="connsiteY36" fmla="*/ 67774 h 675150"/>
              <a:gd name="connsiteX37" fmla="*/ 1440192 w 1453157"/>
              <a:gd name="connsiteY37" fmla="*/ 134877 h 675150"/>
              <a:gd name="connsiteX38" fmla="*/ 1404829 w 1453157"/>
              <a:gd name="connsiteY38" fmla="*/ 187835 h 675150"/>
              <a:gd name="connsiteX39" fmla="*/ 1344626 w 1453157"/>
              <a:gd name="connsiteY39" fmla="*/ 209052 h 675150"/>
              <a:gd name="connsiteX40" fmla="*/ 1283561 w 1453157"/>
              <a:gd name="connsiteY40" fmla="*/ 217160 h 675150"/>
              <a:gd name="connsiteX41" fmla="*/ 1229741 w 1453157"/>
              <a:gd name="connsiteY41" fmla="*/ 229580 h 675150"/>
              <a:gd name="connsiteX42" fmla="*/ 1182820 w 1453157"/>
              <a:gd name="connsiteY42" fmla="*/ 225267 h 675150"/>
              <a:gd name="connsiteX43" fmla="*/ 1134175 w 1453157"/>
              <a:gd name="connsiteY43" fmla="*/ 205085 h 675150"/>
              <a:gd name="connsiteX44" fmla="*/ 1081044 w 1453157"/>
              <a:gd name="connsiteY44" fmla="*/ 208880 h 675150"/>
              <a:gd name="connsiteX45" fmla="*/ 1053272 w 1453157"/>
              <a:gd name="connsiteY45" fmla="*/ 244415 h 675150"/>
              <a:gd name="connsiteX46" fmla="*/ 1023601 w 1453157"/>
              <a:gd name="connsiteY46" fmla="*/ 269600 h 675150"/>
              <a:gd name="connsiteX47" fmla="*/ 978579 w 1453157"/>
              <a:gd name="connsiteY47" fmla="*/ 294095 h 675150"/>
              <a:gd name="connsiteX48" fmla="*/ 899918 w 1453157"/>
              <a:gd name="connsiteY48" fmla="*/ 335496 h 675150"/>
              <a:gd name="connsiteX49" fmla="*/ 827812 w 1453157"/>
              <a:gd name="connsiteY49" fmla="*/ 359301 h 675150"/>
              <a:gd name="connsiteX50" fmla="*/ 795727 w 1453157"/>
              <a:gd name="connsiteY50" fmla="*/ 395354 h 675150"/>
              <a:gd name="connsiteX51" fmla="*/ 746220 w 1453157"/>
              <a:gd name="connsiteY51" fmla="*/ 440549 h 675150"/>
              <a:gd name="connsiteX52" fmla="*/ 695676 w 1453157"/>
              <a:gd name="connsiteY52" fmla="*/ 478499 h 675150"/>
              <a:gd name="connsiteX53" fmla="*/ 627711 w 1453157"/>
              <a:gd name="connsiteY53" fmla="*/ 478499 h 675150"/>
              <a:gd name="connsiteX54" fmla="*/ 578203 w 1453157"/>
              <a:gd name="connsiteY54" fmla="*/ 474187 h 675150"/>
              <a:gd name="connsiteX55" fmla="*/ 530938 w 1453157"/>
              <a:gd name="connsiteY55" fmla="*/ 466252 h 675150"/>
              <a:gd name="connsiteX56" fmla="*/ 506615 w 1453157"/>
              <a:gd name="connsiteY56" fmla="*/ 478327 h 675150"/>
              <a:gd name="connsiteX57" fmla="*/ 451932 w 1453157"/>
              <a:gd name="connsiteY57" fmla="*/ 474014 h 675150"/>
              <a:gd name="connsiteX58" fmla="*/ 397077 w 1453157"/>
              <a:gd name="connsiteY58" fmla="*/ 474014 h 675150"/>
              <a:gd name="connsiteX59" fmla="*/ 362749 w 1453157"/>
              <a:gd name="connsiteY59" fmla="*/ 500579 h 675150"/>
              <a:gd name="connsiteX60" fmla="*/ 328422 w 1453157"/>
              <a:gd name="connsiteY60" fmla="*/ 551985 h 675150"/>
              <a:gd name="connsiteX61" fmla="*/ 282019 w 1453157"/>
              <a:gd name="connsiteY61" fmla="*/ 543705 h 675150"/>
              <a:gd name="connsiteX62" fmla="*/ 254418 w 1453157"/>
              <a:gd name="connsiteY62" fmla="*/ 563370 h 675150"/>
              <a:gd name="connsiteX63" fmla="*/ 211120 w 1453157"/>
              <a:gd name="connsiteY63" fmla="*/ 583035 h 675150"/>
              <a:gd name="connsiteX64" fmla="*/ 177138 w 1453157"/>
              <a:gd name="connsiteY64" fmla="*/ 638063 h 675150"/>
              <a:gd name="connsiteX65" fmla="*/ 69670 w 1453157"/>
              <a:gd name="connsiteY65" fmla="*/ 617363 h 675150"/>
              <a:gd name="connsiteX66" fmla="*/ 10501 w 1453157"/>
              <a:gd name="connsiteY66" fmla="*/ 672563 h 675150"/>
              <a:gd name="connsiteX67" fmla="*/ 5844 w 1453157"/>
              <a:gd name="connsiteY67" fmla="*/ 675151 h 67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453157" h="675150">
                <a:moveTo>
                  <a:pt x="5844" y="675151"/>
                </a:moveTo>
                <a:cubicBezTo>
                  <a:pt x="4292" y="675151"/>
                  <a:pt x="2566" y="674461"/>
                  <a:pt x="1532" y="673253"/>
                </a:cubicBezTo>
                <a:cubicBezTo>
                  <a:pt x="-538" y="670838"/>
                  <a:pt x="-538" y="667043"/>
                  <a:pt x="1704" y="664973"/>
                </a:cubicBezTo>
                <a:lnTo>
                  <a:pt x="65357" y="605805"/>
                </a:lnTo>
                <a:lnTo>
                  <a:pt x="170583" y="625988"/>
                </a:lnTo>
                <a:lnTo>
                  <a:pt x="201978" y="574927"/>
                </a:lnTo>
                <a:lnTo>
                  <a:pt x="248036" y="554055"/>
                </a:lnTo>
                <a:lnTo>
                  <a:pt x="278396" y="532492"/>
                </a:lnTo>
                <a:lnTo>
                  <a:pt x="322039" y="540427"/>
                </a:lnTo>
                <a:lnTo>
                  <a:pt x="353262" y="494024"/>
                </a:lnTo>
                <a:lnTo>
                  <a:pt x="392592" y="463492"/>
                </a:lnTo>
                <a:lnTo>
                  <a:pt x="452450" y="463492"/>
                </a:lnTo>
                <a:lnTo>
                  <a:pt x="503855" y="467287"/>
                </a:lnTo>
                <a:lnTo>
                  <a:pt x="528695" y="454867"/>
                </a:lnTo>
                <a:lnTo>
                  <a:pt x="579583" y="463319"/>
                </a:lnTo>
                <a:lnTo>
                  <a:pt x="628228" y="467287"/>
                </a:lnTo>
                <a:lnTo>
                  <a:pt x="691364" y="467287"/>
                </a:lnTo>
                <a:lnTo>
                  <a:pt x="738630" y="431924"/>
                </a:lnTo>
                <a:lnTo>
                  <a:pt x="787275" y="387419"/>
                </a:lnTo>
                <a:lnTo>
                  <a:pt x="820740" y="349641"/>
                </a:lnTo>
                <a:lnTo>
                  <a:pt x="895433" y="324973"/>
                </a:lnTo>
                <a:lnTo>
                  <a:pt x="972713" y="284263"/>
                </a:lnTo>
                <a:lnTo>
                  <a:pt x="1017046" y="260113"/>
                </a:lnTo>
                <a:lnTo>
                  <a:pt x="1044819" y="236480"/>
                </a:lnTo>
                <a:lnTo>
                  <a:pt x="1074662" y="198185"/>
                </a:lnTo>
                <a:lnTo>
                  <a:pt x="1135900" y="193700"/>
                </a:lnTo>
                <a:lnTo>
                  <a:pt x="1185408" y="214400"/>
                </a:lnTo>
                <a:lnTo>
                  <a:pt x="1228533" y="218195"/>
                </a:lnTo>
                <a:lnTo>
                  <a:pt x="1281318" y="206120"/>
                </a:lnTo>
                <a:lnTo>
                  <a:pt x="1342211" y="198012"/>
                </a:lnTo>
                <a:lnTo>
                  <a:pt x="1397067" y="178347"/>
                </a:lnTo>
                <a:lnTo>
                  <a:pt x="1427254" y="133324"/>
                </a:lnTo>
                <a:lnTo>
                  <a:pt x="1403967" y="66394"/>
                </a:lnTo>
                <a:lnTo>
                  <a:pt x="1442262" y="2913"/>
                </a:lnTo>
                <a:cubicBezTo>
                  <a:pt x="1443987" y="153"/>
                  <a:pt x="1447609" y="-882"/>
                  <a:pt x="1450369" y="843"/>
                </a:cubicBezTo>
                <a:cubicBezTo>
                  <a:pt x="1453129" y="2568"/>
                  <a:pt x="1453992" y="6191"/>
                  <a:pt x="1452267" y="8951"/>
                </a:cubicBezTo>
                <a:lnTo>
                  <a:pt x="1416904" y="67774"/>
                </a:lnTo>
                <a:lnTo>
                  <a:pt x="1440192" y="134877"/>
                </a:lnTo>
                <a:lnTo>
                  <a:pt x="1404829" y="187835"/>
                </a:lnTo>
                <a:lnTo>
                  <a:pt x="1344626" y="209052"/>
                </a:lnTo>
                <a:lnTo>
                  <a:pt x="1283561" y="217160"/>
                </a:lnTo>
                <a:lnTo>
                  <a:pt x="1229741" y="229580"/>
                </a:lnTo>
                <a:lnTo>
                  <a:pt x="1182820" y="225267"/>
                </a:lnTo>
                <a:lnTo>
                  <a:pt x="1134175" y="205085"/>
                </a:lnTo>
                <a:lnTo>
                  <a:pt x="1081044" y="208880"/>
                </a:lnTo>
                <a:lnTo>
                  <a:pt x="1053272" y="244415"/>
                </a:lnTo>
                <a:lnTo>
                  <a:pt x="1023601" y="269600"/>
                </a:lnTo>
                <a:lnTo>
                  <a:pt x="978579" y="294095"/>
                </a:lnTo>
                <a:lnTo>
                  <a:pt x="899918" y="335496"/>
                </a:lnTo>
                <a:lnTo>
                  <a:pt x="827812" y="359301"/>
                </a:lnTo>
                <a:lnTo>
                  <a:pt x="795727" y="395354"/>
                </a:lnTo>
                <a:lnTo>
                  <a:pt x="746220" y="440549"/>
                </a:lnTo>
                <a:lnTo>
                  <a:pt x="695676" y="478499"/>
                </a:lnTo>
                <a:lnTo>
                  <a:pt x="627711" y="478499"/>
                </a:lnTo>
                <a:lnTo>
                  <a:pt x="578203" y="474187"/>
                </a:lnTo>
                <a:lnTo>
                  <a:pt x="530938" y="466252"/>
                </a:lnTo>
                <a:lnTo>
                  <a:pt x="506615" y="478327"/>
                </a:lnTo>
                <a:lnTo>
                  <a:pt x="451932" y="474014"/>
                </a:lnTo>
                <a:lnTo>
                  <a:pt x="397077" y="474014"/>
                </a:lnTo>
                <a:lnTo>
                  <a:pt x="362749" y="500579"/>
                </a:lnTo>
                <a:lnTo>
                  <a:pt x="328422" y="551985"/>
                </a:lnTo>
                <a:lnTo>
                  <a:pt x="282019" y="543705"/>
                </a:lnTo>
                <a:lnTo>
                  <a:pt x="254418" y="563370"/>
                </a:lnTo>
                <a:lnTo>
                  <a:pt x="211120" y="583035"/>
                </a:lnTo>
                <a:lnTo>
                  <a:pt x="177138" y="638063"/>
                </a:lnTo>
                <a:lnTo>
                  <a:pt x="69670" y="617363"/>
                </a:lnTo>
                <a:lnTo>
                  <a:pt x="10501" y="672563"/>
                </a:lnTo>
                <a:cubicBezTo>
                  <a:pt x="8604" y="674461"/>
                  <a:pt x="7396" y="675151"/>
                  <a:pt x="5844" y="675151"/>
                </a:cubicBezTo>
              </a:path>
            </a:pathLst>
          </a:custGeom>
          <a:solidFill>
            <a:srgbClr val="DCE137"/>
          </a:solidFill>
          <a:ln w="17238" cap="flat">
            <a:solidFill>
              <a:srgbClr val="DCE137"/>
            </a:solidFill>
            <a:prstDash val="solid"/>
            <a:miter/>
          </a:ln>
        </p:spPr>
        <p:txBody>
          <a:bodyPr rtlCol="0" anchor="ctr"/>
          <a:lstStyle/>
          <a:p>
            <a:endParaRPr lang="pt-BR">
              <a:latin typeface="Manrope" pitchFamily="2" charset="0"/>
            </a:endParaRPr>
          </a:p>
        </p:txBody>
      </p:sp>
      <p:sp>
        <p:nvSpPr>
          <p:cNvPr id="1436" name="Graphic 1070">
            <a:extLst>
              <a:ext uri="{FF2B5EF4-FFF2-40B4-BE49-F238E27FC236}">
                <a16:creationId xmlns:a16="http://schemas.microsoft.com/office/drawing/2014/main" id="{9DCFFF5E-07B9-4EB4-B439-CD5223633D91}"/>
              </a:ext>
            </a:extLst>
          </p:cNvPr>
          <p:cNvSpPr/>
          <p:nvPr/>
        </p:nvSpPr>
        <p:spPr>
          <a:xfrm>
            <a:off x="952953" y="2921882"/>
            <a:ext cx="409503" cy="121440"/>
          </a:xfrm>
          <a:custGeom>
            <a:avLst/>
            <a:gdLst>
              <a:gd name="connsiteX0" fmla="*/ 0 w 409503"/>
              <a:gd name="connsiteY0" fmla="*/ 0 h 121440"/>
              <a:gd name="connsiteX1" fmla="*/ 409504 w 409503"/>
              <a:gd name="connsiteY1" fmla="*/ 0 h 121440"/>
              <a:gd name="connsiteX2" fmla="*/ 409504 w 409503"/>
              <a:gd name="connsiteY2" fmla="*/ 121441 h 121440"/>
              <a:gd name="connsiteX3" fmla="*/ 0 w 409503"/>
              <a:gd name="connsiteY3" fmla="*/ 121441 h 121440"/>
              <a:gd name="connsiteX4" fmla="*/ 0 w 409503"/>
              <a:gd name="connsiteY4" fmla="*/ 0 h 12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503" h="121440">
                <a:moveTo>
                  <a:pt x="0" y="0"/>
                </a:moveTo>
                <a:lnTo>
                  <a:pt x="409504" y="0"/>
                </a:lnTo>
                <a:lnTo>
                  <a:pt x="409504" y="121441"/>
                </a:lnTo>
                <a:lnTo>
                  <a:pt x="0" y="121441"/>
                </a:lnTo>
                <a:lnTo>
                  <a:pt x="0" y="0"/>
                </a:lnTo>
                <a:close/>
              </a:path>
            </a:pathLst>
          </a:custGeom>
          <a:solidFill>
            <a:srgbClr val="F59D24"/>
          </a:solidFill>
          <a:ln w="11916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37" name="Graphic 1070">
            <a:extLst>
              <a:ext uri="{FF2B5EF4-FFF2-40B4-BE49-F238E27FC236}">
                <a16:creationId xmlns:a16="http://schemas.microsoft.com/office/drawing/2014/main" id="{B70C2D7E-C64A-4984-8098-F9B83C477480}"/>
              </a:ext>
            </a:extLst>
          </p:cNvPr>
          <p:cNvSpPr/>
          <p:nvPr/>
        </p:nvSpPr>
        <p:spPr>
          <a:xfrm>
            <a:off x="952953" y="3361476"/>
            <a:ext cx="409503" cy="121321"/>
          </a:xfrm>
          <a:custGeom>
            <a:avLst/>
            <a:gdLst>
              <a:gd name="connsiteX0" fmla="*/ 0 w 409503"/>
              <a:gd name="connsiteY0" fmla="*/ 0 h 121321"/>
              <a:gd name="connsiteX1" fmla="*/ 409504 w 409503"/>
              <a:gd name="connsiteY1" fmla="*/ 0 h 121321"/>
              <a:gd name="connsiteX2" fmla="*/ 409504 w 409503"/>
              <a:gd name="connsiteY2" fmla="*/ 121321 h 121321"/>
              <a:gd name="connsiteX3" fmla="*/ 0 w 409503"/>
              <a:gd name="connsiteY3" fmla="*/ 121321 h 121321"/>
              <a:gd name="connsiteX4" fmla="*/ 0 w 409503"/>
              <a:gd name="connsiteY4" fmla="*/ 0 h 121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503" h="121321">
                <a:moveTo>
                  <a:pt x="0" y="0"/>
                </a:moveTo>
                <a:lnTo>
                  <a:pt x="409504" y="0"/>
                </a:lnTo>
                <a:lnTo>
                  <a:pt x="409504" y="121321"/>
                </a:lnTo>
                <a:lnTo>
                  <a:pt x="0" y="121321"/>
                </a:lnTo>
                <a:lnTo>
                  <a:pt x="0" y="0"/>
                </a:lnTo>
                <a:close/>
              </a:path>
            </a:pathLst>
          </a:custGeom>
          <a:solidFill>
            <a:srgbClr val="0074C0"/>
          </a:solidFill>
          <a:ln w="11916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38" name="Graphic 1070">
            <a:extLst>
              <a:ext uri="{FF2B5EF4-FFF2-40B4-BE49-F238E27FC236}">
                <a16:creationId xmlns:a16="http://schemas.microsoft.com/office/drawing/2014/main" id="{A2576948-7F01-4632-94C1-76F3A9D531B2}"/>
              </a:ext>
            </a:extLst>
          </p:cNvPr>
          <p:cNvSpPr/>
          <p:nvPr/>
        </p:nvSpPr>
        <p:spPr>
          <a:xfrm>
            <a:off x="952953" y="3885588"/>
            <a:ext cx="409503" cy="121440"/>
          </a:xfrm>
          <a:custGeom>
            <a:avLst/>
            <a:gdLst>
              <a:gd name="connsiteX0" fmla="*/ 0 w 409503"/>
              <a:gd name="connsiteY0" fmla="*/ 0 h 121440"/>
              <a:gd name="connsiteX1" fmla="*/ 409504 w 409503"/>
              <a:gd name="connsiteY1" fmla="*/ 0 h 121440"/>
              <a:gd name="connsiteX2" fmla="*/ 409504 w 409503"/>
              <a:gd name="connsiteY2" fmla="*/ 121441 h 121440"/>
              <a:gd name="connsiteX3" fmla="*/ 0 w 409503"/>
              <a:gd name="connsiteY3" fmla="*/ 121441 h 121440"/>
              <a:gd name="connsiteX4" fmla="*/ 0 w 409503"/>
              <a:gd name="connsiteY4" fmla="*/ 0 h 12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503" h="121440">
                <a:moveTo>
                  <a:pt x="0" y="0"/>
                </a:moveTo>
                <a:lnTo>
                  <a:pt x="409504" y="0"/>
                </a:lnTo>
                <a:lnTo>
                  <a:pt x="409504" y="121441"/>
                </a:lnTo>
                <a:lnTo>
                  <a:pt x="0" y="121441"/>
                </a:lnTo>
                <a:lnTo>
                  <a:pt x="0" y="0"/>
                </a:lnTo>
                <a:close/>
              </a:path>
            </a:pathLst>
          </a:custGeom>
          <a:solidFill>
            <a:srgbClr val="DCE137"/>
          </a:solidFill>
          <a:ln w="11916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39" name="Graphic 1070">
            <a:extLst>
              <a:ext uri="{FF2B5EF4-FFF2-40B4-BE49-F238E27FC236}">
                <a16:creationId xmlns:a16="http://schemas.microsoft.com/office/drawing/2014/main" id="{E1510EA2-0A86-477A-BC7C-BE41B1298B5C}"/>
              </a:ext>
            </a:extLst>
          </p:cNvPr>
          <p:cNvSpPr/>
          <p:nvPr/>
        </p:nvSpPr>
        <p:spPr>
          <a:xfrm>
            <a:off x="952953" y="4404087"/>
            <a:ext cx="409503" cy="121440"/>
          </a:xfrm>
          <a:custGeom>
            <a:avLst/>
            <a:gdLst>
              <a:gd name="connsiteX0" fmla="*/ 0 w 409503"/>
              <a:gd name="connsiteY0" fmla="*/ 0 h 121440"/>
              <a:gd name="connsiteX1" fmla="*/ 409504 w 409503"/>
              <a:gd name="connsiteY1" fmla="*/ 0 h 121440"/>
              <a:gd name="connsiteX2" fmla="*/ 409504 w 409503"/>
              <a:gd name="connsiteY2" fmla="*/ 121441 h 121440"/>
              <a:gd name="connsiteX3" fmla="*/ 0 w 409503"/>
              <a:gd name="connsiteY3" fmla="*/ 121441 h 121440"/>
              <a:gd name="connsiteX4" fmla="*/ 0 w 409503"/>
              <a:gd name="connsiteY4" fmla="*/ 0 h 12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503" h="121440">
                <a:moveTo>
                  <a:pt x="0" y="0"/>
                </a:moveTo>
                <a:lnTo>
                  <a:pt x="409504" y="0"/>
                </a:lnTo>
                <a:lnTo>
                  <a:pt x="409504" y="121441"/>
                </a:lnTo>
                <a:lnTo>
                  <a:pt x="0" y="121441"/>
                </a:lnTo>
                <a:lnTo>
                  <a:pt x="0" y="0"/>
                </a:lnTo>
                <a:close/>
              </a:path>
            </a:pathLst>
          </a:custGeom>
          <a:solidFill>
            <a:srgbClr val="9F6A89"/>
          </a:solidFill>
          <a:ln w="11916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44" name="CaixaDeTexto 1443">
            <a:hlinkClick r:id="" action="ppaction://noaction"/>
            <a:extLst>
              <a:ext uri="{FF2B5EF4-FFF2-40B4-BE49-F238E27FC236}">
                <a16:creationId xmlns:a16="http://schemas.microsoft.com/office/drawing/2014/main" id="{2DFD2707-E3F2-46F7-ACCD-00E68A460824}"/>
              </a:ext>
            </a:extLst>
          </p:cNvPr>
          <p:cNvSpPr txBox="1"/>
          <p:nvPr/>
        </p:nvSpPr>
        <p:spPr>
          <a:xfrm>
            <a:off x="1623966" y="2750196"/>
            <a:ext cx="24847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VLI – Ferrovia Centro-Atlântica (FCA) </a:t>
            </a:r>
          </a:p>
        </p:txBody>
      </p:sp>
      <p:sp>
        <p:nvSpPr>
          <p:cNvPr id="1445" name="CaixaDeTexto 1444">
            <a:hlinkClick r:id="" action="ppaction://noaction"/>
            <a:extLst>
              <a:ext uri="{FF2B5EF4-FFF2-40B4-BE49-F238E27FC236}">
                <a16:creationId xmlns:a16="http://schemas.microsoft.com/office/drawing/2014/main" id="{1229AFE6-A8F2-498C-92E6-FCC3625E0876}"/>
              </a:ext>
            </a:extLst>
          </p:cNvPr>
          <p:cNvSpPr txBox="1"/>
          <p:nvPr/>
        </p:nvSpPr>
        <p:spPr>
          <a:xfrm>
            <a:off x="1623966" y="3234886"/>
            <a:ext cx="26048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VLI – Tramo Norte Ferrovia Norte-Sul (FNS) </a:t>
            </a:r>
          </a:p>
        </p:txBody>
      </p:sp>
      <p:sp>
        <p:nvSpPr>
          <p:cNvPr id="1446" name="CaixaDeTexto 1445">
            <a:hlinkClick r:id="" action="ppaction://noaction"/>
            <a:extLst>
              <a:ext uri="{FF2B5EF4-FFF2-40B4-BE49-F238E27FC236}">
                <a16:creationId xmlns:a16="http://schemas.microsoft.com/office/drawing/2014/main" id="{958DE375-4695-47DD-B4F6-36A5F2878738}"/>
              </a:ext>
            </a:extLst>
          </p:cNvPr>
          <p:cNvSpPr txBox="1"/>
          <p:nvPr/>
        </p:nvSpPr>
        <p:spPr>
          <a:xfrm>
            <a:off x="1623966" y="3730865"/>
            <a:ext cx="26048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Vale - estrada de</a:t>
            </a:r>
            <a:br>
              <a:rPr lang="pt-BR" sz="1100"/>
            </a:br>
            <a:r>
              <a:rPr lang="pt-BR" sz="1100"/>
              <a:t>ferro carajás (efc)</a:t>
            </a:r>
          </a:p>
        </p:txBody>
      </p:sp>
      <p:sp>
        <p:nvSpPr>
          <p:cNvPr id="1447" name="CaixaDeTexto 1446">
            <a:hlinkClick r:id="" action="ppaction://noaction"/>
            <a:extLst>
              <a:ext uri="{FF2B5EF4-FFF2-40B4-BE49-F238E27FC236}">
                <a16:creationId xmlns:a16="http://schemas.microsoft.com/office/drawing/2014/main" id="{9B06D970-4873-4E08-B519-82ED56208EEA}"/>
              </a:ext>
            </a:extLst>
          </p:cNvPr>
          <p:cNvSpPr txBox="1"/>
          <p:nvPr/>
        </p:nvSpPr>
        <p:spPr>
          <a:xfrm>
            <a:off x="1623966" y="4767863"/>
            <a:ext cx="26048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Terminal integrador</a:t>
            </a:r>
          </a:p>
        </p:txBody>
      </p:sp>
      <p:sp>
        <p:nvSpPr>
          <p:cNvPr id="1449" name="CaixaDeTexto 1448">
            <a:hlinkClick r:id="" action="ppaction://noaction"/>
            <a:extLst>
              <a:ext uri="{FF2B5EF4-FFF2-40B4-BE49-F238E27FC236}">
                <a16:creationId xmlns:a16="http://schemas.microsoft.com/office/drawing/2014/main" id="{92CF1908-2CEA-45C5-842B-FAF55F39E3C9}"/>
              </a:ext>
            </a:extLst>
          </p:cNvPr>
          <p:cNvSpPr txBox="1"/>
          <p:nvPr/>
        </p:nvSpPr>
        <p:spPr>
          <a:xfrm>
            <a:off x="1623966" y="4249364"/>
            <a:ext cx="2847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Vale - estrada de ferro vitória a minas (efvm)</a:t>
            </a:r>
          </a:p>
        </p:txBody>
      </p:sp>
      <p:sp>
        <p:nvSpPr>
          <p:cNvPr id="1450" name="CaixaDeTexto 1449">
            <a:hlinkClick r:id="" action="ppaction://noaction"/>
            <a:extLst>
              <a:ext uri="{FF2B5EF4-FFF2-40B4-BE49-F238E27FC236}">
                <a16:creationId xmlns:a16="http://schemas.microsoft.com/office/drawing/2014/main" id="{CDEDBAD8-041A-4912-A21E-044F7169EBBD}"/>
              </a:ext>
            </a:extLst>
          </p:cNvPr>
          <p:cNvSpPr txBox="1"/>
          <p:nvPr/>
        </p:nvSpPr>
        <p:spPr>
          <a:xfrm>
            <a:off x="1623966" y="5171455"/>
            <a:ext cx="26048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Porto próprio</a:t>
            </a:r>
          </a:p>
        </p:txBody>
      </p:sp>
      <p:sp>
        <p:nvSpPr>
          <p:cNvPr id="1451" name="CaixaDeTexto 1450">
            <a:extLst>
              <a:ext uri="{FF2B5EF4-FFF2-40B4-BE49-F238E27FC236}">
                <a16:creationId xmlns:a16="http://schemas.microsoft.com/office/drawing/2014/main" id="{4C5A63AB-2311-4D50-A7E0-A251A57A374C}"/>
              </a:ext>
            </a:extLst>
          </p:cNvPr>
          <p:cNvSpPr txBox="1"/>
          <p:nvPr/>
        </p:nvSpPr>
        <p:spPr>
          <a:xfrm>
            <a:off x="1623966" y="5544738"/>
            <a:ext cx="26048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Porto de terceiros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B52B1FFB-77F3-479F-959F-62A74A5662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57576" y="1262678"/>
            <a:ext cx="421283" cy="13303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947EAC0-BCD4-42A6-AD22-79A26B77A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37" y="4747764"/>
            <a:ext cx="324848" cy="227026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5266CEBA-CA06-4D3F-BC42-64A9B7931C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4" y="5149990"/>
            <a:ext cx="268395" cy="245739"/>
          </a:xfrm>
          <a:prstGeom prst="rect">
            <a:avLst/>
          </a:prstGeom>
        </p:spPr>
      </p:pic>
      <p:pic>
        <p:nvPicPr>
          <p:cNvPr id="477" name="Imagem 476">
            <a:extLst>
              <a:ext uri="{FF2B5EF4-FFF2-40B4-BE49-F238E27FC236}">
                <a16:creationId xmlns:a16="http://schemas.microsoft.com/office/drawing/2014/main" id="{993EE99C-D417-4868-9D8E-4A46CCD6A5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944" y="5560938"/>
            <a:ext cx="268395" cy="245738"/>
          </a:xfrm>
          <a:prstGeom prst="rect">
            <a:avLst/>
          </a:prstGeom>
        </p:spPr>
      </p:pic>
      <p:pic>
        <p:nvPicPr>
          <p:cNvPr id="479" name="Imagem 478">
            <a:extLst>
              <a:ext uri="{FF2B5EF4-FFF2-40B4-BE49-F238E27FC236}">
                <a16:creationId xmlns:a16="http://schemas.microsoft.com/office/drawing/2014/main" id="{F1F42EE4-FE2F-409E-B15A-32EBBE7AC9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030" y="2154147"/>
            <a:ext cx="249930" cy="174668"/>
          </a:xfrm>
          <a:prstGeom prst="rect">
            <a:avLst/>
          </a:prstGeom>
        </p:spPr>
      </p:pic>
      <p:pic>
        <p:nvPicPr>
          <p:cNvPr id="480" name="Imagem 479">
            <a:extLst>
              <a:ext uri="{FF2B5EF4-FFF2-40B4-BE49-F238E27FC236}">
                <a16:creationId xmlns:a16="http://schemas.microsoft.com/office/drawing/2014/main" id="{E6598A4D-42EA-4818-8668-BCDF2828D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061" y="2486836"/>
            <a:ext cx="249930" cy="174668"/>
          </a:xfrm>
          <a:prstGeom prst="rect">
            <a:avLst/>
          </a:prstGeom>
        </p:spPr>
      </p:pic>
      <p:pic>
        <p:nvPicPr>
          <p:cNvPr id="481" name="Imagem 480">
            <a:extLst>
              <a:ext uri="{FF2B5EF4-FFF2-40B4-BE49-F238E27FC236}">
                <a16:creationId xmlns:a16="http://schemas.microsoft.com/office/drawing/2014/main" id="{658EBAB8-7050-4AB9-828F-AF089B55C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578" y="5026070"/>
            <a:ext cx="249930" cy="174668"/>
          </a:xfrm>
          <a:prstGeom prst="rect">
            <a:avLst/>
          </a:prstGeom>
        </p:spPr>
      </p:pic>
      <p:pic>
        <p:nvPicPr>
          <p:cNvPr id="482" name="Imagem 481">
            <a:extLst>
              <a:ext uri="{FF2B5EF4-FFF2-40B4-BE49-F238E27FC236}">
                <a16:creationId xmlns:a16="http://schemas.microsoft.com/office/drawing/2014/main" id="{A700FEC6-ED26-47A2-ACF6-D77AD917D5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368" y="4488443"/>
            <a:ext cx="249930" cy="174668"/>
          </a:xfrm>
          <a:prstGeom prst="rect">
            <a:avLst/>
          </a:prstGeom>
        </p:spPr>
      </p:pic>
      <p:pic>
        <p:nvPicPr>
          <p:cNvPr id="483" name="Imagem 482">
            <a:extLst>
              <a:ext uri="{FF2B5EF4-FFF2-40B4-BE49-F238E27FC236}">
                <a16:creationId xmlns:a16="http://schemas.microsoft.com/office/drawing/2014/main" id="{4AB24DB2-2DDD-4CEA-897B-7EA2C5ABB2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141" y="4733642"/>
            <a:ext cx="249930" cy="174668"/>
          </a:xfrm>
          <a:prstGeom prst="rect">
            <a:avLst/>
          </a:prstGeom>
        </p:spPr>
      </p:pic>
      <p:pic>
        <p:nvPicPr>
          <p:cNvPr id="485" name="Imagem 484">
            <a:extLst>
              <a:ext uri="{FF2B5EF4-FFF2-40B4-BE49-F238E27FC236}">
                <a16:creationId xmlns:a16="http://schemas.microsoft.com/office/drawing/2014/main" id="{56096EC2-2C06-4464-A5F5-87054101FF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019" y="4076351"/>
            <a:ext cx="249930" cy="174668"/>
          </a:xfrm>
          <a:prstGeom prst="rect">
            <a:avLst/>
          </a:prstGeom>
        </p:spPr>
      </p:pic>
      <p:pic>
        <p:nvPicPr>
          <p:cNvPr id="486" name="Imagem 485">
            <a:extLst>
              <a:ext uri="{FF2B5EF4-FFF2-40B4-BE49-F238E27FC236}">
                <a16:creationId xmlns:a16="http://schemas.microsoft.com/office/drawing/2014/main" id="{9B23FB5B-7F0B-4EF6-B661-66186D2664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4270" y="4482557"/>
            <a:ext cx="249930" cy="174668"/>
          </a:xfrm>
          <a:prstGeom prst="rect">
            <a:avLst/>
          </a:prstGeom>
        </p:spPr>
      </p:pic>
      <p:pic>
        <p:nvPicPr>
          <p:cNvPr id="488" name="Imagem 487">
            <a:extLst>
              <a:ext uri="{FF2B5EF4-FFF2-40B4-BE49-F238E27FC236}">
                <a16:creationId xmlns:a16="http://schemas.microsoft.com/office/drawing/2014/main" id="{0374B1CA-FC8A-4C8E-A717-E3D5F2B182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362" y="2855150"/>
            <a:ext cx="268395" cy="245739"/>
          </a:xfrm>
          <a:prstGeom prst="rect">
            <a:avLst/>
          </a:prstGeom>
        </p:spPr>
      </p:pic>
      <p:pic>
        <p:nvPicPr>
          <p:cNvPr id="489" name="Imagem 488">
            <a:extLst>
              <a:ext uri="{FF2B5EF4-FFF2-40B4-BE49-F238E27FC236}">
                <a16:creationId xmlns:a16="http://schemas.microsoft.com/office/drawing/2014/main" id="{D51AD62F-61CE-4527-AD00-DA8F5444FF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330" y="360441"/>
            <a:ext cx="268395" cy="245739"/>
          </a:xfrm>
          <a:prstGeom prst="rect">
            <a:avLst/>
          </a:prstGeom>
        </p:spPr>
      </p:pic>
      <p:pic>
        <p:nvPicPr>
          <p:cNvPr id="490" name="Imagem 489">
            <a:extLst>
              <a:ext uri="{FF2B5EF4-FFF2-40B4-BE49-F238E27FC236}">
                <a16:creationId xmlns:a16="http://schemas.microsoft.com/office/drawing/2014/main" id="{C4A588DC-D669-4713-8550-6EAD0F3972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0552" y="5731830"/>
            <a:ext cx="268395" cy="245739"/>
          </a:xfrm>
          <a:prstGeom prst="rect">
            <a:avLst/>
          </a:prstGeom>
        </p:spPr>
      </p:pic>
      <p:pic>
        <p:nvPicPr>
          <p:cNvPr id="491" name="Imagem 490">
            <a:extLst>
              <a:ext uri="{FF2B5EF4-FFF2-40B4-BE49-F238E27FC236}">
                <a16:creationId xmlns:a16="http://schemas.microsoft.com/office/drawing/2014/main" id="{210C1118-2856-407C-A78F-03FBE39AA9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71413" y="3474114"/>
            <a:ext cx="268395" cy="245738"/>
          </a:xfrm>
          <a:prstGeom prst="rect">
            <a:avLst/>
          </a:prstGeom>
        </p:spPr>
      </p:pic>
      <p:pic>
        <p:nvPicPr>
          <p:cNvPr id="492" name="Imagem 491">
            <a:extLst>
              <a:ext uri="{FF2B5EF4-FFF2-40B4-BE49-F238E27FC236}">
                <a16:creationId xmlns:a16="http://schemas.microsoft.com/office/drawing/2014/main" id="{7DA1EB31-9B05-4BE9-B533-1F3CA52010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86461" y="682872"/>
            <a:ext cx="268395" cy="245738"/>
          </a:xfrm>
          <a:prstGeom prst="rect">
            <a:avLst/>
          </a:prstGeom>
        </p:spPr>
      </p:pic>
      <p:pic>
        <p:nvPicPr>
          <p:cNvPr id="493" name="Imagem 492">
            <a:extLst>
              <a:ext uri="{FF2B5EF4-FFF2-40B4-BE49-F238E27FC236}">
                <a16:creationId xmlns:a16="http://schemas.microsoft.com/office/drawing/2014/main" id="{92E6B417-C1FE-460A-9219-A8B35926E1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24946" y="986603"/>
            <a:ext cx="268395" cy="245738"/>
          </a:xfrm>
          <a:prstGeom prst="rect">
            <a:avLst/>
          </a:prstGeom>
        </p:spPr>
      </p:pic>
      <p:pic>
        <p:nvPicPr>
          <p:cNvPr id="494" name="Imagem 493">
            <a:extLst>
              <a:ext uri="{FF2B5EF4-FFF2-40B4-BE49-F238E27FC236}">
                <a16:creationId xmlns:a16="http://schemas.microsoft.com/office/drawing/2014/main" id="{A128B09F-0AB5-4AF4-A2C8-97A5007B0F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38632" y="6159097"/>
            <a:ext cx="268395" cy="245738"/>
          </a:xfrm>
          <a:prstGeom prst="rect">
            <a:avLst/>
          </a:prstGeom>
        </p:spPr>
      </p:pic>
      <p:pic>
        <p:nvPicPr>
          <p:cNvPr id="495" name="Imagem 494">
            <a:extLst>
              <a:ext uri="{FF2B5EF4-FFF2-40B4-BE49-F238E27FC236}">
                <a16:creationId xmlns:a16="http://schemas.microsoft.com/office/drawing/2014/main" id="{7097E304-8D5B-45F5-9505-0D6AA39342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66613" y="4924036"/>
            <a:ext cx="268395" cy="245738"/>
          </a:xfrm>
          <a:prstGeom prst="rect">
            <a:avLst/>
          </a:prstGeom>
        </p:spPr>
      </p:pic>
      <p:pic>
        <p:nvPicPr>
          <p:cNvPr id="470" name="Imagem 469">
            <a:extLst>
              <a:ext uri="{FF2B5EF4-FFF2-40B4-BE49-F238E27FC236}">
                <a16:creationId xmlns:a16="http://schemas.microsoft.com/office/drawing/2014/main" id="{34368F1E-FC94-4AC8-A01F-7B74D80098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2804" y="1878844"/>
            <a:ext cx="249930" cy="174668"/>
          </a:xfrm>
          <a:prstGeom prst="rect">
            <a:avLst/>
          </a:prstGeom>
        </p:spPr>
      </p:pic>
      <p:sp>
        <p:nvSpPr>
          <p:cNvPr id="502" name="CaixaDeTexto 501">
            <a:extLst>
              <a:ext uri="{FF2B5EF4-FFF2-40B4-BE49-F238E27FC236}">
                <a16:creationId xmlns:a16="http://schemas.microsoft.com/office/drawing/2014/main" id="{BFD53316-C355-45CD-B9D5-022AA70F341E}"/>
              </a:ext>
            </a:extLst>
          </p:cNvPr>
          <p:cNvSpPr txBox="1"/>
          <p:nvPr/>
        </p:nvSpPr>
        <p:spPr>
          <a:xfrm>
            <a:off x="8540723" y="1850137"/>
            <a:ext cx="1178464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20" b="1">
                <a:latin typeface="Manrope ExtraBold" pitchFamily="2" charset="0"/>
              </a:rPr>
              <a:t>TI Porto Franco</a:t>
            </a: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0647EC2B-4271-45F3-A2A4-EB3D426599E3}"/>
              </a:ext>
            </a:extLst>
          </p:cNvPr>
          <p:cNvSpPr/>
          <p:nvPr/>
        </p:nvSpPr>
        <p:spPr>
          <a:xfrm>
            <a:off x="620486" y="1079692"/>
            <a:ext cx="3027302" cy="2696901"/>
          </a:xfrm>
          <a:prstGeom prst="ellipse">
            <a:avLst/>
          </a:prstGeom>
        </p:spPr>
        <p:txBody>
          <a:bodyPr wrap="square" rtlCol="0" anchor="ctr">
            <a:spAutoFit/>
          </a:bodyPr>
          <a:lstStyle/>
          <a:p>
            <a:pPr algn="l" defTabSz="1828800">
              <a:lnSpc>
                <a:spcPts val="2600"/>
              </a:lnSpc>
            </a:pPr>
            <a:endParaRPr lang="pt-BR" sz="2300" b="0">
              <a:solidFill>
                <a:schemeClr val="bg1"/>
              </a:solidFill>
              <a:latin typeface="Manrope"/>
              <a:ea typeface="Calibri Light"/>
              <a:cs typeface="Calibri Light"/>
              <a:sym typeface="Calibri Light"/>
            </a:endParaRPr>
          </a:p>
        </p:txBody>
      </p:sp>
      <p:sp>
        <p:nvSpPr>
          <p:cNvPr id="476" name="CaixaDeTexto 475">
            <a:extLst>
              <a:ext uri="{FF2B5EF4-FFF2-40B4-BE49-F238E27FC236}">
                <a16:creationId xmlns:a16="http://schemas.microsoft.com/office/drawing/2014/main" id="{5FDCE8DD-05A3-49DE-B5C6-48F331D4255C}"/>
              </a:ext>
            </a:extLst>
          </p:cNvPr>
          <p:cNvSpPr txBox="1"/>
          <p:nvPr/>
        </p:nvSpPr>
        <p:spPr>
          <a:xfrm>
            <a:off x="1623966" y="5929334"/>
            <a:ext cx="19220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lvl="0">
              <a:defRPr sz="1400" cap="all" spc="150">
                <a:solidFill>
                  <a:schemeClr val="bg1"/>
                </a:solidFill>
                <a:latin typeface="Manrope ExtraBold" pitchFamily="2" charset="0"/>
                <a:ea typeface="Open Sans ExtraBold" panose="020B09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100"/>
              <a:t>Outras ferrovias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5232775D-716E-4E6D-9D68-18C26814FE6E}"/>
              </a:ext>
            </a:extLst>
          </p:cNvPr>
          <p:cNvCxnSpPr>
            <a:cxnSpLocks/>
          </p:cNvCxnSpPr>
          <p:nvPr/>
        </p:nvCxnSpPr>
        <p:spPr>
          <a:xfrm>
            <a:off x="954437" y="6068754"/>
            <a:ext cx="482251" cy="0"/>
          </a:xfrm>
          <a:prstGeom prst="line">
            <a:avLst/>
          </a:prstGeom>
          <a:ln w="31750" cap="rnd">
            <a:solidFill>
              <a:srgbClr val="676766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37DA8932-5D56-490B-B97D-691A8CE23F3F}"/>
              </a:ext>
            </a:extLst>
          </p:cNvPr>
          <p:cNvGrpSpPr/>
          <p:nvPr/>
        </p:nvGrpSpPr>
        <p:grpSpPr>
          <a:xfrm>
            <a:off x="8326179" y="4845503"/>
            <a:ext cx="933682" cy="962282"/>
            <a:chOff x="5897206" y="2976358"/>
            <a:chExt cx="635053" cy="654506"/>
          </a:xfrm>
        </p:grpSpPr>
        <p:sp>
          <p:nvSpPr>
            <p:cNvPr id="14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6395933" y="2976358"/>
              <a:ext cx="136326" cy="507044"/>
            </a:xfrm>
            <a:custGeom>
              <a:avLst/>
              <a:gdLst>
                <a:gd name="connsiteX0" fmla="*/ 49828 w 136326"/>
                <a:gd name="connsiteY0" fmla="*/ 307 h 507044"/>
                <a:gd name="connsiteX1" fmla="*/ 22152 w 136326"/>
                <a:gd name="connsiteY1" fmla="*/ 5073 h 507044"/>
                <a:gd name="connsiteX2" fmla="*/ 2623 w 136326"/>
                <a:gd name="connsiteY2" fmla="*/ 51203 h 507044"/>
                <a:gd name="connsiteX3" fmla="*/ 42910 w 136326"/>
                <a:gd name="connsiteY3" fmla="*/ 99332 h 507044"/>
                <a:gd name="connsiteX4" fmla="*/ 49828 w 136326"/>
                <a:gd name="connsiteY4" fmla="*/ 182366 h 507044"/>
                <a:gd name="connsiteX5" fmla="*/ 73047 w 136326"/>
                <a:gd name="connsiteY5" fmla="*/ 259249 h 507044"/>
                <a:gd name="connsiteX6" fmla="*/ 116256 w 136326"/>
                <a:gd name="connsiteY6" fmla="*/ 295538 h 507044"/>
                <a:gd name="connsiteX7" fmla="*/ 103647 w 136326"/>
                <a:gd name="connsiteY7" fmla="*/ 321371 h 507044"/>
                <a:gd name="connsiteX8" fmla="*/ 131325 w 136326"/>
                <a:gd name="connsiteY8" fmla="*/ 345666 h 507044"/>
                <a:gd name="connsiteX9" fmla="*/ 93497 w 136326"/>
                <a:gd name="connsiteY9" fmla="*/ 367501 h 507044"/>
                <a:gd name="connsiteX10" fmla="*/ 45830 w 136326"/>
                <a:gd name="connsiteY10" fmla="*/ 417475 h 507044"/>
                <a:gd name="connsiteX11" fmla="*/ 87194 w 136326"/>
                <a:gd name="connsiteY11" fmla="*/ 452995 h 507044"/>
                <a:gd name="connsiteX12" fmla="*/ 127327 w 136326"/>
                <a:gd name="connsiteY12" fmla="*/ 506813 h 507044"/>
                <a:gd name="connsiteX13" fmla="*/ 134554 w 136326"/>
                <a:gd name="connsiteY13" fmla="*/ 494973 h 50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6326" h="507044">
                  <a:moveTo>
                    <a:pt x="49828" y="307"/>
                  </a:moveTo>
                  <a:cubicBezTo>
                    <a:pt x="40295" y="-1200"/>
                    <a:pt x="30608" y="476"/>
                    <a:pt x="22152" y="5073"/>
                  </a:cubicBezTo>
                  <a:cubicBezTo>
                    <a:pt x="8004" y="12916"/>
                    <a:pt x="-10295" y="20450"/>
                    <a:pt x="2623" y="51203"/>
                  </a:cubicBezTo>
                  <a:cubicBezTo>
                    <a:pt x="15539" y="81957"/>
                    <a:pt x="35067" y="87800"/>
                    <a:pt x="42910" y="99332"/>
                  </a:cubicBezTo>
                  <a:cubicBezTo>
                    <a:pt x="50752" y="110865"/>
                    <a:pt x="53059" y="151613"/>
                    <a:pt x="49828" y="182366"/>
                  </a:cubicBezTo>
                  <a:cubicBezTo>
                    <a:pt x="45217" y="210213"/>
                    <a:pt x="53673" y="238644"/>
                    <a:pt x="73047" y="259249"/>
                  </a:cubicBezTo>
                  <a:cubicBezTo>
                    <a:pt x="91960" y="278163"/>
                    <a:pt x="111027" y="290002"/>
                    <a:pt x="116256" y="295538"/>
                  </a:cubicBezTo>
                  <a:cubicBezTo>
                    <a:pt x="116256" y="295538"/>
                    <a:pt x="99035" y="310915"/>
                    <a:pt x="103647" y="321371"/>
                  </a:cubicBezTo>
                  <a:cubicBezTo>
                    <a:pt x="108260" y="331827"/>
                    <a:pt x="132555" y="334287"/>
                    <a:pt x="131325" y="345666"/>
                  </a:cubicBezTo>
                  <a:cubicBezTo>
                    <a:pt x="130094" y="357044"/>
                    <a:pt x="118102" y="360120"/>
                    <a:pt x="93497" y="367501"/>
                  </a:cubicBezTo>
                  <a:cubicBezTo>
                    <a:pt x="68895" y="374882"/>
                    <a:pt x="44447" y="394564"/>
                    <a:pt x="45830" y="417475"/>
                  </a:cubicBezTo>
                  <a:cubicBezTo>
                    <a:pt x="47216" y="440386"/>
                    <a:pt x="71972" y="443615"/>
                    <a:pt x="87194" y="452995"/>
                  </a:cubicBezTo>
                  <a:cubicBezTo>
                    <a:pt x="103954" y="468187"/>
                    <a:pt x="117486" y="486470"/>
                    <a:pt x="127327" y="506813"/>
                  </a:cubicBezTo>
                  <a:lnTo>
                    <a:pt x="134554" y="494973"/>
                  </a:ln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6362040" y="3371769"/>
              <a:ext cx="82110" cy="17299"/>
            </a:xfrm>
            <a:custGeom>
              <a:avLst/>
              <a:gdLst>
                <a:gd name="connsiteX0" fmla="*/ -1772 w 82110"/>
                <a:gd name="connsiteY0" fmla="*/ -232 h 17299"/>
                <a:gd name="connsiteX1" fmla="*/ 35130 w 82110"/>
                <a:gd name="connsiteY1" fmla="*/ 16683 h 17299"/>
                <a:gd name="connsiteX2" fmla="*/ 80338 w 82110"/>
                <a:gd name="connsiteY2" fmla="*/ 12838 h 1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110" h="17299">
                  <a:moveTo>
                    <a:pt x="-1772" y="-232"/>
                  </a:moveTo>
                  <a:cubicBezTo>
                    <a:pt x="9144" y="7979"/>
                    <a:pt x="21752" y="13761"/>
                    <a:pt x="35130" y="16683"/>
                  </a:cubicBezTo>
                  <a:cubicBezTo>
                    <a:pt x="53891" y="19604"/>
                    <a:pt x="60656" y="4689"/>
                    <a:pt x="80338" y="12838"/>
                  </a:cubicBez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6016155" y="3022412"/>
              <a:ext cx="436605" cy="580975"/>
            </a:xfrm>
            <a:custGeom>
              <a:avLst/>
              <a:gdLst>
                <a:gd name="connsiteX0" fmla="*/ 428441 w 430213"/>
                <a:gd name="connsiteY0" fmla="*/ -232 h 616295"/>
                <a:gd name="connsiteX1" fmla="*/ 365397 w 430213"/>
                <a:gd name="connsiteY1" fmla="*/ 96026 h 616295"/>
                <a:gd name="connsiteX2" fmla="*/ 326956 w 430213"/>
                <a:gd name="connsiteY2" fmla="*/ 179060 h 616295"/>
                <a:gd name="connsiteX3" fmla="*/ 346484 w 430213"/>
                <a:gd name="connsiteY3" fmla="*/ 280545 h 616295"/>
                <a:gd name="connsiteX4" fmla="*/ 337721 w 430213"/>
                <a:gd name="connsiteY4" fmla="*/ 362195 h 616295"/>
                <a:gd name="connsiteX5" fmla="*/ 280366 w 430213"/>
                <a:gd name="connsiteY5" fmla="*/ 377572 h 616295"/>
                <a:gd name="connsiteX6" fmla="*/ 232851 w 430213"/>
                <a:gd name="connsiteY6" fmla="*/ 387259 h 616295"/>
                <a:gd name="connsiteX7" fmla="*/ 209018 w 430213"/>
                <a:gd name="connsiteY7" fmla="*/ 406787 h 616295"/>
                <a:gd name="connsiteX8" fmla="*/ 167346 w 430213"/>
                <a:gd name="connsiteY8" fmla="*/ 427085 h 616295"/>
                <a:gd name="connsiteX9" fmla="*/ 126446 w 430213"/>
                <a:gd name="connsiteY9" fmla="*/ 445537 h 616295"/>
                <a:gd name="connsiteX10" fmla="*/ 46640 w 430213"/>
                <a:gd name="connsiteY10" fmla="*/ 499970 h 616295"/>
                <a:gd name="connsiteX11" fmla="*/ 4047 w 430213"/>
                <a:gd name="connsiteY11" fmla="*/ 571779 h 616295"/>
                <a:gd name="connsiteX12" fmla="*/ 8507 w 430213"/>
                <a:gd name="connsiteY12" fmla="*/ 616063 h 61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0213" h="616295">
                  <a:moveTo>
                    <a:pt x="428441" y="-232"/>
                  </a:moveTo>
                  <a:cubicBezTo>
                    <a:pt x="428441" y="-232"/>
                    <a:pt x="379545" y="71731"/>
                    <a:pt x="365397" y="96026"/>
                  </a:cubicBezTo>
                  <a:cubicBezTo>
                    <a:pt x="351252" y="120321"/>
                    <a:pt x="322652" y="145077"/>
                    <a:pt x="326956" y="179060"/>
                  </a:cubicBezTo>
                  <a:cubicBezTo>
                    <a:pt x="331262" y="213042"/>
                    <a:pt x="343102" y="257634"/>
                    <a:pt x="346484" y="280545"/>
                  </a:cubicBezTo>
                  <a:cubicBezTo>
                    <a:pt x="349867" y="303457"/>
                    <a:pt x="350175" y="354815"/>
                    <a:pt x="337721" y="362195"/>
                  </a:cubicBezTo>
                  <a:cubicBezTo>
                    <a:pt x="325265" y="369576"/>
                    <a:pt x="295589" y="369115"/>
                    <a:pt x="280366" y="377572"/>
                  </a:cubicBezTo>
                  <a:cubicBezTo>
                    <a:pt x="265142" y="386029"/>
                    <a:pt x="245921" y="380493"/>
                    <a:pt x="232851" y="387259"/>
                  </a:cubicBezTo>
                  <a:cubicBezTo>
                    <a:pt x="219781" y="394025"/>
                    <a:pt x="221626" y="400945"/>
                    <a:pt x="209018" y="406787"/>
                  </a:cubicBezTo>
                  <a:cubicBezTo>
                    <a:pt x="196408" y="412631"/>
                    <a:pt x="175496" y="414014"/>
                    <a:pt x="167346" y="427085"/>
                  </a:cubicBezTo>
                  <a:cubicBezTo>
                    <a:pt x="159198" y="440155"/>
                    <a:pt x="154123" y="422779"/>
                    <a:pt x="126446" y="445537"/>
                  </a:cubicBezTo>
                  <a:cubicBezTo>
                    <a:pt x="102150" y="466803"/>
                    <a:pt x="75241" y="485070"/>
                    <a:pt x="46640" y="499970"/>
                  </a:cubicBezTo>
                  <a:cubicBezTo>
                    <a:pt x="23575" y="510580"/>
                    <a:pt x="14965" y="543486"/>
                    <a:pt x="4047" y="571779"/>
                  </a:cubicBezTo>
                  <a:cubicBezTo>
                    <a:pt x="-6870" y="600072"/>
                    <a:pt x="-719" y="608221"/>
                    <a:pt x="8507" y="616063"/>
                  </a:cubicBez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6032365" y="3498318"/>
              <a:ext cx="78728" cy="85186"/>
            </a:xfrm>
            <a:custGeom>
              <a:avLst/>
              <a:gdLst>
                <a:gd name="connsiteX0" fmla="*/ 76956 w 78728"/>
                <a:gd name="connsiteY0" fmla="*/ -232 h 85186"/>
                <a:gd name="connsiteX1" fmla="*/ 64194 w 78728"/>
                <a:gd name="connsiteY1" fmla="*/ 32982 h 85186"/>
                <a:gd name="connsiteX2" fmla="*/ 21446 w 78728"/>
                <a:gd name="connsiteY2" fmla="*/ 78035 h 85186"/>
                <a:gd name="connsiteX3" fmla="*/ -1772 w 78728"/>
                <a:gd name="connsiteY3" fmla="*/ 84955 h 85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28" h="85186">
                  <a:moveTo>
                    <a:pt x="76956" y="-232"/>
                  </a:moveTo>
                  <a:cubicBezTo>
                    <a:pt x="76956" y="-232"/>
                    <a:pt x="72036" y="14068"/>
                    <a:pt x="64194" y="32982"/>
                  </a:cubicBezTo>
                  <a:cubicBezTo>
                    <a:pt x="56352" y="51895"/>
                    <a:pt x="37593" y="75575"/>
                    <a:pt x="21446" y="78035"/>
                  </a:cubicBezTo>
                  <a:cubicBezTo>
                    <a:pt x="13296" y="78927"/>
                    <a:pt x="5454" y="81264"/>
                    <a:pt x="-1772" y="84955"/>
                  </a:cubicBez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5897206" y="3464336"/>
              <a:ext cx="120244" cy="166528"/>
            </a:xfrm>
            <a:custGeom>
              <a:avLst/>
              <a:gdLst>
                <a:gd name="connsiteX0" fmla="*/ -1772 w 120244"/>
                <a:gd name="connsiteY0" fmla="*/ -232 h 166528"/>
                <a:gd name="connsiteX1" fmla="*/ 28981 w 120244"/>
                <a:gd name="connsiteY1" fmla="*/ 30521 h 166528"/>
                <a:gd name="connsiteX2" fmla="*/ 118472 w 120244"/>
                <a:gd name="connsiteY2" fmla="*/ 166297 h 16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244" h="166528">
                  <a:moveTo>
                    <a:pt x="-1772" y="-232"/>
                  </a:moveTo>
                  <a:cubicBezTo>
                    <a:pt x="11911" y="5780"/>
                    <a:pt x="22984" y="16759"/>
                    <a:pt x="28981" y="30521"/>
                  </a:cubicBezTo>
                  <a:cubicBezTo>
                    <a:pt x="51738" y="80034"/>
                    <a:pt x="82029" y="125810"/>
                    <a:pt x="118472" y="166297"/>
                  </a:cubicBez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" name="Gráfico 12">
              <a:extLst>
                <a:ext uri="{FF2B5EF4-FFF2-40B4-BE49-F238E27FC236}">
                  <a16:creationId xmlns:a16="http://schemas.microsoft.com/office/drawing/2014/main" id="{FDD3DFC2-333D-4988-A9E6-F868FE9C76DA}"/>
                </a:ext>
              </a:extLst>
            </p:cNvPr>
            <p:cNvSpPr/>
            <p:nvPr/>
          </p:nvSpPr>
          <p:spPr>
            <a:xfrm>
              <a:off x="6387718" y="3411133"/>
              <a:ext cx="74270" cy="68580"/>
            </a:xfrm>
            <a:custGeom>
              <a:avLst/>
              <a:gdLst>
                <a:gd name="connsiteX0" fmla="*/ -1772 w 74270"/>
                <a:gd name="connsiteY0" fmla="*/ 68348 h 68580"/>
                <a:gd name="connsiteX1" fmla="*/ 72498 w 74270"/>
                <a:gd name="connsiteY1" fmla="*/ -232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270" h="68580">
                  <a:moveTo>
                    <a:pt x="-1772" y="68348"/>
                  </a:moveTo>
                  <a:cubicBezTo>
                    <a:pt x="-1772" y="68348"/>
                    <a:pt x="14682" y="30983"/>
                    <a:pt x="72498" y="-232"/>
                  </a:cubicBezTo>
                </a:path>
              </a:pathLst>
            </a:custGeom>
            <a:noFill/>
            <a:ln w="26049" cap="rnd">
              <a:solidFill>
                <a:srgbClr val="676766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13" name="Agrupar 1412">
            <a:extLst>
              <a:ext uri="{FF2B5EF4-FFF2-40B4-BE49-F238E27FC236}">
                <a16:creationId xmlns:a16="http://schemas.microsoft.com/office/drawing/2014/main" id="{7758F6AF-10A2-45B8-894D-18DB941A7757}"/>
              </a:ext>
            </a:extLst>
          </p:cNvPr>
          <p:cNvGrpSpPr/>
          <p:nvPr/>
        </p:nvGrpSpPr>
        <p:grpSpPr>
          <a:xfrm>
            <a:off x="8546953" y="5033745"/>
            <a:ext cx="832145" cy="99534"/>
            <a:chOff x="8379313" y="5033745"/>
            <a:chExt cx="832145" cy="99534"/>
          </a:xfrm>
        </p:grpSpPr>
        <p:sp>
          <p:nvSpPr>
            <p:cNvPr id="1414" name="Gráfico 1344">
              <a:extLst>
                <a:ext uri="{FF2B5EF4-FFF2-40B4-BE49-F238E27FC236}">
                  <a16:creationId xmlns:a16="http://schemas.microsoft.com/office/drawing/2014/main" id="{9E130959-8B2B-42F1-B36D-A1889A1E4653}"/>
                </a:ext>
              </a:extLst>
            </p:cNvPr>
            <p:cNvSpPr/>
            <p:nvPr/>
          </p:nvSpPr>
          <p:spPr>
            <a:xfrm>
              <a:off x="8379313" y="5033746"/>
              <a:ext cx="72450" cy="97290"/>
            </a:xfrm>
            <a:custGeom>
              <a:avLst/>
              <a:gdLst>
                <a:gd name="connsiteX0" fmla="*/ 25358 w 72450"/>
                <a:gd name="connsiteY0" fmla="*/ 18630 h 97290"/>
                <a:gd name="connsiteX1" fmla="*/ 0 w 72450"/>
                <a:gd name="connsiteY1" fmla="*/ 18630 h 97290"/>
                <a:gd name="connsiteX2" fmla="*/ 0 w 72450"/>
                <a:gd name="connsiteY2" fmla="*/ 0 h 97290"/>
                <a:gd name="connsiteX3" fmla="*/ 72451 w 72450"/>
                <a:gd name="connsiteY3" fmla="*/ 0 h 97290"/>
                <a:gd name="connsiteX4" fmla="*/ 72451 w 72450"/>
                <a:gd name="connsiteY4" fmla="*/ 18630 h 97290"/>
                <a:gd name="connsiteX5" fmla="*/ 46748 w 72450"/>
                <a:gd name="connsiteY5" fmla="*/ 18630 h 97290"/>
                <a:gd name="connsiteX6" fmla="*/ 46748 w 72450"/>
                <a:gd name="connsiteY6" fmla="*/ 97291 h 97290"/>
                <a:gd name="connsiteX7" fmla="*/ 25358 w 72450"/>
                <a:gd name="connsiteY7" fmla="*/ 97291 h 97290"/>
                <a:gd name="connsiteX8" fmla="*/ 25358 w 72450"/>
                <a:gd name="connsiteY8" fmla="*/ 1863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50" h="97290">
                  <a:moveTo>
                    <a:pt x="25358" y="18630"/>
                  </a:moveTo>
                  <a:lnTo>
                    <a:pt x="0" y="18630"/>
                  </a:lnTo>
                  <a:lnTo>
                    <a:pt x="0" y="0"/>
                  </a:lnTo>
                  <a:lnTo>
                    <a:pt x="72451" y="0"/>
                  </a:lnTo>
                  <a:lnTo>
                    <a:pt x="72451" y="18630"/>
                  </a:lnTo>
                  <a:lnTo>
                    <a:pt x="46748" y="18630"/>
                  </a:lnTo>
                  <a:lnTo>
                    <a:pt x="46748" y="97291"/>
                  </a:lnTo>
                  <a:lnTo>
                    <a:pt x="25358" y="97291"/>
                  </a:lnTo>
                  <a:lnTo>
                    <a:pt x="25358" y="1863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5" name="Gráfico 1344">
              <a:extLst>
                <a:ext uri="{FF2B5EF4-FFF2-40B4-BE49-F238E27FC236}">
                  <a16:creationId xmlns:a16="http://schemas.microsoft.com/office/drawing/2014/main" id="{491EE34A-6E4D-478F-B895-B3D350B63C97}"/>
                </a:ext>
              </a:extLst>
            </p:cNvPr>
            <p:cNvSpPr/>
            <p:nvPr/>
          </p:nvSpPr>
          <p:spPr>
            <a:xfrm>
              <a:off x="8464184" y="5033746"/>
              <a:ext cx="20700" cy="97290"/>
            </a:xfrm>
            <a:custGeom>
              <a:avLst/>
              <a:gdLst>
                <a:gd name="connsiteX0" fmla="*/ 0 w 20700"/>
                <a:gd name="connsiteY0" fmla="*/ 0 h 97290"/>
                <a:gd name="connsiteX1" fmla="*/ 20700 w 20700"/>
                <a:gd name="connsiteY1" fmla="*/ 0 h 97290"/>
                <a:gd name="connsiteX2" fmla="*/ 20700 w 20700"/>
                <a:gd name="connsiteY2" fmla="*/ 97291 h 97290"/>
                <a:gd name="connsiteX3" fmla="*/ 0 w 20700"/>
                <a:gd name="connsiteY3" fmla="*/ 97291 h 97290"/>
                <a:gd name="connsiteX4" fmla="*/ 0 w 20700"/>
                <a:gd name="connsiteY4" fmla="*/ 0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0" h="97290">
                  <a:moveTo>
                    <a:pt x="0" y="0"/>
                  </a:moveTo>
                  <a:lnTo>
                    <a:pt x="20700" y="0"/>
                  </a:lnTo>
                  <a:lnTo>
                    <a:pt x="20700" y="97291"/>
                  </a:lnTo>
                  <a:lnTo>
                    <a:pt x="0" y="97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6" name="Gráfico 1344">
              <a:extLst>
                <a:ext uri="{FF2B5EF4-FFF2-40B4-BE49-F238E27FC236}">
                  <a16:creationId xmlns:a16="http://schemas.microsoft.com/office/drawing/2014/main" id="{CB17AF52-E300-4137-8B6A-8E1D8EE1F90B}"/>
                </a:ext>
              </a:extLst>
            </p:cNvPr>
            <p:cNvSpPr/>
            <p:nvPr/>
          </p:nvSpPr>
          <p:spPr>
            <a:xfrm>
              <a:off x="8528354" y="5033745"/>
              <a:ext cx="93150" cy="99361"/>
            </a:xfrm>
            <a:custGeom>
              <a:avLst/>
              <a:gdLst>
                <a:gd name="connsiteX0" fmla="*/ 93151 w 93150"/>
                <a:gd name="connsiteY0" fmla="*/ 48646 h 99361"/>
                <a:gd name="connsiteX1" fmla="*/ 45541 w 93150"/>
                <a:gd name="connsiteY1" fmla="*/ 99362 h 99361"/>
                <a:gd name="connsiteX2" fmla="*/ 0 w 93150"/>
                <a:gd name="connsiteY2" fmla="*/ 50372 h 99361"/>
                <a:gd name="connsiteX3" fmla="*/ 47265 w 93150"/>
                <a:gd name="connsiteY3" fmla="*/ 1 h 99361"/>
                <a:gd name="connsiteX4" fmla="*/ 93151 w 93150"/>
                <a:gd name="connsiteY4" fmla="*/ 48646 h 99361"/>
                <a:gd name="connsiteX5" fmla="*/ 23115 w 93150"/>
                <a:gd name="connsiteY5" fmla="*/ 49854 h 99361"/>
                <a:gd name="connsiteX6" fmla="*/ 46576 w 93150"/>
                <a:gd name="connsiteY6" fmla="*/ 81939 h 99361"/>
                <a:gd name="connsiteX7" fmla="*/ 69863 w 93150"/>
                <a:gd name="connsiteY7" fmla="*/ 49337 h 99361"/>
                <a:gd name="connsiteX8" fmla="*/ 46403 w 93150"/>
                <a:gd name="connsiteY8" fmla="*/ 17251 h 99361"/>
                <a:gd name="connsiteX9" fmla="*/ 23115 w 93150"/>
                <a:gd name="connsiteY9" fmla="*/ 49854 h 99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150" h="99361">
                  <a:moveTo>
                    <a:pt x="93151" y="48646"/>
                  </a:moveTo>
                  <a:cubicBezTo>
                    <a:pt x="93151" y="80387"/>
                    <a:pt x="73658" y="99362"/>
                    <a:pt x="45541" y="99362"/>
                  </a:cubicBezTo>
                  <a:cubicBezTo>
                    <a:pt x="16905" y="99362"/>
                    <a:pt x="0" y="77799"/>
                    <a:pt x="0" y="50372"/>
                  </a:cubicBezTo>
                  <a:cubicBezTo>
                    <a:pt x="0" y="21392"/>
                    <a:pt x="18630" y="1"/>
                    <a:pt x="47265" y="1"/>
                  </a:cubicBezTo>
                  <a:cubicBezTo>
                    <a:pt x="76935" y="-171"/>
                    <a:pt x="93151" y="21909"/>
                    <a:pt x="93151" y="48646"/>
                  </a:cubicBezTo>
                  <a:moveTo>
                    <a:pt x="23115" y="49854"/>
                  </a:moveTo>
                  <a:cubicBezTo>
                    <a:pt x="23115" y="68657"/>
                    <a:pt x="31913" y="81939"/>
                    <a:pt x="46576" y="81939"/>
                  </a:cubicBezTo>
                  <a:cubicBezTo>
                    <a:pt x="61410" y="81939"/>
                    <a:pt x="69863" y="67967"/>
                    <a:pt x="69863" y="49337"/>
                  </a:cubicBezTo>
                  <a:cubicBezTo>
                    <a:pt x="69863" y="31914"/>
                    <a:pt x="61410" y="17251"/>
                    <a:pt x="46403" y="17251"/>
                  </a:cubicBezTo>
                  <a:cubicBezTo>
                    <a:pt x="31740" y="17079"/>
                    <a:pt x="23115" y="31052"/>
                    <a:pt x="23115" y="49854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7" name="Gráfico 1344">
              <a:extLst>
                <a:ext uri="{FF2B5EF4-FFF2-40B4-BE49-F238E27FC236}">
                  <a16:creationId xmlns:a16="http://schemas.microsoft.com/office/drawing/2014/main" id="{1CFBB81A-EBCC-413B-977F-F9A68CCD9D48}"/>
                </a:ext>
              </a:extLst>
            </p:cNvPr>
            <p:cNvSpPr/>
            <p:nvPr/>
          </p:nvSpPr>
          <p:spPr>
            <a:xfrm>
              <a:off x="8633925" y="5060657"/>
              <a:ext cx="68310" cy="72450"/>
            </a:xfrm>
            <a:custGeom>
              <a:avLst/>
              <a:gdLst>
                <a:gd name="connsiteX0" fmla="*/ 67793 w 68310"/>
                <a:gd name="connsiteY0" fmla="*/ 48128 h 72450"/>
                <a:gd name="connsiteX1" fmla="*/ 68310 w 68310"/>
                <a:gd name="connsiteY1" fmla="*/ 70898 h 72450"/>
                <a:gd name="connsiteX2" fmla="*/ 48990 w 68310"/>
                <a:gd name="connsiteY2" fmla="*/ 70898 h 72450"/>
                <a:gd name="connsiteX3" fmla="*/ 47955 w 68310"/>
                <a:gd name="connsiteY3" fmla="*/ 60893 h 72450"/>
                <a:gd name="connsiteX4" fmla="*/ 47438 w 68310"/>
                <a:gd name="connsiteY4" fmla="*/ 60893 h 72450"/>
                <a:gd name="connsiteX5" fmla="*/ 25185 w 68310"/>
                <a:gd name="connsiteY5" fmla="*/ 72451 h 72450"/>
                <a:gd name="connsiteX6" fmla="*/ 0 w 68310"/>
                <a:gd name="connsiteY6" fmla="*/ 41573 h 72450"/>
                <a:gd name="connsiteX7" fmla="*/ 0 w 68310"/>
                <a:gd name="connsiteY7" fmla="*/ 0 h 72450"/>
                <a:gd name="connsiteX8" fmla="*/ 22253 w 68310"/>
                <a:gd name="connsiteY8" fmla="*/ 0 h 72450"/>
                <a:gd name="connsiteX9" fmla="*/ 22253 w 68310"/>
                <a:gd name="connsiteY9" fmla="*/ 38123 h 72450"/>
                <a:gd name="connsiteX10" fmla="*/ 33465 w 68310"/>
                <a:gd name="connsiteY10" fmla="*/ 54683 h 72450"/>
                <a:gd name="connsiteX11" fmla="*/ 44678 w 68310"/>
                <a:gd name="connsiteY11" fmla="*/ 47093 h 72450"/>
                <a:gd name="connsiteX12" fmla="*/ 45368 w 68310"/>
                <a:gd name="connsiteY12" fmla="*/ 42263 h 72450"/>
                <a:gd name="connsiteX13" fmla="*/ 45368 w 68310"/>
                <a:gd name="connsiteY13" fmla="*/ 0 h 72450"/>
                <a:gd name="connsiteX14" fmla="*/ 67621 w 68310"/>
                <a:gd name="connsiteY14" fmla="*/ 0 h 72450"/>
                <a:gd name="connsiteX15" fmla="*/ 67621 w 68310"/>
                <a:gd name="connsiteY15" fmla="*/ 48128 h 72450"/>
                <a:gd name="connsiteX16" fmla="*/ 67793 w 68310"/>
                <a:gd name="connsiteY16" fmla="*/ 48128 h 72450"/>
                <a:gd name="connsiteX17" fmla="*/ 67793 w 68310"/>
                <a:gd name="connsiteY17" fmla="*/ 4812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310" h="72450">
                  <a:moveTo>
                    <a:pt x="67793" y="48128"/>
                  </a:moveTo>
                  <a:cubicBezTo>
                    <a:pt x="67793" y="57443"/>
                    <a:pt x="67966" y="64861"/>
                    <a:pt x="68310" y="70898"/>
                  </a:cubicBezTo>
                  <a:lnTo>
                    <a:pt x="48990" y="70898"/>
                  </a:lnTo>
                  <a:lnTo>
                    <a:pt x="47955" y="60893"/>
                  </a:lnTo>
                  <a:lnTo>
                    <a:pt x="47438" y="60893"/>
                  </a:lnTo>
                  <a:cubicBezTo>
                    <a:pt x="44506" y="65205"/>
                    <a:pt x="37950" y="72451"/>
                    <a:pt x="25185" y="72451"/>
                  </a:cubicBezTo>
                  <a:cubicBezTo>
                    <a:pt x="10695" y="72451"/>
                    <a:pt x="0" y="63481"/>
                    <a:pt x="0" y="41573"/>
                  </a:cubicBezTo>
                  <a:lnTo>
                    <a:pt x="0" y="0"/>
                  </a:lnTo>
                  <a:lnTo>
                    <a:pt x="22253" y="0"/>
                  </a:lnTo>
                  <a:lnTo>
                    <a:pt x="22253" y="38123"/>
                  </a:lnTo>
                  <a:cubicBezTo>
                    <a:pt x="22253" y="48645"/>
                    <a:pt x="25530" y="54683"/>
                    <a:pt x="33465" y="54683"/>
                  </a:cubicBezTo>
                  <a:cubicBezTo>
                    <a:pt x="39676" y="54683"/>
                    <a:pt x="43125" y="50543"/>
                    <a:pt x="44678" y="47093"/>
                  </a:cubicBezTo>
                  <a:cubicBezTo>
                    <a:pt x="45368" y="45713"/>
                    <a:pt x="45368" y="43988"/>
                    <a:pt x="45368" y="42263"/>
                  </a:cubicBezTo>
                  <a:lnTo>
                    <a:pt x="45368" y="0"/>
                  </a:lnTo>
                  <a:lnTo>
                    <a:pt x="67621" y="0"/>
                  </a:lnTo>
                  <a:lnTo>
                    <a:pt x="67621" y="48128"/>
                  </a:lnTo>
                  <a:lnTo>
                    <a:pt x="67793" y="48128"/>
                  </a:lnTo>
                  <a:lnTo>
                    <a:pt x="67793" y="4812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8" name="Gráfico 1344">
              <a:extLst>
                <a:ext uri="{FF2B5EF4-FFF2-40B4-BE49-F238E27FC236}">
                  <a16:creationId xmlns:a16="http://schemas.microsoft.com/office/drawing/2014/main" id="{051FF135-6315-4A15-82A5-46328FE9F1F4}"/>
                </a:ext>
              </a:extLst>
            </p:cNvPr>
            <p:cNvSpPr/>
            <p:nvPr/>
          </p:nvSpPr>
          <p:spPr>
            <a:xfrm>
              <a:off x="8716726" y="5058587"/>
              <a:ext cx="43642" cy="72278"/>
            </a:xfrm>
            <a:custGeom>
              <a:avLst/>
              <a:gdLst>
                <a:gd name="connsiteX0" fmla="*/ 690 w 43642"/>
                <a:gd name="connsiteY0" fmla="*/ 25013 h 72278"/>
                <a:gd name="connsiteX1" fmla="*/ 0 w 43642"/>
                <a:gd name="connsiteY1" fmla="*/ 1725 h 72278"/>
                <a:gd name="connsiteX2" fmla="*/ 18803 w 43642"/>
                <a:gd name="connsiteY2" fmla="*/ 1725 h 72278"/>
                <a:gd name="connsiteX3" fmla="*/ 19492 w 43642"/>
                <a:gd name="connsiteY3" fmla="*/ 14835 h 72278"/>
                <a:gd name="connsiteX4" fmla="*/ 20182 w 43642"/>
                <a:gd name="connsiteY4" fmla="*/ 14835 h 72278"/>
                <a:gd name="connsiteX5" fmla="*/ 39158 w 43642"/>
                <a:gd name="connsiteY5" fmla="*/ 0 h 72278"/>
                <a:gd name="connsiteX6" fmla="*/ 43643 w 43642"/>
                <a:gd name="connsiteY6" fmla="*/ 173 h 72278"/>
                <a:gd name="connsiteX7" fmla="*/ 43643 w 43642"/>
                <a:gd name="connsiteY7" fmla="*/ 20873 h 72278"/>
                <a:gd name="connsiteX8" fmla="*/ 37777 w 43642"/>
                <a:gd name="connsiteY8" fmla="*/ 20355 h 72278"/>
                <a:gd name="connsiteX9" fmla="*/ 22942 w 43642"/>
                <a:gd name="connsiteY9" fmla="*/ 31395 h 72278"/>
                <a:gd name="connsiteX10" fmla="*/ 22598 w 43642"/>
                <a:gd name="connsiteY10" fmla="*/ 36398 h 72278"/>
                <a:gd name="connsiteX11" fmla="*/ 22598 w 43642"/>
                <a:gd name="connsiteY11" fmla="*/ 72278 h 72278"/>
                <a:gd name="connsiteX12" fmla="*/ 862 w 43642"/>
                <a:gd name="connsiteY12" fmla="*/ 72278 h 72278"/>
                <a:gd name="connsiteX13" fmla="*/ 862 w 43642"/>
                <a:gd name="connsiteY13" fmla="*/ 25013 h 72278"/>
                <a:gd name="connsiteX14" fmla="*/ 690 w 43642"/>
                <a:gd name="connsiteY14" fmla="*/ 25013 h 72278"/>
                <a:gd name="connsiteX15" fmla="*/ 690 w 43642"/>
                <a:gd name="connsiteY15" fmla="*/ 25013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2278">
                  <a:moveTo>
                    <a:pt x="690" y="25013"/>
                  </a:moveTo>
                  <a:cubicBezTo>
                    <a:pt x="690" y="14490"/>
                    <a:pt x="517" y="7763"/>
                    <a:pt x="0" y="1725"/>
                  </a:cubicBezTo>
                  <a:lnTo>
                    <a:pt x="18803" y="1725"/>
                  </a:lnTo>
                  <a:lnTo>
                    <a:pt x="19492" y="14835"/>
                  </a:lnTo>
                  <a:lnTo>
                    <a:pt x="20182" y="14835"/>
                  </a:lnTo>
                  <a:cubicBezTo>
                    <a:pt x="23805" y="4313"/>
                    <a:pt x="32430" y="0"/>
                    <a:pt x="39158" y="0"/>
                  </a:cubicBezTo>
                  <a:cubicBezTo>
                    <a:pt x="41228" y="0"/>
                    <a:pt x="42090" y="0"/>
                    <a:pt x="43643" y="173"/>
                  </a:cubicBezTo>
                  <a:lnTo>
                    <a:pt x="43643" y="20873"/>
                  </a:lnTo>
                  <a:cubicBezTo>
                    <a:pt x="42090" y="20700"/>
                    <a:pt x="40193" y="20355"/>
                    <a:pt x="37777" y="20355"/>
                  </a:cubicBezTo>
                  <a:cubicBezTo>
                    <a:pt x="29842" y="20355"/>
                    <a:pt x="24150" y="24668"/>
                    <a:pt x="22942" y="31395"/>
                  </a:cubicBezTo>
                  <a:cubicBezTo>
                    <a:pt x="22598" y="32775"/>
                    <a:pt x="22598" y="34673"/>
                    <a:pt x="22598" y="36398"/>
                  </a:cubicBezTo>
                  <a:lnTo>
                    <a:pt x="22598" y="72278"/>
                  </a:lnTo>
                  <a:lnTo>
                    <a:pt x="862" y="72278"/>
                  </a:lnTo>
                  <a:lnTo>
                    <a:pt x="862" y="25013"/>
                  </a:lnTo>
                  <a:lnTo>
                    <a:pt x="690" y="25013"/>
                  </a:lnTo>
                  <a:lnTo>
                    <a:pt x="690" y="250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19" name="Gráfico 1344">
              <a:extLst>
                <a:ext uri="{FF2B5EF4-FFF2-40B4-BE49-F238E27FC236}">
                  <a16:creationId xmlns:a16="http://schemas.microsoft.com/office/drawing/2014/main" id="{ED52EE92-B52B-4BE8-96B0-AFEE6DF403BF}"/>
                </a:ext>
              </a:extLst>
            </p:cNvPr>
            <p:cNvSpPr/>
            <p:nvPr/>
          </p:nvSpPr>
          <p:spPr>
            <a:xfrm>
              <a:off x="8766406" y="5058587"/>
              <a:ext cx="74520" cy="74520"/>
            </a:xfrm>
            <a:custGeom>
              <a:avLst/>
              <a:gdLst>
                <a:gd name="connsiteX0" fmla="*/ 74521 w 74520"/>
                <a:gd name="connsiteY0" fmla="*/ 36570 h 74520"/>
                <a:gd name="connsiteX1" fmla="*/ 36916 w 74520"/>
                <a:gd name="connsiteY1" fmla="*/ 74521 h 74520"/>
                <a:gd name="connsiteX2" fmla="*/ 0 w 74520"/>
                <a:gd name="connsiteY2" fmla="*/ 37778 h 74520"/>
                <a:gd name="connsiteX3" fmla="*/ 37950 w 74520"/>
                <a:gd name="connsiteY3" fmla="*/ 0 h 74520"/>
                <a:gd name="connsiteX4" fmla="*/ 74521 w 74520"/>
                <a:gd name="connsiteY4" fmla="*/ 36570 h 74520"/>
                <a:gd name="connsiteX5" fmla="*/ 22943 w 74520"/>
                <a:gd name="connsiteY5" fmla="*/ 37433 h 74520"/>
                <a:gd name="connsiteX6" fmla="*/ 37606 w 74520"/>
                <a:gd name="connsiteY6" fmla="*/ 58823 h 74520"/>
                <a:gd name="connsiteX7" fmla="*/ 51750 w 74520"/>
                <a:gd name="connsiteY7" fmla="*/ 37433 h 74520"/>
                <a:gd name="connsiteX8" fmla="*/ 37606 w 74520"/>
                <a:gd name="connsiteY8" fmla="*/ 16042 h 74520"/>
                <a:gd name="connsiteX9" fmla="*/ 22943 w 74520"/>
                <a:gd name="connsiteY9" fmla="*/ 3743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20" h="74520">
                  <a:moveTo>
                    <a:pt x="74521" y="36570"/>
                  </a:moveTo>
                  <a:cubicBezTo>
                    <a:pt x="74521" y="62618"/>
                    <a:pt x="55891" y="74521"/>
                    <a:pt x="36916" y="74521"/>
                  </a:cubicBezTo>
                  <a:cubicBezTo>
                    <a:pt x="16215" y="74521"/>
                    <a:pt x="0" y="60893"/>
                    <a:pt x="0" y="37778"/>
                  </a:cubicBezTo>
                  <a:cubicBezTo>
                    <a:pt x="0" y="14835"/>
                    <a:pt x="15353" y="0"/>
                    <a:pt x="37950" y="0"/>
                  </a:cubicBezTo>
                  <a:cubicBezTo>
                    <a:pt x="60031" y="0"/>
                    <a:pt x="74521" y="15008"/>
                    <a:pt x="74521" y="36570"/>
                  </a:cubicBezTo>
                  <a:moveTo>
                    <a:pt x="22943" y="37433"/>
                  </a:moveTo>
                  <a:cubicBezTo>
                    <a:pt x="22943" y="49680"/>
                    <a:pt x="27946" y="58823"/>
                    <a:pt x="37606" y="58823"/>
                  </a:cubicBezTo>
                  <a:cubicBezTo>
                    <a:pt x="46058" y="58823"/>
                    <a:pt x="51750" y="50371"/>
                    <a:pt x="51750" y="37433"/>
                  </a:cubicBezTo>
                  <a:cubicBezTo>
                    <a:pt x="51750" y="26738"/>
                    <a:pt x="47611" y="16042"/>
                    <a:pt x="37606" y="16042"/>
                  </a:cubicBezTo>
                  <a:cubicBezTo>
                    <a:pt x="26910" y="15870"/>
                    <a:pt x="22943" y="26910"/>
                    <a:pt x="22943" y="3743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20" name="Gráfico 1344">
              <a:extLst>
                <a:ext uri="{FF2B5EF4-FFF2-40B4-BE49-F238E27FC236}">
                  <a16:creationId xmlns:a16="http://schemas.microsoft.com/office/drawing/2014/main" id="{72F2B761-E4A2-4F03-8DF6-687B35B3357D}"/>
                </a:ext>
              </a:extLst>
            </p:cNvPr>
            <p:cNvSpPr/>
            <p:nvPr/>
          </p:nvSpPr>
          <p:spPr>
            <a:xfrm>
              <a:off x="8882327" y="5033746"/>
              <a:ext cx="70380" cy="97290"/>
            </a:xfrm>
            <a:custGeom>
              <a:avLst/>
              <a:gdLst>
                <a:gd name="connsiteX0" fmla="*/ 0 w 70380"/>
                <a:gd name="connsiteY0" fmla="*/ 2070 h 97290"/>
                <a:gd name="connsiteX1" fmla="*/ 29843 w 70380"/>
                <a:gd name="connsiteY1" fmla="*/ 0 h 97290"/>
                <a:gd name="connsiteX2" fmla="*/ 59858 w 70380"/>
                <a:gd name="connsiteY2" fmla="*/ 7763 h 97290"/>
                <a:gd name="connsiteX3" fmla="*/ 70381 w 70380"/>
                <a:gd name="connsiteY3" fmla="*/ 30016 h 97290"/>
                <a:gd name="connsiteX4" fmla="*/ 61410 w 70380"/>
                <a:gd name="connsiteY4" fmla="*/ 52958 h 97290"/>
                <a:gd name="connsiteX5" fmla="*/ 29670 w 70380"/>
                <a:gd name="connsiteY5" fmla="*/ 63136 h 97290"/>
                <a:gd name="connsiteX6" fmla="*/ 22080 w 70380"/>
                <a:gd name="connsiteY6" fmla="*/ 62791 h 97290"/>
                <a:gd name="connsiteX7" fmla="*/ 22080 w 70380"/>
                <a:gd name="connsiteY7" fmla="*/ 97291 h 97290"/>
                <a:gd name="connsiteX8" fmla="*/ 0 w 70380"/>
                <a:gd name="connsiteY8" fmla="*/ 97291 h 97290"/>
                <a:gd name="connsiteX9" fmla="*/ 0 w 70380"/>
                <a:gd name="connsiteY9" fmla="*/ 2070 h 97290"/>
                <a:gd name="connsiteX10" fmla="*/ 0 w 70380"/>
                <a:gd name="connsiteY10" fmla="*/ 2070 h 97290"/>
                <a:gd name="connsiteX11" fmla="*/ 0 w 70380"/>
                <a:gd name="connsiteY11" fmla="*/ 2070 h 97290"/>
                <a:gd name="connsiteX12" fmla="*/ 22080 w 70380"/>
                <a:gd name="connsiteY12" fmla="*/ 45885 h 97290"/>
                <a:gd name="connsiteX13" fmla="*/ 29498 w 70380"/>
                <a:gd name="connsiteY13" fmla="*/ 46230 h 97290"/>
                <a:gd name="connsiteX14" fmla="*/ 48473 w 70380"/>
                <a:gd name="connsiteY14" fmla="*/ 30533 h 97290"/>
                <a:gd name="connsiteX15" fmla="*/ 31223 w 70380"/>
                <a:gd name="connsiteY15" fmla="*/ 16388 h 97290"/>
                <a:gd name="connsiteX16" fmla="*/ 22080 w 70380"/>
                <a:gd name="connsiteY16" fmla="*/ 17250 h 97290"/>
                <a:gd name="connsiteX17" fmla="*/ 22080 w 70380"/>
                <a:gd name="connsiteY17" fmla="*/ 45885 h 97290"/>
                <a:gd name="connsiteX18" fmla="*/ 22080 w 70380"/>
                <a:gd name="connsiteY18" fmla="*/ 45885 h 97290"/>
                <a:gd name="connsiteX19" fmla="*/ 22080 w 70380"/>
                <a:gd name="connsiteY19" fmla="*/ 45885 h 9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380" h="97290">
                  <a:moveTo>
                    <a:pt x="0" y="2070"/>
                  </a:moveTo>
                  <a:cubicBezTo>
                    <a:pt x="6728" y="1035"/>
                    <a:pt x="16388" y="0"/>
                    <a:pt x="29843" y="0"/>
                  </a:cubicBezTo>
                  <a:cubicBezTo>
                    <a:pt x="43643" y="0"/>
                    <a:pt x="53131" y="2587"/>
                    <a:pt x="59858" y="7763"/>
                  </a:cubicBezTo>
                  <a:cubicBezTo>
                    <a:pt x="66240" y="12765"/>
                    <a:pt x="70381" y="20700"/>
                    <a:pt x="70381" y="30016"/>
                  </a:cubicBezTo>
                  <a:cubicBezTo>
                    <a:pt x="70381" y="39503"/>
                    <a:pt x="67103" y="47438"/>
                    <a:pt x="61410" y="52958"/>
                  </a:cubicBezTo>
                  <a:cubicBezTo>
                    <a:pt x="53821" y="60031"/>
                    <a:pt x="42608" y="63136"/>
                    <a:pt x="29670" y="63136"/>
                  </a:cubicBezTo>
                  <a:cubicBezTo>
                    <a:pt x="26910" y="63136"/>
                    <a:pt x="24151" y="62963"/>
                    <a:pt x="22080" y="62791"/>
                  </a:cubicBezTo>
                  <a:lnTo>
                    <a:pt x="22080" y="97291"/>
                  </a:lnTo>
                  <a:lnTo>
                    <a:pt x="0" y="97291"/>
                  </a:lnTo>
                  <a:lnTo>
                    <a:pt x="0" y="2070"/>
                  </a:lnTo>
                  <a:lnTo>
                    <a:pt x="0" y="2070"/>
                  </a:lnTo>
                  <a:lnTo>
                    <a:pt x="0" y="2070"/>
                  </a:lnTo>
                  <a:close/>
                  <a:moveTo>
                    <a:pt x="22080" y="45885"/>
                  </a:moveTo>
                  <a:cubicBezTo>
                    <a:pt x="23978" y="46230"/>
                    <a:pt x="26221" y="46230"/>
                    <a:pt x="29498" y="46230"/>
                  </a:cubicBezTo>
                  <a:cubicBezTo>
                    <a:pt x="41228" y="46230"/>
                    <a:pt x="48473" y="40365"/>
                    <a:pt x="48473" y="30533"/>
                  </a:cubicBezTo>
                  <a:cubicBezTo>
                    <a:pt x="48473" y="21735"/>
                    <a:pt x="42090" y="16388"/>
                    <a:pt x="31223" y="16388"/>
                  </a:cubicBezTo>
                  <a:cubicBezTo>
                    <a:pt x="26565" y="16388"/>
                    <a:pt x="23633" y="16733"/>
                    <a:pt x="22080" y="17250"/>
                  </a:cubicBezTo>
                  <a:lnTo>
                    <a:pt x="22080" y="45885"/>
                  </a:lnTo>
                  <a:lnTo>
                    <a:pt x="22080" y="45885"/>
                  </a:lnTo>
                  <a:lnTo>
                    <a:pt x="22080" y="45885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21" name="Gráfico 1344">
              <a:extLst>
                <a:ext uri="{FF2B5EF4-FFF2-40B4-BE49-F238E27FC236}">
                  <a16:creationId xmlns:a16="http://schemas.microsoft.com/office/drawing/2014/main" id="{0EBA58A7-5F9C-40F4-A65B-F04FBAC4820C}"/>
                </a:ext>
              </a:extLst>
            </p:cNvPr>
            <p:cNvSpPr/>
            <p:nvPr/>
          </p:nvSpPr>
          <p:spPr>
            <a:xfrm>
              <a:off x="8963057" y="5058587"/>
              <a:ext cx="43642" cy="72278"/>
            </a:xfrm>
            <a:custGeom>
              <a:avLst/>
              <a:gdLst>
                <a:gd name="connsiteX0" fmla="*/ 690 w 43642"/>
                <a:gd name="connsiteY0" fmla="*/ 25013 h 72278"/>
                <a:gd name="connsiteX1" fmla="*/ 0 w 43642"/>
                <a:gd name="connsiteY1" fmla="*/ 1725 h 72278"/>
                <a:gd name="connsiteX2" fmla="*/ 18803 w 43642"/>
                <a:gd name="connsiteY2" fmla="*/ 1725 h 72278"/>
                <a:gd name="connsiteX3" fmla="*/ 19492 w 43642"/>
                <a:gd name="connsiteY3" fmla="*/ 14835 h 72278"/>
                <a:gd name="connsiteX4" fmla="*/ 20182 w 43642"/>
                <a:gd name="connsiteY4" fmla="*/ 14835 h 72278"/>
                <a:gd name="connsiteX5" fmla="*/ 39158 w 43642"/>
                <a:gd name="connsiteY5" fmla="*/ 0 h 72278"/>
                <a:gd name="connsiteX6" fmla="*/ 43643 w 43642"/>
                <a:gd name="connsiteY6" fmla="*/ 173 h 72278"/>
                <a:gd name="connsiteX7" fmla="*/ 43643 w 43642"/>
                <a:gd name="connsiteY7" fmla="*/ 20873 h 72278"/>
                <a:gd name="connsiteX8" fmla="*/ 37778 w 43642"/>
                <a:gd name="connsiteY8" fmla="*/ 20355 h 72278"/>
                <a:gd name="connsiteX9" fmla="*/ 22942 w 43642"/>
                <a:gd name="connsiteY9" fmla="*/ 31395 h 72278"/>
                <a:gd name="connsiteX10" fmla="*/ 22598 w 43642"/>
                <a:gd name="connsiteY10" fmla="*/ 36398 h 72278"/>
                <a:gd name="connsiteX11" fmla="*/ 22598 w 43642"/>
                <a:gd name="connsiteY11" fmla="*/ 72278 h 72278"/>
                <a:gd name="connsiteX12" fmla="*/ 862 w 43642"/>
                <a:gd name="connsiteY12" fmla="*/ 72278 h 72278"/>
                <a:gd name="connsiteX13" fmla="*/ 862 w 43642"/>
                <a:gd name="connsiteY13" fmla="*/ 25013 h 72278"/>
                <a:gd name="connsiteX14" fmla="*/ 690 w 43642"/>
                <a:gd name="connsiteY14" fmla="*/ 25013 h 72278"/>
                <a:gd name="connsiteX15" fmla="*/ 690 w 43642"/>
                <a:gd name="connsiteY15" fmla="*/ 25013 h 7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42" h="72278">
                  <a:moveTo>
                    <a:pt x="690" y="25013"/>
                  </a:moveTo>
                  <a:cubicBezTo>
                    <a:pt x="690" y="14490"/>
                    <a:pt x="517" y="7763"/>
                    <a:pt x="0" y="1725"/>
                  </a:cubicBezTo>
                  <a:lnTo>
                    <a:pt x="18803" y="1725"/>
                  </a:lnTo>
                  <a:lnTo>
                    <a:pt x="19492" y="14835"/>
                  </a:lnTo>
                  <a:lnTo>
                    <a:pt x="20182" y="14835"/>
                  </a:lnTo>
                  <a:cubicBezTo>
                    <a:pt x="23805" y="4313"/>
                    <a:pt x="32430" y="0"/>
                    <a:pt x="39158" y="0"/>
                  </a:cubicBezTo>
                  <a:cubicBezTo>
                    <a:pt x="41055" y="0"/>
                    <a:pt x="42090" y="0"/>
                    <a:pt x="43643" y="173"/>
                  </a:cubicBezTo>
                  <a:lnTo>
                    <a:pt x="43643" y="20873"/>
                  </a:lnTo>
                  <a:cubicBezTo>
                    <a:pt x="42090" y="20700"/>
                    <a:pt x="40193" y="20355"/>
                    <a:pt x="37778" y="20355"/>
                  </a:cubicBezTo>
                  <a:cubicBezTo>
                    <a:pt x="29842" y="20355"/>
                    <a:pt x="24150" y="24668"/>
                    <a:pt x="22942" y="31395"/>
                  </a:cubicBezTo>
                  <a:cubicBezTo>
                    <a:pt x="22770" y="32775"/>
                    <a:pt x="22598" y="34673"/>
                    <a:pt x="22598" y="36398"/>
                  </a:cubicBezTo>
                  <a:lnTo>
                    <a:pt x="22598" y="72278"/>
                  </a:lnTo>
                  <a:lnTo>
                    <a:pt x="862" y="72278"/>
                  </a:lnTo>
                  <a:lnTo>
                    <a:pt x="862" y="25013"/>
                  </a:lnTo>
                  <a:lnTo>
                    <a:pt x="690" y="25013"/>
                  </a:lnTo>
                  <a:lnTo>
                    <a:pt x="690" y="25013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22" name="Gráfico 1344">
              <a:extLst>
                <a:ext uri="{FF2B5EF4-FFF2-40B4-BE49-F238E27FC236}">
                  <a16:creationId xmlns:a16="http://schemas.microsoft.com/office/drawing/2014/main" id="{EB30DE5C-0CA3-4A88-93B8-00418855A2E7}"/>
                </a:ext>
              </a:extLst>
            </p:cNvPr>
            <p:cNvSpPr/>
            <p:nvPr/>
          </p:nvSpPr>
          <p:spPr>
            <a:xfrm>
              <a:off x="9012565" y="5060829"/>
              <a:ext cx="66240" cy="72450"/>
            </a:xfrm>
            <a:custGeom>
              <a:avLst/>
              <a:gdLst>
                <a:gd name="connsiteX0" fmla="*/ 20873 w 66240"/>
                <a:gd name="connsiteY0" fmla="*/ 42953 h 72450"/>
                <a:gd name="connsiteX1" fmla="*/ 40538 w 66240"/>
                <a:gd name="connsiteY1" fmla="*/ 56236 h 72450"/>
                <a:gd name="connsiteX2" fmla="*/ 59685 w 66240"/>
                <a:gd name="connsiteY2" fmla="*/ 53475 h 72450"/>
                <a:gd name="connsiteX3" fmla="*/ 62445 w 66240"/>
                <a:gd name="connsiteY3" fmla="*/ 68138 h 72450"/>
                <a:gd name="connsiteX4" fmla="*/ 37260 w 66240"/>
                <a:gd name="connsiteY4" fmla="*/ 72451 h 72450"/>
                <a:gd name="connsiteX5" fmla="*/ 0 w 66240"/>
                <a:gd name="connsiteY5" fmla="*/ 37088 h 72450"/>
                <a:gd name="connsiteX6" fmla="*/ 35190 w 66240"/>
                <a:gd name="connsiteY6" fmla="*/ 0 h 72450"/>
                <a:gd name="connsiteX7" fmla="*/ 66240 w 66240"/>
                <a:gd name="connsiteY7" fmla="*/ 34673 h 72450"/>
                <a:gd name="connsiteX8" fmla="*/ 65550 w 66240"/>
                <a:gd name="connsiteY8" fmla="*/ 43125 h 72450"/>
                <a:gd name="connsiteX9" fmla="*/ 20700 w 66240"/>
                <a:gd name="connsiteY9" fmla="*/ 43125 h 72450"/>
                <a:gd name="connsiteX10" fmla="*/ 20700 w 66240"/>
                <a:gd name="connsiteY10" fmla="*/ 42953 h 72450"/>
                <a:gd name="connsiteX11" fmla="*/ 20873 w 66240"/>
                <a:gd name="connsiteY11" fmla="*/ 42953 h 72450"/>
                <a:gd name="connsiteX12" fmla="*/ 46403 w 66240"/>
                <a:gd name="connsiteY12" fmla="*/ 28118 h 72450"/>
                <a:gd name="connsiteX13" fmla="*/ 34155 w 66240"/>
                <a:gd name="connsiteY13" fmla="*/ 13973 h 72450"/>
                <a:gd name="connsiteX14" fmla="*/ 20700 w 66240"/>
                <a:gd name="connsiteY14" fmla="*/ 28118 h 72450"/>
                <a:gd name="connsiteX15" fmla="*/ 46403 w 66240"/>
                <a:gd name="connsiteY15" fmla="*/ 28118 h 72450"/>
                <a:gd name="connsiteX16" fmla="*/ 46403 w 66240"/>
                <a:gd name="connsiteY16" fmla="*/ 28118 h 72450"/>
                <a:gd name="connsiteX17" fmla="*/ 46403 w 66240"/>
                <a:gd name="connsiteY17" fmla="*/ 28118 h 7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240" h="72450">
                  <a:moveTo>
                    <a:pt x="20873" y="42953"/>
                  </a:moveTo>
                  <a:cubicBezTo>
                    <a:pt x="21563" y="51923"/>
                    <a:pt x="30533" y="56236"/>
                    <a:pt x="40538" y="56236"/>
                  </a:cubicBezTo>
                  <a:cubicBezTo>
                    <a:pt x="47955" y="56236"/>
                    <a:pt x="53993" y="55201"/>
                    <a:pt x="59685" y="53475"/>
                  </a:cubicBezTo>
                  <a:lnTo>
                    <a:pt x="62445" y="68138"/>
                  </a:lnTo>
                  <a:cubicBezTo>
                    <a:pt x="55373" y="70898"/>
                    <a:pt x="46575" y="72451"/>
                    <a:pt x="37260" y="72451"/>
                  </a:cubicBezTo>
                  <a:cubicBezTo>
                    <a:pt x="13455" y="72451"/>
                    <a:pt x="0" y="58823"/>
                    <a:pt x="0" y="37088"/>
                  </a:cubicBezTo>
                  <a:cubicBezTo>
                    <a:pt x="0" y="19320"/>
                    <a:pt x="11040" y="0"/>
                    <a:pt x="35190" y="0"/>
                  </a:cubicBezTo>
                  <a:cubicBezTo>
                    <a:pt x="57615" y="0"/>
                    <a:pt x="66240" y="17423"/>
                    <a:pt x="66240" y="34673"/>
                  </a:cubicBezTo>
                  <a:cubicBezTo>
                    <a:pt x="66240" y="38295"/>
                    <a:pt x="65896" y="41746"/>
                    <a:pt x="65550" y="43125"/>
                  </a:cubicBezTo>
                  <a:lnTo>
                    <a:pt x="20700" y="43125"/>
                  </a:lnTo>
                  <a:lnTo>
                    <a:pt x="20700" y="42953"/>
                  </a:lnTo>
                  <a:lnTo>
                    <a:pt x="20873" y="42953"/>
                  </a:lnTo>
                  <a:close/>
                  <a:moveTo>
                    <a:pt x="46403" y="28118"/>
                  </a:moveTo>
                  <a:cubicBezTo>
                    <a:pt x="46403" y="22942"/>
                    <a:pt x="43988" y="13973"/>
                    <a:pt x="34155" y="13973"/>
                  </a:cubicBezTo>
                  <a:cubicBezTo>
                    <a:pt x="25012" y="13973"/>
                    <a:pt x="21390" y="22253"/>
                    <a:pt x="20700" y="28118"/>
                  </a:cubicBezTo>
                  <a:lnTo>
                    <a:pt x="46403" y="28118"/>
                  </a:lnTo>
                  <a:lnTo>
                    <a:pt x="46403" y="28118"/>
                  </a:lnTo>
                  <a:lnTo>
                    <a:pt x="46403" y="28118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23" name="Gráfico 1344">
              <a:extLst>
                <a:ext uri="{FF2B5EF4-FFF2-40B4-BE49-F238E27FC236}">
                  <a16:creationId xmlns:a16="http://schemas.microsoft.com/office/drawing/2014/main" id="{7C9D98F5-369F-4278-A566-A6E63C30CF32}"/>
                </a:ext>
              </a:extLst>
            </p:cNvPr>
            <p:cNvSpPr/>
            <p:nvPr/>
          </p:nvSpPr>
          <p:spPr>
            <a:xfrm>
              <a:off x="9085015" y="5042027"/>
              <a:ext cx="45713" cy="91080"/>
            </a:xfrm>
            <a:custGeom>
              <a:avLst/>
              <a:gdLst>
                <a:gd name="connsiteX0" fmla="*/ 30360 w 45713"/>
                <a:gd name="connsiteY0" fmla="*/ 0 h 91080"/>
                <a:gd name="connsiteX1" fmla="*/ 30360 w 45713"/>
                <a:gd name="connsiteY1" fmla="*/ 19838 h 91080"/>
                <a:gd name="connsiteX2" fmla="*/ 45713 w 45713"/>
                <a:gd name="connsiteY2" fmla="*/ 19838 h 91080"/>
                <a:gd name="connsiteX3" fmla="*/ 45713 w 45713"/>
                <a:gd name="connsiteY3" fmla="*/ 35880 h 91080"/>
                <a:gd name="connsiteX4" fmla="*/ 30360 w 45713"/>
                <a:gd name="connsiteY4" fmla="*/ 35880 h 91080"/>
                <a:gd name="connsiteX5" fmla="*/ 30360 w 45713"/>
                <a:gd name="connsiteY5" fmla="*/ 61066 h 91080"/>
                <a:gd name="connsiteX6" fmla="*/ 38813 w 45713"/>
                <a:gd name="connsiteY6" fmla="*/ 73486 h 91080"/>
                <a:gd name="connsiteX7" fmla="*/ 45196 w 45713"/>
                <a:gd name="connsiteY7" fmla="*/ 72796 h 91080"/>
                <a:gd name="connsiteX8" fmla="*/ 45368 w 45713"/>
                <a:gd name="connsiteY8" fmla="*/ 89183 h 91080"/>
                <a:gd name="connsiteX9" fmla="*/ 31395 w 45713"/>
                <a:gd name="connsiteY9" fmla="*/ 91081 h 91080"/>
                <a:gd name="connsiteX10" fmla="*/ 15180 w 45713"/>
                <a:gd name="connsiteY10" fmla="*/ 85043 h 91080"/>
                <a:gd name="connsiteX11" fmla="*/ 9143 w 45713"/>
                <a:gd name="connsiteY11" fmla="*/ 64343 h 91080"/>
                <a:gd name="connsiteX12" fmla="*/ 9143 w 45713"/>
                <a:gd name="connsiteY12" fmla="*/ 36053 h 91080"/>
                <a:gd name="connsiteX13" fmla="*/ 0 w 45713"/>
                <a:gd name="connsiteY13" fmla="*/ 36053 h 91080"/>
                <a:gd name="connsiteX14" fmla="*/ 0 w 45713"/>
                <a:gd name="connsiteY14" fmla="*/ 20010 h 91080"/>
                <a:gd name="connsiteX15" fmla="*/ 9143 w 45713"/>
                <a:gd name="connsiteY15" fmla="*/ 20010 h 91080"/>
                <a:gd name="connsiteX16" fmla="*/ 9143 w 45713"/>
                <a:gd name="connsiteY16" fmla="*/ 4830 h 91080"/>
                <a:gd name="connsiteX17" fmla="*/ 30360 w 45713"/>
                <a:gd name="connsiteY17" fmla="*/ 0 h 91080"/>
                <a:gd name="connsiteX18" fmla="*/ 30360 w 45713"/>
                <a:gd name="connsiteY18" fmla="*/ 0 h 91080"/>
                <a:gd name="connsiteX19" fmla="*/ 30360 w 45713"/>
                <a:gd name="connsiteY19" fmla="*/ 0 h 9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3" h="91080">
                  <a:moveTo>
                    <a:pt x="30360" y="0"/>
                  </a:moveTo>
                  <a:lnTo>
                    <a:pt x="30360" y="19838"/>
                  </a:lnTo>
                  <a:lnTo>
                    <a:pt x="45713" y="19838"/>
                  </a:lnTo>
                  <a:lnTo>
                    <a:pt x="45713" y="35880"/>
                  </a:lnTo>
                  <a:lnTo>
                    <a:pt x="30360" y="35880"/>
                  </a:lnTo>
                  <a:lnTo>
                    <a:pt x="30360" y="61066"/>
                  </a:lnTo>
                  <a:cubicBezTo>
                    <a:pt x="30360" y="69518"/>
                    <a:pt x="32258" y="73486"/>
                    <a:pt x="38813" y="73486"/>
                  </a:cubicBezTo>
                  <a:cubicBezTo>
                    <a:pt x="41573" y="73486"/>
                    <a:pt x="43643" y="73140"/>
                    <a:pt x="45196" y="72796"/>
                  </a:cubicBezTo>
                  <a:lnTo>
                    <a:pt x="45368" y="89183"/>
                  </a:lnTo>
                  <a:cubicBezTo>
                    <a:pt x="42608" y="90218"/>
                    <a:pt x="37433" y="91081"/>
                    <a:pt x="31395" y="91081"/>
                  </a:cubicBezTo>
                  <a:cubicBezTo>
                    <a:pt x="24323" y="91081"/>
                    <a:pt x="18630" y="88665"/>
                    <a:pt x="15180" y="85043"/>
                  </a:cubicBezTo>
                  <a:cubicBezTo>
                    <a:pt x="11213" y="81075"/>
                    <a:pt x="9143" y="74175"/>
                    <a:pt x="9143" y="64343"/>
                  </a:cubicBezTo>
                  <a:lnTo>
                    <a:pt x="9143" y="36053"/>
                  </a:lnTo>
                  <a:lnTo>
                    <a:pt x="0" y="36053"/>
                  </a:lnTo>
                  <a:lnTo>
                    <a:pt x="0" y="20010"/>
                  </a:lnTo>
                  <a:lnTo>
                    <a:pt x="9143" y="20010"/>
                  </a:lnTo>
                  <a:lnTo>
                    <a:pt x="9143" y="4830"/>
                  </a:lnTo>
                  <a:lnTo>
                    <a:pt x="30360" y="0"/>
                  </a:lnTo>
                  <a:lnTo>
                    <a:pt x="30360" y="0"/>
                  </a:lnTo>
                  <a:lnTo>
                    <a:pt x="30360" y="0"/>
                  </a:lnTo>
                  <a:close/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  <p:sp>
          <p:nvSpPr>
            <p:cNvPr id="1424" name="Gráfico 1344">
              <a:extLst>
                <a:ext uri="{FF2B5EF4-FFF2-40B4-BE49-F238E27FC236}">
                  <a16:creationId xmlns:a16="http://schemas.microsoft.com/office/drawing/2014/main" id="{07216AB1-1AFE-449E-9B2D-CEB076C7F97D}"/>
                </a:ext>
              </a:extLst>
            </p:cNvPr>
            <p:cNvSpPr/>
            <p:nvPr/>
          </p:nvSpPr>
          <p:spPr>
            <a:xfrm>
              <a:off x="9139008" y="5058587"/>
              <a:ext cx="72450" cy="74520"/>
            </a:xfrm>
            <a:custGeom>
              <a:avLst/>
              <a:gdLst>
                <a:gd name="connsiteX0" fmla="*/ 72451 w 72450"/>
                <a:gd name="connsiteY0" fmla="*/ 36570 h 74520"/>
                <a:gd name="connsiteX1" fmla="*/ 35881 w 72450"/>
                <a:gd name="connsiteY1" fmla="*/ 74521 h 74520"/>
                <a:gd name="connsiteX2" fmla="*/ 0 w 72450"/>
                <a:gd name="connsiteY2" fmla="*/ 37778 h 74520"/>
                <a:gd name="connsiteX3" fmla="*/ 36916 w 72450"/>
                <a:gd name="connsiteY3" fmla="*/ 0 h 74520"/>
                <a:gd name="connsiteX4" fmla="*/ 72451 w 72450"/>
                <a:gd name="connsiteY4" fmla="*/ 36570 h 74520"/>
                <a:gd name="connsiteX5" fmla="*/ 22253 w 72450"/>
                <a:gd name="connsiteY5" fmla="*/ 37433 h 74520"/>
                <a:gd name="connsiteX6" fmla="*/ 36570 w 72450"/>
                <a:gd name="connsiteY6" fmla="*/ 58823 h 74520"/>
                <a:gd name="connsiteX7" fmla="*/ 50371 w 72450"/>
                <a:gd name="connsiteY7" fmla="*/ 37433 h 74520"/>
                <a:gd name="connsiteX8" fmla="*/ 36570 w 72450"/>
                <a:gd name="connsiteY8" fmla="*/ 16042 h 74520"/>
                <a:gd name="connsiteX9" fmla="*/ 22253 w 72450"/>
                <a:gd name="connsiteY9" fmla="*/ 37433 h 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50" h="74520">
                  <a:moveTo>
                    <a:pt x="72451" y="36570"/>
                  </a:moveTo>
                  <a:cubicBezTo>
                    <a:pt x="72451" y="62618"/>
                    <a:pt x="54338" y="74521"/>
                    <a:pt x="35881" y="74521"/>
                  </a:cubicBezTo>
                  <a:cubicBezTo>
                    <a:pt x="15525" y="74521"/>
                    <a:pt x="0" y="60893"/>
                    <a:pt x="0" y="37778"/>
                  </a:cubicBezTo>
                  <a:cubicBezTo>
                    <a:pt x="0" y="14835"/>
                    <a:pt x="14835" y="0"/>
                    <a:pt x="36916" y="0"/>
                  </a:cubicBezTo>
                  <a:cubicBezTo>
                    <a:pt x="58133" y="0"/>
                    <a:pt x="72451" y="15008"/>
                    <a:pt x="72451" y="36570"/>
                  </a:cubicBezTo>
                  <a:moveTo>
                    <a:pt x="22253" y="37433"/>
                  </a:moveTo>
                  <a:cubicBezTo>
                    <a:pt x="22253" y="49680"/>
                    <a:pt x="27083" y="58823"/>
                    <a:pt x="36570" y="58823"/>
                  </a:cubicBezTo>
                  <a:cubicBezTo>
                    <a:pt x="44850" y="58823"/>
                    <a:pt x="50371" y="50371"/>
                    <a:pt x="50371" y="37433"/>
                  </a:cubicBezTo>
                  <a:cubicBezTo>
                    <a:pt x="50371" y="26738"/>
                    <a:pt x="46403" y="16042"/>
                    <a:pt x="36570" y="16042"/>
                  </a:cubicBezTo>
                  <a:cubicBezTo>
                    <a:pt x="26048" y="15870"/>
                    <a:pt x="22253" y="26910"/>
                    <a:pt x="22253" y="37433"/>
                  </a:cubicBezTo>
                </a:path>
              </a:pathLst>
            </a:custGeom>
            <a:solidFill>
              <a:srgbClr val="000000"/>
            </a:solidFill>
            <a:ln w="17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Manrope" pitchFamily="2" charset="0"/>
              </a:endParaRPr>
            </a:p>
          </p:txBody>
        </p:sp>
      </p:grpSp>
      <p:pic>
        <p:nvPicPr>
          <p:cNvPr id="487" name="Imagem 486">
            <a:extLst>
              <a:ext uri="{FF2B5EF4-FFF2-40B4-BE49-F238E27FC236}">
                <a16:creationId xmlns:a16="http://schemas.microsoft.com/office/drawing/2014/main" id="{812A48A1-85DC-41F3-B62F-7128FCEADC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627" y="4724873"/>
            <a:ext cx="249930" cy="174668"/>
          </a:xfrm>
          <a:prstGeom prst="rect">
            <a:avLst/>
          </a:prstGeom>
        </p:spPr>
      </p:pic>
      <p:sp>
        <p:nvSpPr>
          <p:cNvPr id="484" name="CaixaDeTexto 483">
            <a:hlinkClick r:id="" action="ppaction://noaction"/>
            <a:extLst>
              <a:ext uri="{FF2B5EF4-FFF2-40B4-BE49-F238E27FC236}">
                <a16:creationId xmlns:a16="http://schemas.microsoft.com/office/drawing/2014/main" id="{49D44046-1FAD-40F7-9999-C3AA7F4A0F9B}"/>
              </a:ext>
            </a:extLst>
          </p:cNvPr>
          <p:cNvSpPr txBox="1"/>
          <p:nvPr/>
        </p:nvSpPr>
        <p:spPr>
          <a:xfrm>
            <a:off x="9227419" y="152400"/>
            <a:ext cx="21771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1"/>
                </a:solidFill>
                <a:latin typeface="Manrope" pitchFamily="2" charset="0"/>
              </a:rPr>
              <a:t>Corredor Centro-Norte</a:t>
            </a:r>
          </a:p>
        </p:txBody>
      </p:sp>
      <p:sp>
        <p:nvSpPr>
          <p:cNvPr id="497" name="CaixaDeTexto 496">
            <a:hlinkClick r:id="" action="ppaction://noaction"/>
            <a:extLst>
              <a:ext uri="{FF2B5EF4-FFF2-40B4-BE49-F238E27FC236}">
                <a16:creationId xmlns:a16="http://schemas.microsoft.com/office/drawing/2014/main" id="{63E8F26B-4EB7-4DAF-81DC-548B0E57CA43}"/>
              </a:ext>
            </a:extLst>
          </p:cNvPr>
          <p:cNvSpPr txBox="1"/>
          <p:nvPr/>
        </p:nvSpPr>
        <p:spPr>
          <a:xfrm>
            <a:off x="10099081" y="3797971"/>
            <a:ext cx="2129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1"/>
                </a:solidFill>
                <a:latin typeface="Manrope" pitchFamily="2" charset="0"/>
              </a:rPr>
              <a:t>Corredor Minas-Bahia</a:t>
            </a:r>
          </a:p>
        </p:txBody>
      </p:sp>
      <p:sp>
        <p:nvSpPr>
          <p:cNvPr id="499" name="CaixaDeTexto 498">
            <a:hlinkClick r:id="" action="ppaction://noaction"/>
            <a:extLst>
              <a:ext uri="{FF2B5EF4-FFF2-40B4-BE49-F238E27FC236}">
                <a16:creationId xmlns:a16="http://schemas.microsoft.com/office/drawing/2014/main" id="{E6AE6822-2D8B-4375-A76D-CAF4DB64D7C7}"/>
              </a:ext>
            </a:extLst>
          </p:cNvPr>
          <p:cNvSpPr txBox="1"/>
          <p:nvPr/>
        </p:nvSpPr>
        <p:spPr>
          <a:xfrm>
            <a:off x="10014857" y="4616114"/>
            <a:ext cx="21771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1"/>
                </a:solidFill>
                <a:latin typeface="Manrope" pitchFamily="2" charset="0"/>
              </a:rPr>
              <a:t>Corredor Centro-Leste</a:t>
            </a:r>
          </a:p>
        </p:txBody>
      </p:sp>
      <p:sp>
        <p:nvSpPr>
          <p:cNvPr id="501" name="CaixaDeTexto 500">
            <a:hlinkClick r:id="" action="ppaction://noaction"/>
            <a:extLst>
              <a:ext uri="{FF2B5EF4-FFF2-40B4-BE49-F238E27FC236}">
                <a16:creationId xmlns:a16="http://schemas.microsoft.com/office/drawing/2014/main" id="{05E9BCEB-8A51-4DED-BF8F-A676171578FA}"/>
              </a:ext>
            </a:extLst>
          </p:cNvPr>
          <p:cNvSpPr txBox="1"/>
          <p:nvPr/>
        </p:nvSpPr>
        <p:spPr>
          <a:xfrm>
            <a:off x="9677971" y="5338011"/>
            <a:ext cx="1956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1"/>
                </a:solidFill>
                <a:latin typeface="Manrope" pitchFamily="2" charset="0"/>
              </a:rPr>
              <a:t>Corredor Minas-Rio</a:t>
            </a:r>
          </a:p>
        </p:txBody>
      </p:sp>
      <p:sp>
        <p:nvSpPr>
          <p:cNvPr id="504" name="CaixaDeTexto 503">
            <a:hlinkClick r:id="" action="ppaction://noaction"/>
            <a:extLst>
              <a:ext uri="{FF2B5EF4-FFF2-40B4-BE49-F238E27FC236}">
                <a16:creationId xmlns:a16="http://schemas.microsoft.com/office/drawing/2014/main" id="{9DEB2E3A-E401-4003-8F9E-0400530EA466}"/>
              </a:ext>
            </a:extLst>
          </p:cNvPr>
          <p:cNvSpPr txBox="1"/>
          <p:nvPr/>
        </p:nvSpPr>
        <p:spPr>
          <a:xfrm>
            <a:off x="8186055" y="6456947"/>
            <a:ext cx="24498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>
                <a:solidFill>
                  <a:schemeClr val="bg1"/>
                </a:solidFill>
                <a:latin typeface="Manrope" pitchFamily="2" charset="0"/>
              </a:rPr>
              <a:t>Corredor Centro-Sudeste</a:t>
            </a:r>
          </a:p>
        </p:txBody>
      </p:sp>
    </p:spTree>
    <p:extLst>
      <p:ext uri="{BB962C8B-B14F-4D97-AF65-F5344CB8AC3E}">
        <p14:creationId xmlns:p14="http://schemas.microsoft.com/office/powerpoint/2010/main" val="277566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62FC035F-CB79-39F6-333D-45DCE9FD9787}"/>
              </a:ext>
            </a:extLst>
          </p:cNvPr>
          <p:cNvSpPr txBox="1">
            <a:spLocks/>
          </p:cNvSpPr>
          <p:nvPr/>
        </p:nvSpPr>
        <p:spPr>
          <a:xfrm>
            <a:off x="156839" y="-147370"/>
            <a:ext cx="11522074" cy="971550"/>
          </a:xfrm>
          <a:prstGeom prst="rect">
            <a:avLst/>
          </a:prstGeom>
          <a:noFill/>
        </p:spPr>
        <p:txBody>
          <a:bodyPr vert="horz" lIns="0" tIns="36000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pt-BR" sz="24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SEGURANÇA NO SETOR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2D713DB-663E-DCB6-CEDD-149700791F2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93" t="24994" r="1731" b="4860"/>
          <a:stretch>
            <a:fillRect/>
          </a:stretch>
        </p:blipFill>
        <p:spPr>
          <a:xfrm>
            <a:off x="0" y="1655064"/>
            <a:ext cx="11849233" cy="379476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5208206-C1F2-7812-3FEB-FB38DBA843B1}"/>
              </a:ext>
            </a:extLst>
          </p:cNvPr>
          <p:cNvSpPr txBox="1"/>
          <p:nvPr/>
        </p:nvSpPr>
        <p:spPr>
          <a:xfrm>
            <a:off x="10663085" y="6400800"/>
            <a:ext cx="1369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/>
              <a:t>Fonte ANTF.</a:t>
            </a:r>
          </a:p>
        </p:txBody>
      </p:sp>
    </p:spTree>
    <p:extLst>
      <p:ext uri="{BB962C8B-B14F-4D97-AF65-F5344CB8AC3E}">
        <p14:creationId xmlns:p14="http://schemas.microsoft.com/office/powerpoint/2010/main" val="3573193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2C3E6D2-E328-C048-2ECE-A92532116E2F}"/>
              </a:ext>
            </a:extLst>
          </p:cNvPr>
          <p:cNvSpPr/>
          <p:nvPr/>
        </p:nvSpPr>
        <p:spPr>
          <a:xfrm>
            <a:off x="9446109" y="1333500"/>
            <a:ext cx="1774341" cy="3675251"/>
          </a:xfrm>
          <a:prstGeom prst="roundRect">
            <a:avLst>
              <a:gd name="adj" fmla="val 557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/>
              <a:ea typeface="+mn-ea"/>
              <a:cs typeface="+mn-cs"/>
            </a:endParaRPr>
          </a:p>
        </p:txBody>
      </p:sp>
      <p:pic>
        <p:nvPicPr>
          <p:cNvPr id="3" name="1028 (1)(1)">
            <a:hlinkClick r:id="" action="ppaction://media"/>
            <a:extLst>
              <a:ext uri="{FF2B5EF4-FFF2-40B4-BE49-F238E27FC236}">
                <a16:creationId xmlns:a16="http://schemas.microsoft.com/office/drawing/2014/main" id="{4D1CE0B5-AC6E-1DB7-F139-703399D7C6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435923" y="1558925"/>
            <a:ext cx="1762302" cy="313298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1E8EF46-E112-D379-D95B-BD5A67330978}"/>
              </a:ext>
            </a:extLst>
          </p:cNvPr>
          <p:cNvGrpSpPr/>
          <p:nvPr/>
        </p:nvGrpSpPr>
        <p:grpSpPr>
          <a:xfrm>
            <a:off x="5519345" y="3282970"/>
            <a:ext cx="3787139" cy="2287250"/>
            <a:chOff x="5519345" y="3282970"/>
            <a:chExt cx="3787139" cy="228725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23BFFBCE-EA77-8483-5761-7334E7A15C1D}"/>
                </a:ext>
              </a:extLst>
            </p:cNvPr>
            <p:cNvSpPr/>
            <p:nvPr/>
          </p:nvSpPr>
          <p:spPr>
            <a:xfrm>
              <a:off x="5519345" y="3282970"/>
              <a:ext cx="3787139" cy="2287250"/>
            </a:xfrm>
            <a:prstGeom prst="roundRect">
              <a:avLst>
                <a:gd name="adj" fmla="val 10525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/>
                <a:ea typeface="+mn-ea"/>
                <a:cs typeface="+mn-cs"/>
              </a:endParaRPr>
            </a:p>
          </p:txBody>
        </p:sp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82174779-5395-8C9E-3BD1-F18622B0681A}"/>
                </a:ext>
              </a:extLst>
            </p:cNvPr>
            <p:cNvSpPr/>
            <p:nvPr/>
          </p:nvSpPr>
          <p:spPr>
            <a:xfrm rot="10800000">
              <a:off x="5519345" y="4804410"/>
              <a:ext cx="3787139" cy="765810"/>
            </a:xfrm>
            <a:prstGeom prst="round2SameRect">
              <a:avLst>
                <a:gd name="adj1" fmla="val 31592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2E704F6-97B2-9A11-5C50-FD01E733F5C7}"/>
                </a:ext>
              </a:extLst>
            </p:cNvPr>
            <p:cNvSpPr txBox="1"/>
            <p:nvPr/>
          </p:nvSpPr>
          <p:spPr>
            <a:xfrm>
              <a:off x="5999405" y="3507760"/>
              <a:ext cx="22707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+1.10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C5C0DC-C814-D578-38B2-60A7F1295113}"/>
                </a:ext>
              </a:extLst>
            </p:cNvPr>
            <p:cNvSpPr txBox="1"/>
            <p:nvPr/>
          </p:nvSpPr>
          <p:spPr>
            <a:xfrm>
              <a:off x="5999405" y="3943380"/>
              <a:ext cx="288036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acidentes ferroviários entre 2021 e 2022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(ANTT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5B47C59-2A92-3F2B-A838-DD107FD183F6}"/>
                </a:ext>
              </a:extLst>
            </p:cNvPr>
            <p:cNvSpPr txBox="1"/>
            <p:nvPr/>
          </p:nvSpPr>
          <p:spPr>
            <a:xfrm>
              <a:off x="5787951" y="4916716"/>
              <a:ext cx="6324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23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5D68E8A-B4D3-3764-9B20-584A428706C6}"/>
                </a:ext>
              </a:extLst>
            </p:cNvPr>
            <p:cNvSpPr txBox="1"/>
            <p:nvPr/>
          </p:nvSpPr>
          <p:spPr>
            <a:xfrm>
              <a:off x="6275631" y="5008751"/>
              <a:ext cx="11696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mort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A5E40AF-E537-7B4C-F569-2EDE903C5A20}"/>
                </a:ext>
              </a:extLst>
            </p:cNvPr>
            <p:cNvSpPr txBox="1"/>
            <p:nvPr/>
          </p:nvSpPr>
          <p:spPr>
            <a:xfrm>
              <a:off x="7397676" y="4916716"/>
              <a:ext cx="8839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450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48F5973-E14B-8372-23F5-3EE291E28C95}"/>
                </a:ext>
              </a:extLst>
            </p:cNvPr>
            <p:cNvSpPr txBox="1"/>
            <p:nvPr/>
          </p:nvSpPr>
          <p:spPr>
            <a:xfrm>
              <a:off x="8140626" y="5008751"/>
              <a:ext cx="104013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feridos</a:t>
              </a:r>
            </a:p>
          </p:txBody>
        </p:sp>
      </p:grpSp>
      <p:sp>
        <p:nvSpPr>
          <p:cNvPr id="29" name="Corda 29">
            <a:extLst>
              <a:ext uri="{FF2B5EF4-FFF2-40B4-BE49-F238E27FC236}">
                <a16:creationId xmlns:a16="http://schemas.microsoft.com/office/drawing/2014/main" id="{C799D4C6-59C8-057C-5E87-7BFE394A05B8}"/>
              </a:ext>
            </a:extLst>
          </p:cNvPr>
          <p:cNvSpPr/>
          <p:nvPr/>
        </p:nvSpPr>
        <p:spPr>
          <a:xfrm flipH="1">
            <a:off x="-340839" y="254798"/>
            <a:ext cx="732477" cy="732477"/>
          </a:xfrm>
          <a:prstGeom prst="chord">
            <a:avLst>
              <a:gd name="adj1" fmla="val 5164157"/>
              <a:gd name="adj2" fmla="val 1643835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aixaDeTexto 1">
            <a:extLst>
              <a:ext uri="{FF2B5EF4-FFF2-40B4-BE49-F238E27FC236}">
                <a16:creationId xmlns:a16="http://schemas.microsoft.com/office/drawing/2014/main" id="{42B35372-14A3-2396-6E20-1866B4C1E4F4}"/>
              </a:ext>
            </a:extLst>
          </p:cNvPr>
          <p:cNvSpPr txBox="1"/>
          <p:nvPr/>
        </p:nvSpPr>
        <p:spPr>
          <a:xfrm>
            <a:off x="421566" y="328649"/>
            <a:ext cx="114961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Contexto 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37A19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•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Light" pitchFamily="2" charset="0"/>
                <a:ea typeface="+mn-ea"/>
                <a:cs typeface="+mn-cs"/>
              </a:rPr>
              <a:t>o trânsito no brasil 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F37A19"/>
                </a:solidFill>
                <a:effectLst/>
                <a:uLnTx/>
                <a:uFillTx/>
                <a:latin typeface="Manrope ExtraLight" pitchFamily="2" charset="0"/>
                <a:ea typeface="+mn-ea"/>
                <a:cs typeface="+mn-cs"/>
              </a:rPr>
              <a:t>+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74C0"/>
                </a:solidFill>
                <a:effectLst/>
                <a:uLnTx/>
                <a:uFillTx/>
                <a:latin typeface="Manrope ExtraLight" pitchFamily="2" charset="0"/>
                <a:ea typeface="+mn-ea"/>
                <a:cs typeface="+mn-cs"/>
              </a:rPr>
              <a:t> convivência com a ferrovi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8E811F-46CC-F318-B813-A3AC6D31393C}"/>
              </a:ext>
            </a:extLst>
          </p:cNvPr>
          <p:cNvGrpSpPr/>
          <p:nvPr/>
        </p:nvGrpSpPr>
        <p:grpSpPr>
          <a:xfrm>
            <a:off x="259080" y="1744980"/>
            <a:ext cx="9047404" cy="1410147"/>
            <a:chOff x="259080" y="1744980"/>
            <a:chExt cx="9047404" cy="1410147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AAC4E25-041E-C5F2-47F9-AD7C4FF63B64}"/>
                </a:ext>
              </a:extLst>
            </p:cNvPr>
            <p:cNvSpPr/>
            <p:nvPr/>
          </p:nvSpPr>
          <p:spPr>
            <a:xfrm>
              <a:off x="259080" y="1744980"/>
              <a:ext cx="9047404" cy="139446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0A5007D-A32D-75A2-6A51-C811CC75982C}"/>
                </a:ext>
              </a:extLst>
            </p:cNvPr>
            <p:cNvSpPr txBox="1"/>
            <p:nvPr/>
          </p:nvSpPr>
          <p:spPr>
            <a:xfrm>
              <a:off x="398705" y="1888510"/>
              <a:ext cx="16459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34 mil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FF4046A-DCE5-D881-5302-8112EC98EAEB}"/>
                </a:ext>
              </a:extLst>
            </p:cNvPr>
            <p:cNvSpPr txBox="1"/>
            <p:nvPr/>
          </p:nvSpPr>
          <p:spPr>
            <a:xfrm>
              <a:off x="398705" y="2324130"/>
              <a:ext cx="13717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mortes no trânsito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(MS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7A8CD06-BC35-7159-FE59-F98EB6BA2D3D}"/>
                </a:ext>
              </a:extLst>
            </p:cNvPr>
            <p:cNvSpPr txBox="1"/>
            <p:nvPr/>
          </p:nvSpPr>
          <p:spPr>
            <a:xfrm>
              <a:off x="2105585" y="1888510"/>
              <a:ext cx="16459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9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7286A05-1FB7-615B-2D07-FC433F8FBCE8}"/>
                </a:ext>
              </a:extLst>
            </p:cNvPr>
            <p:cNvSpPr txBox="1"/>
            <p:nvPr/>
          </p:nvSpPr>
          <p:spPr>
            <a:xfrm>
              <a:off x="2105585" y="2324130"/>
              <a:ext cx="18860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vidas perdidas por dia em 2022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577594B-6915-C2D3-DB13-F8F6397CFAC1}"/>
                </a:ext>
              </a:extLst>
            </p:cNvPr>
            <p:cNvCxnSpPr/>
            <p:nvPr/>
          </p:nvCxnSpPr>
          <p:spPr>
            <a:xfrm>
              <a:off x="1899845" y="1888510"/>
              <a:ext cx="0" cy="1068050"/>
            </a:xfrm>
            <a:prstGeom prst="line">
              <a:avLst/>
            </a:prstGeom>
            <a:ln w="25400" cap="rnd">
              <a:solidFill>
                <a:schemeClr val="bg1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05B3288-CE1E-A191-D906-82D8DB4EB3DB}"/>
                </a:ext>
              </a:extLst>
            </p:cNvPr>
            <p:cNvCxnSpPr/>
            <p:nvPr/>
          </p:nvCxnSpPr>
          <p:spPr>
            <a:xfrm>
              <a:off x="4048685" y="1888510"/>
              <a:ext cx="0" cy="1068050"/>
            </a:xfrm>
            <a:prstGeom prst="line">
              <a:avLst/>
            </a:prstGeom>
            <a:ln w="25400" cap="rnd">
              <a:solidFill>
                <a:schemeClr val="bg1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385DE17-C301-56E8-D055-95DECC637155}"/>
                </a:ext>
              </a:extLst>
            </p:cNvPr>
            <p:cNvSpPr txBox="1"/>
            <p:nvPr/>
          </p:nvSpPr>
          <p:spPr>
            <a:xfrm>
              <a:off x="4265855" y="1855872"/>
              <a:ext cx="22707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+13,5% 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E5B37F-C2B9-DBA6-ABA1-C91686F833F6}"/>
                </a:ext>
              </a:extLst>
            </p:cNvPr>
            <p:cNvSpPr txBox="1"/>
            <p:nvPr/>
          </p:nvSpPr>
          <p:spPr>
            <a:xfrm>
              <a:off x="4265855" y="2291492"/>
              <a:ext cx="20802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Óbitos de 2010 a 2019 x década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(IPEA)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9E13EB16-46CD-23CC-B125-E7403B2707FF}"/>
                </a:ext>
              </a:extLst>
            </p:cNvPr>
            <p:cNvCxnSpPr/>
            <p:nvPr/>
          </p:nvCxnSpPr>
          <p:spPr>
            <a:xfrm>
              <a:off x="6290872" y="1888510"/>
              <a:ext cx="0" cy="1068050"/>
            </a:xfrm>
            <a:prstGeom prst="line">
              <a:avLst/>
            </a:prstGeom>
            <a:ln w="25400" cap="rnd">
              <a:solidFill>
                <a:schemeClr val="bg1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B771AA9-4F66-447C-9434-FC2253C54B96}"/>
                </a:ext>
              </a:extLst>
            </p:cNvPr>
            <p:cNvSpPr txBox="1"/>
            <p:nvPr/>
          </p:nvSpPr>
          <p:spPr>
            <a:xfrm>
              <a:off x="6508041" y="1855872"/>
              <a:ext cx="27984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57E628C-7426-CD86-CFFB-29225B0C8004}"/>
                </a:ext>
              </a:extLst>
            </p:cNvPr>
            <p:cNvSpPr txBox="1"/>
            <p:nvPr/>
          </p:nvSpPr>
          <p:spPr>
            <a:xfrm>
              <a:off x="6475553" y="1849857"/>
              <a:ext cx="2705199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Desobediência sinalização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Ultrapassagem indevida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Falta de atençã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Light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* Atlas da Acidentalidade 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5402082-F9AC-90A9-A3A3-FFEC1E1370BE}"/>
              </a:ext>
            </a:extLst>
          </p:cNvPr>
          <p:cNvGrpSpPr/>
          <p:nvPr/>
        </p:nvGrpSpPr>
        <p:grpSpPr>
          <a:xfrm>
            <a:off x="259080" y="3282970"/>
            <a:ext cx="5102152" cy="2287250"/>
            <a:chOff x="259080" y="3282970"/>
            <a:chExt cx="5102152" cy="228725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8C9A81F1-A4AF-8A23-784A-DB7E89314165}"/>
                </a:ext>
              </a:extLst>
            </p:cNvPr>
            <p:cNvSpPr/>
            <p:nvPr/>
          </p:nvSpPr>
          <p:spPr>
            <a:xfrm>
              <a:off x="259080" y="3282970"/>
              <a:ext cx="5102152" cy="2287250"/>
            </a:xfrm>
            <a:prstGeom prst="roundRect">
              <a:avLst>
                <a:gd name="adj" fmla="val 10525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83F6CD-C183-795F-3A03-C10AA1676082}"/>
                </a:ext>
              </a:extLst>
            </p:cNvPr>
            <p:cNvSpPr txBox="1"/>
            <p:nvPr/>
          </p:nvSpPr>
          <p:spPr>
            <a:xfrm>
              <a:off x="2489837" y="3681770"/>
              <a:ext cx="28232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Bold" pitchFamily="2" charset="0"/>
                  <a:ea typeface="+mn-ea"/>
                  <a:cs typeface="+mn-cs"/>
                </a:rPr>
                <a:t>5 mil</a:t>
              </a:r>
            </a:p>
          </p:txBody>
        </p:sp>
        <p:sp>
          <p:nvSpPr>
            <p:cNvPr id="36" name="Rectangle: Top Corners Rounded 35">
              <a:extLst>
                <a:ext uri="{FF2B5EF4-FFF2-40B4-BE49-F238E27FC236}">
                  <a16:creationId xmlns:a16="http://schemas.microsoft.com/office/drawing/2014/main" id="{C1328EB0-0328-F049-6AD9-6FC17B8082B2}"/>
                </a:ext>
              </a:extLst>
            </p:cNvPr>
            <p:cNvSpPr/>
            <p:nvPr/>
          </p:nvSpPr>
          <p:spPr>
            <a:xfrm rot="16200000">
              <a:off x="79385" y="3462665"/>
              <a:ext cx="2287250" cy="1927860"/>
            </a:xfrm>
            <a:prstGeom prst="round2SameRect">
              <a:avLst>
                <a:gd name="adj1" fmla="val 11918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42EEBE-7DF5-56D8-0252-8571CA70E4E9}"/>
                </a:ext>
              </a:extLst>
            </p:cNvPr>
            <p:cNvSpPr txBox="1"/>
            <p:nvPr/>
          </p:nvSpPr>
          <p:spPr>
            <a:xfrm>
              <a:off x="2489837" y="4117390"/>
              <a:ext cx="254127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cruzamentos entre ferrovia e vias urbanas no país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ExtraLight" pitchFamily="2" charset="0"/>
                  <a:ea typeface="+mn-ea"/>
                  <a:cs typeface="+mn-cs"/>
                </a:rPr>
                <a:t>(ANTT)</a:t>
              </a: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EC8CBF9E-3ABE-5616-B5C2-313E42FCE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3990" y="3690640"/>
              <a:ext cx="895350" cy="1343025"/>
            </a:xfrm>
            <a:prstGeom prst="rect">
              <a:avLst/>
            </a:prstGeom>
          </p:spPr>
        </p:pic>
      </p:grpSp>
      <p:pic>
        <p:nvPicPr>
          <p:cNvPr id="16" name="Picture 15" descr="A hand holding a cell phone&#10;&#10;Description automatically generated">
            <a:extLst>
              <a:ext uri="{FF2B5EF4-FFF2-40B4-BE49-F238E27FC236}">
                <a16:creationId xmlns:a16="http://schemas.microsoft.com/office/drawing/2014/main" id="{83DD80E2-2256-3E2B-56FA-591493FFA2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317" y="949175"/>
            <a:ext cx="49790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87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1.48148E-6 L 2.5E-6 0.0618 " pathEditMode="relative" rAng="0" ptsTypes="AA">
                                      <p:cBhvr>
                                        <p:cTn id="20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1.85185E-6 L -2.91667E-6 0.06181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1.85185E-6 L -2.91667E-6 0.06181 " pathEditMode="relative" rAng="0" ptsTypes="AA">
                                      <p:cBhvr>
                                        <p:cTn id="32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5" dur="3097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36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3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8" fill="hold">
                      <p:stCondLst>
                        <p:cond delay="0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29" grpId="0" animBg="1"/>
      <p:bldP spid="30" grpId="0"/>
      <p:bldP spid="30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1374E6-BB05-2BC8-F421-AE6397789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N ALTEROSA EVASÕES">
            <a:hlinkClick r:id="" action="ppaction://media"/>
            <a:extLst>
              <a:ext uri="{FF2B5EF4-FFF2-40B4-BE49-F238E27FC236}">
                <a16:creationId xmlns:a16="http://schemas.microsoft.com/office/drawing/2014/main" id="{F2B8CC34-0607-63B9-E745-EC832401668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55725" y="762595"/>
            <a:ext cx="9480550" cy="533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615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98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1ECEA-E5D4-9D3B-26DC-DFDB3D2D1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2865847-1EB5-343B-B94C-8A68B4F5AF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3990"/>
          <a:stretch/>
        </p:blipFill>
        <p:spPr>
          <a:xfrm rot="16200000">
            <a:off x="-346420" y="2119804"/>
            <a:ext cx="6150261" cy="3326129"/>
          </a:xfrm>
          <a:prstGeom prst="rect">
            <a:avLst/>
          </a:prstGeom>
        </p:spPr>
      </p:pic>
      <p:sp>
        <p:nvSpPr>
          <p:cNvPr id="3" name="CaixaDeTexto 1">
            <a:extLst>
              <a:ext uri="{FF2B5EF4-FFF2-40B4-BE49-F238E27FC236}">
                <a16:creationId xmlns:a16="http://schemas.microsoft.com/office/drawing/2014/main" id="{7C1066FF-2E64-3DD3-6726-70594ED93082}"/>
              </a:ext>
            </a:extLst>
          </p:cNvPr>
          <p:cNvSpPr txBox="1"/>
          <p:nvPr/>
        </p:nvSpPr>
        <p:spPr>
          <a:xfrm>
            <a:off x="4961316" y="1095349"/>
            <a:ext cx="671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pt-BR" sz="3600" dirty="0">
                <a:solidFill>
                  <a:schemeClr val="accent1"/>
                </a:solidFill>
                <a:latin typeface="Manrope ExtraBold" pitchFamily="2" charset="0"/>
              </a:rPr>
              <a:t>Gestão baseada em dados: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anrope ExtraLight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98720BF-D53C-3C28-9AD5-CB0ECD63EBC2}"/>
              </a:ext>
            </a:extLst>
          </p:cNvPr>
          <p:cNvGrpSpPr/>
          <p:nvPr/>
        </p:nvGrpSpPr>
        <p:grpSpPr>
          <a:xfrm>
            <a:off x="4961316" y="1989195"/>
            <a:ext cx="6171274" cy="984044"/>
            <a:chOff x="4961316" y="1989195"/>
            <a:chExt cx="6171274" cy="984044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8CFE6276-A5ED-C791-1F5D-291433625169}"/>
                </a:ext>
              </a:extLst>
            </p:cNvPr>
            <p:cNvSpPr/>
            <p:nvPr/>
          </p:nvSpPr>
          <p:spPr>
            <a:xfrm>
              <a:off x="5026873" y="2050540"/>
              <a:ext cx="1046037" cy="861355"/>
            </a:xfrm>
            <a:prstGeom prst="roundRect">
              <a:avLst>
                <a:gd name="adj" fmla="val 1390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CaixaDeTexto 1">
              <a:extLst>
                <a:ext uri="{FF2B5EF4-FFF2-40B4-BE49-F238E27FC236}">
                  <a16:creationId xmlns:a16="http://schemas.microsoft.com/office/drawing/2014/main" id="{94BEB266-9600-BF24-72BF-20A12200FEF6}"/>
                </a:ext>
              </a:extLst>
            </p:cNvPr>
            <p:cNvSpPr txBox="1"/>
            <p:nvPr/>
          </p:nvSpPr>
          <p:spPr>
            <a:xfrm>
              <a:off x="6520404" y="2158051"/>
              <a:ext cx="1943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pt-BR" dirty="0">
                  <a:solidFill>
                    <a:schemeClr val="accent2"/>
                  </a:solidFill>
                  <a:latin typeface="Manrope ExtraBold" pitchFamily="2" charset="0"/>
                </a:rPr>
                <a:t>Principais envolvidos:</a:t>
              </a:r>
            </a:p>
          </p:txBody>
        </p:sp>
        <p:sp>
          <p:nvSpPr>
            <p:cNvPr id="15" name="CaixaDeTexto 1">
              <a:extLst>
                <a:ext uri="{FF2B5EF4-FFF2-40B4-BE49-F238E27FC236}">
                  <a16:creationId xmlns:a16="http://schemas.microsoft.com/office/drawing/2014/main" id="{76CDA8EB-3B82-9DB3-98C6-A3834EE63408}"/>
                </a:ext>
              </a:extLst>
            </p:cNvPr>
            <p:cNvSpPr txBox="1"/>
            <p:nvPr/>
          </p:nvSpPr>
          <p:spPr>
            <a:xfrm>
              <a:off x="8427445" y="2111884"/>
              <a:ext cx="219209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pt-BR" sz="1400" dirty="0">
                  <a:solidFill>
                    <a:schemeClr val="accent2"/>
                  </a:solidFill>
                  <a:latin typeface="Manrope ExtraBold" pitchFamily="2" charset="0"/>
                </a:rPr>
                <a:t>homens, prioritariamente na faixa de 26 e 45 anos</a:t>
              </a: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anrope ExtraLight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BE6C298-CDA9-3889-FCFE-DDC58C1DB112}"/>
                </a:ext>
              </a:extLst>
            </p:cNvPr>
            <p:cNvSpPr/>
            <p:nvPr/>
          </p:nvSpPr>
          <p:spPr>
            <a:xfrm>
              <a:off x="4961316" y="1989195"/>
              <a:ext cx="6171274" cy="984044"/>
            </a:xfrm>
            <a:prstGeom prst="roundRect">
              <a:avLst/>
            </a:prstGeom>
            <a:noFill/>
            <a:ln w="349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FFC00830-155C-06C2-13D6-A3F5B1E43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69350" y="2285635"/>
              <a:ext cx="561082" cy="391162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8ACF30F-F6A0-E580-FDDA-BE9D9E37BA05}"/>
              </a:ext>
            </a:extLst>
          </p:cNvPr>
          <p:cNvGrpSpPr/>
          <p:nvPr/>
        </p:nvGrpSpPr>
        <p:grpSpPr>
          <a:xfrm>
            <a:off x="4961316" y="3142095"/>
            <a:ext cx="6171274" cy="984044"/>
            <a:chOff x="4961316" y="3142095"/>
            <a:chExt cx="6171274" cy="984044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04C7139-79E2-56DE-FC58-B14C6B165A44}"/>
                </a:ext>
              </a:extLst>
            </p:cNvPr>
            <p:cNvSpPr/>
            <p:nvPr/>
          </p:nvSpPr>
          <p:spPr>
            <a:xfrm>
              <a:off x="5026873" y="3203440"/>
              <a:ext cx="1046037" cy="861355"/>
            </a:xfrm>
            <a:prstGeom prst="roundRect">
              <a:avLst>
                <a:gd name="adj" fmla="val 1390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B6356507-CBCC-020C-F1BF-EB59A07DA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90313" y="3389363"/>
              <a:ext cx="519156" cy="474755"/>
            </a:xfrm>
            <a:prstGeom prst="rect">
              <a:avLst/>
            </a:prstGeom>
          </p:spPr>
        </p:pic>
        <p:sp>
          <p:nvSpPr>
            <p:cNvPr id="23" name="CaixaDeTexto 1">
              <a:extLst>
                <a:ext uri="{FF2B5EF4-FFF2-40B4-BE49-F238E27FC236}">
                  <a16:creationId xmlns:a16="http://schemas.microsoft.com/office/drawing/2014/main" id="{E4723B31-C3C0-8361-BE5D-0D04DBEADB81}"/>
                </a:ext>
              </a:extLst>
            </p:cNvPr>
            <p:cNvSpPr txBox="1"/>
            <p:nvPr/>
          </p:nvSpPr>
          <p:spPr>
            <a:xfrm>
              <a:off x="6520404" y="3338948"/>
              <a:ext cx="429577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pt-BR" sz="1600" dirty="0">
                  <a:solidFill>
                    <a:schemeClr val="accent2"/>
                  </a:solidFill>
                  <a:latin typeface="Manrope ExtraBold" pitchFamily="2" charset="0"/>
                </a:rPr>
                <a:t>Maior número de ocorrências às sextas, sábados e domingos, pela manhã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8A2FA27D-89B9-1BD6-0948-22F9D58A107E}"/>
                </a:ext>
              </a:extLst>
            </p:cNvPr>
            <p:cNvSpPr/>
            <p:nvPr/>
          </p:nvSpPr>
          <p:spPr>
            <a:xfrm>
              <a:off x="4961316" y="3142095"/>
              <a:ext cx="6171274" cy="984044"/>
            </a:xfrm>
            <a:prstGeom prst="roundRect">
              <a:avLst/>
            </a:prstGeom>
            <a:noFill/>
            <a:ln w="349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D437FE2-BDF7-D7E4-104F-7FD9BB188F50}"/>
              </a:ext>
            </a:extLst>
          </p:cNvPr>
          <p:cNvGrpSpPr/>
          <p:nvPr/>
        </p:nvGrpSpPr>
        <p:grpSpPr>
          <a:xfrm>
            <a:off x="4961316" y="4294995"/>
            <a:ext cx="6171274" cy="984044"/>
            <a:chOff x="4961316" y="4294995"/>
            <a:chExt cx="6171274" cy="984044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E50C8E6-CA3B-B281-DF8D-932FCA860079}"/>
                </a:ext>
              </a:extLst>
            </p:cNvPr>
            <p:cNvSpPr/>
            <p:nvPr/>
          </p:nvSpPr>
          <p:spPr>
            <a:xfrm>
              <a:off x="5026873" y="4356340"/>
              <a:ext cx="1046037" cy="861355"/>
            </a:xfrm>
            <a:prstGeom prst="roundRect">
              <a:avLst>
                <a:gd name="adj" fmla="val 1390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65BC6381-0C6C-6FB9-DEA7-3D53F998E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29315" y="4566441"/>
              <a:ext cx="441152" cy="441152"/>
            </a:xfrm>
            <a:prstGeom prst="rect">
              <a:avLst/>
            </a:prstGeom>
          </p:spPr>
        </p:pic>
        <p:sp>
          <p:nvSpPr>
            <p:cNvPr id="25" name="CaixaDeTexto 1">
              <a:extLst>
                <a:ext uri="{FF2B5EF4-FFF2-40B4-BE49-F238E27FC236}">
                  <a16:creationId xmlns:a16="http://schemas.microsoft.com/office/drawing/2014/main" id="{4F97D285-76C6-4704-9EF7-E2D59C5C9850}"/>
                </a:ext>
              </a:extLst>
            </p:cNvPr>
            <p:cNvSpPr txBox="1"/>
            <p:nvPr/>
          </p:nvSpPr>
          <p:spPr>
            <a:xfrm>
              <a:off x="6520404" y="4494630"/>
              <a:ext cx="429577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pt-BR" sz="1600" dirty="0">
                  <a:solidFill>
                    <a:schemeClr val="accent2"/>
                  </a:solidFill>
                  <a:latin typeface="Manrope ExtraBold" pitchFamily="2" charset="0"/>
                </a:rPr>
                <a:t>Envolvendo, nessa ordem, carros, caminhões e motos.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A4649947-47B7-7892-70F6-BC6359D1A9C6}"/>
                </a:ext>
              </a:extLst>
            </p:cNvPr>
            <p:cNvSpPr/>
            <p:nvPr/>
          </p:nvSpPr>
          <p:spPr>
            <a:xfrm>
              <a:off x="4961316" y="4294995"/>
              <a:ext cx="6171274" cy="984044"/>
            </a:xfrm>
            <a:prstGeom prst="roundRect">
              <a:avLst/>
            </a:prstGeom>
            <a:noFill/>
            <a:ln w="349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987481E-2FF2-D549-4EB5-112F827FD7BE}"/>
              </a:ext>
            </a:extLst>
          </p:cNvPr>
          <p:cNvGrpSpPr/>
          <p:nvPr/>
        </p:nvGrpSpPr>
        <p:grpSpPr>
          <a:xfrm>
            <a:off x="4961316" y="5447895"/>
            <a:ext cx="6171274" cy="984044"/>
            <a:chOff x="4961316" y="5447895"/>
            <a:chExt cx="6171274" cy="984044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4373774-5C15-BD75-41A3-39DBC3EB5F93}"/>
                </a:ext>
              </a:extLst>
            </p:cNvPr>
            <p:cNvSpPr/>
            <p:nvPr/>
          </p:nvSpPr>
          <p:spPr>
            <a:xfrm>
              <a:off x="5026873" y="5509240"/>
              <a:ext cx="1046037" cy="861355"/>
            </a:xfrm>
            <a:prstGeom prst="roundRect">
              <a:avLst>
                <a:gd name="adj" fmla="val 1390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CaixaDeTexto 1">
              <a:extLst>
                <a:ext uri="{FF2B5EF4-FFF2-40B4-BE49-F238E27FC236}">
                  <a16:creationId xmlns:a16="http://schemas.microsoft.com/office/drawing/2014/main" id="{6897E577-71EE-93E3-34C0-C06E31A119BF}"/>
                </a:ext>
              </a:extLst>
            </p:cNvPr>
            <p:cNvSpPr txBox="1"/>
            <p:nvPr/>
          </p:nvSpPr>
          <p:spPr>
            <a:xfrm>
              <a:off x="6520404" y="5644748"/>
              <a:ext cx="429577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pt-BR" sz="1600" dirty="0">
                  <a:solidFill>
                    <a:schemeClr val="accent2"/>
                  </a:solidFill>
                  <a:latin typeface="Manrope ExtraBold" pitchFamily="2" charset="0"/>
                </a:rPr>
                <a:t>Meses de maior incidência de acidentes: maio, julho e agosto.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630E5EA0-B8AF-18CE-F3B0-37B0C110AA2B}"/>
                </a:ext>
              </a:extLst>
            </p:cNvPr>
            <p:cNvSpPr/>
            <p:nvPr/>
          </p:nvSpPr>
          <p:spPr>
            <a:xfrm>
              <a:off x="4961316" y="5447895"/>
              <a:ext cx="6171274" cy="984044"/>
            </a:xfrm>
            <a:prstGeom prst="roundRect">
              <a:avLst/>
            </a:prstGeom>
            <a:noFill/>
            <a:ln w="349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F35FEE67-B253-F0FC-1834-DE9611C46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90313" y="5699757"/>
              <a:ext cx="519156" cy="474755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EF7BEBF7-288B-312F-0C77-720E88C7C2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23" y="353868"/>
            <a:ext cx="49090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2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1.85185E-6 L -2.91667E-6 0.0618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20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31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36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08333E-7 1.48148E-6 L -0.04258 1.48148E-6 " pathEditMode="relative" rAng="0" ptsTypes="AA">
                                      <p:cBhvr>
                                        <p:cTn id="41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C:\USERS\USER34\DESKTOP\\TELA03_PERSONAGEM-4.PNG"/>
  <p:tag name="PXPSD_PNGPATH" val="C:\USERS\USER34\DESKTOP\\"/>
  <p:tag name="PXPSD_PNGFILENAME" val="TELA03_PERSONAGEM-4.PNG"/>
  <p:tag name="PXPSD_LAYERNAME" val="Personagem-4"/>
  <p:tag name="PXPSD_PSDPATH" val="C:\Users\user34\Documents\localiza\ppt\"/>
  <p:tag name="PXPSD_PSDFILENAME" val="tela03.psd"/>
  <p:tag name="PXPSD_PSDSOURCE" val="C:\Users\user34\Documents\localiza\ppt\tela03.psd"/>
  <p:tag name=" PXPSD_PSDSOURCELAY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C:\USERS\USER34\DESKTOP\\TELA03_PERSONAGEM-1.PNG"/>
  <p:tag name="PXPSD_PNGPATH" val="C:\USERS\USER34\DESKTOP\\"/>
  <p:tag name="PXPSD_PNGFILENAME" val="TELA03_PERSONAGEM-1.PNG"/>
  <p:tag name="PXPSD_LAYERNAME" val="Personagem-1"/>
  <p:tag name="PXPSD_PSDPATH" val="C:\Users\user34\Documents\localiza\ppt\"/>
  <p:tag name="PXPSD_PSDFILENAME" val="tela03.psd"/>
  <p:tag name="PXPSD_PSDSOURCE" val="C:\Users\user34\Documents\localiza\ppt\tela03.psd"/>
  <p:tag name=" PXPSD_PSDSOURCELAYER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C:\USERS\USER34\DESKTOP\\TELA03_PERSONAGEM-2.PNG"/>
  <p:tag name="PXPSD_PNGPATH" val="C:\USERS\USER34\DESKTOP\\"/>
  <p:tag name="PXPSD_PNGFILENAME" val="TELA03_PERSONAGEM-2.PNG"/>
  <p:tag name="PXPSD_LAYERNAME" val="Personagem-2"/>
  <p:tag name="PXPSD_PSDPATH" val="C:\Users\user34\Documents\localiza\ppt\"/>
  <p:tag name="PXPSD_PSDFILENAME" val="tela03.psd"/>
  <p:tag name="PXPSD_PSDSOURCE" val="C:\Users\user34\Documents\localiza\ppt\tela03.psd"/>
  <p:tag name=" PXPSD_PSDSOURCELAYER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C:\USERS\USER34\DESKTOP\\TELA03_PERSONAGEM-3.PNG"/>
  <p:tag name="PXPSD_PNGPATH" val="C:\USERS\USER34\DESKTOP\\"/>
  <p:tag name="PXPSD_PNGFILENAME" val="TELA03_PERSONAGEM-3.PNG"/>
  <p:tag name="PXPSD_LAYERNAME" val="Personagem-3"/>
  <p:tag name="PXPSD_PSDPATH" val="C:\Users\user34\Documents\localiza\ppt\"/>
  <p:tag name="PXPSD_PSDFILENAME" val="tela03.psd"/>
  <p:tag name="PXPSD_PSDSOURCE" val="C:\Users\user34\Documents\localiza\ppt\tela03.psd"/>
  <p:tag name=" PXPSD_PSDSOURCELAY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ONEDRIVE\ÁREA DE TRABALHO\SMARTALK\\BAIX_CAMADA 1.PNG"/>
  <p:tag name="PXPSD_PNGPATH" val="..\ONEDRIVE\ÁREA DE TRABALHO\SMARTALK\\"/>
  <p:tag name="PXPSD_PNGFILENAME" val="BAIX_CAMADA 1.PNG"/>
  <p:tag name="PXPSD_LAYERNAME" val="Camada 1"/>
  <p:tag name="PXPSD_PSDPATH" val="..\OneDrive\Área de Trabalho\SMARTALK\ESCALAR\"/>
  <p:tag name="PXPSD_PSDFILENAME" val="baix.psd"/>
  <p:tag name="PXPSD_PSDSOURCE" val="C:\Users\maria\OneDrive\Área de Trabalho\SMARTALK\ESCALAR\baix.psd"/>
  <p:tag name=" PXPSD_PSDSOURCELAYER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C:\USERS\USER34\DESKTOP\\TELA03_PERSONAGEM-3.PNG"/>
  <p:tag name="PXPSD_PNGPATH" val="C:\USERS\USER34\DESKTOP\\"/>
  <p:tag name="PXPSD_PNGFILENAME" val="TELA03_PERSONAGEM-3.PNG"/>
  <p:tag name="PXPSD_LAYERNAME" val="Personagem-3"/>
  <p:tag name="PXPSD_PSDPATH" val="C:\Users\user34\Documents\localiza\ppt\"/>
  <p:tag name="PXPSD_PSDFILENAME" val="tela03.psd"/>
  <p:tag name="PXPSD_PSDSOURCE" val="C:\Users\user34\Documents\localiza\ppt\tela03.psd"/>
  <p:tag name=" PXPSD_PSDSOURCELAY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..\..\..\DOWNLOADS\\VLI 2_01.PNG"/>
  <p:tag name="PXPSD_PNGPATH" val="..\..\..\..\DOWNLOADS\\"/>
  <p:tag name="PXPSD_PNGFILENAME" val="VLI 2_01.PNG"/>
  <p:tag name="PXPSD_LAYERNAME" val="01"/>
  <p:tag name="PXPSD_PSDPATH" val="..\..\..\..\Downloads\"/>
  <p:tag name="PXPSD_PSDFILENAME" val="VLI 2.jpg"/>
  <p:tag name="PXPSD_PSDSOURCE" val="C:\Users\user18\Downloads\VLI 2.jpg"/>
  <p:tag name=" PXPSD_PSDSOURCELAYER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wrap="square">
        <a:spAutoFit/>
      </a:bodyPr>
      <a:lstStyle>
        <a:defPPr algn="l" defTabSz="1828800">
          <a:lnSpc>
            <a:spcPts val="2600"/>
          </a:lnSpc>
          <a:defRPr sz="2300" b="0" dirty="0">
            <a:solidFill>
              <a:schemeClr val="bg1"/>
            </a:solidFill>
            <a:latin typeface="Manrope"/>
            <a:ea typeface="Calibri Light"/>
            <a:cs typeface="Calibri Light"/>
            <a:sym typeface="Calibri Light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VLI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0074C0"/>
      </a:accent1>
      <a:accent2>
        <a:srgbClr val="F37A19"/>
      </a:accent2>
      <a:accent3>
        <a:srgbClr val="95AFB6"/>
      </a:accent3>
      <a:accent4>
        <a:srgbClr val="DCE137"/>
      </a:accent4>
      <a:accent5>
        <a:srgbClr val="564FF0"/>
      </a:accent5>
      <a:accent6>
        <a:srgbClr val="9D2172"/>
      </a:accent6>
      <a:hlink>
        <a:srgbClr val="467886"/>
      </a:hlink>
      <a:folHlink>
        <a:srgbClr val="96607D"/>
      </a:folHlink>
    </a:clrScheme>
    <a:fontScheme name="VLI">
      <a:majorFont>
        <a:latin typeface="Manrope ExtraBold"/>
        <a:ea typeface=""/>
        <a:cs typeface=""/>
      </a:majorFont>
      <a:minorFont>
        <a:latin typeface="Manro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da384f1a-26ac-4e64-8d38-1286b0541ed4" xsi:nil="true"/>
    <TaxCatchAll xmlns="043c51d7-1484-4b42-ae56-96b89c2f4c26" xsi:nil="true"/>
    <lcf76f155ced4ddcb4097134ff3c332f xmlns="da384f1a-26ac-4e64-8d38-1286b0541ed4">
      <Terms xmlns="http://schemas.microsoft.com/office/infopath/2007/PartnerControls"/>
    </lcf76f155ced4ddcb4097134ff3c332f>
    <_x00da_ltimaaltera_x00e7__x00e3_o xmlns="da384f1a-26ac-4e64-8d38-1286b0541ed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8BE812253ECDB4BBC7E170F4D66571A" ma:contentTypeVersion="14" ma:contentTypeDescription="Crie um novo documento." ma:contentTypeScope="" ma:versionID="a9580425abf10b60a3bdd661fb88553a">
  <xsd:schema xmlns:xsd="http://www.w3.org/2001/XMLSchema" xmlns:xs="http://www.w3.org/2001/XMLSchema" xmlns:p="http://schemas.microsoft.com/office/2006/metadata/properties" xmlns:ns2="da384f1a-26ac-4e64-8d38-1286b0541ed4" xmlns:ns3="043c51d7-1484-4b42-ae56-96b89c2f4c26" targetNamespace="http://schemas.microsoft.com/office/2006/metadata/properties" ma:root="true" ma:fieldsID="42d8572011ec0c2615fa3e369d5e4637" ns2:_="" ns3:_="">
    <xsd:import namespace="da384f1a-26ac-4e64-8d38-1286b0541ed4"/>
    <xsd:import namespace="043c51d7-1484-4b42-ae56-96b89c2f4c26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x00da_ltimaaltera_x00e7__x00e3_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384f1a-26ac-4e64-8d38-1286b0541ed4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Marcações de imagem" ma:readOnly="false" ma:fieldId="{5cf76f15-5ced-4ddc-b409-7134ff3c332f}" ma:taxonomyMulti="true" ma:sspId="18d130e2-d8de-4285-9cce-e23c6c017b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_x00da_ltimaaltera_x00e7__x00e3_o" ma:index="21" nillable="true" ma:displayName="Última alteração" ma:format="DateTime" ma:internalName="_x00da_ltimaaltera_x00e7__x00e3_o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3c51d7-1484-4b42-ae56-96b89c2f4c26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f677f9d5-cfed-42d5-8f3e-a16bc63abb96}" ma:internalName="TaxCatchAll" ma:showField="CatchAllData" ma:web="043c51d7-1484-4b42-ae56-96b89c2f4c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AF7AB4C4B965740968BF13A37DCB02D" ma:contentTypeVersion="21" ma:contentTypeDescription="Criar um novo documento." ma:contentTypeScope="" ma:versionID="abff0b64786ee784e4561769426cc7ab">
  <xsd:schema xmlns:xsd="http://www.w3.org/2001/XMLSchema" xmlns:xs="http://www.w3.org/2001/XMLSchema" xmlns:p="http://schemas.microsoft.com/office/2006/metadata/properties" xmlns:ns2="146421b3-eaf3-433d-a015-0b83b41f074a" xmlns:ns3="76ed1705-567a-460c-a604-0268a4451904" targetNamespace="http://schemas.microsoft.com/office/2006/metadata/properties" ma:root="true" ma:fieldsID="a63fe977023016984e1c5453892ec865" ns2:_="" ns3:_="">
    <xsd:import namespace="146421b3-eaf3-433d-a015-0b83b41f074a"/>
    <xsd:import namespace="76ed1705-567a-460c-a604-0268a445190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2:SharedWithUsers" minOccurs="0"/>
                <xsd:element ref="ns2:SharedWithDetail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_Flow_SignoffStatus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6421b3-eaf3-433d-a015-0b83b41f074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alor do ID do Documento" ma:description="O valor do ID do documento atribuído a este item." ma:internalName="_dlc_DocId" ma:readOnly="true">
      <xsd:simpleType>
        <xsd:restriction base="dms:Text"/>
      </xsd:simpleType>
    </xsd:element>
    <xsd:element name="_dlc_DocIdUrl" ma:index="9" nillable="true" ma:displayName="ID do Documento" ma:description="Ligação permanente a este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4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5b9da11f-b292-452e-853a-290e00acfa55}" ma:internalName="TaxCatchAll" ma:showField="CatchAllData" ma:web="146421b3-eaf3-433d-a015-0b83b41f07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ed1705-567a-460c-a604-0268a44519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Etiquetas de Imagem" ma:readOnly="false" ma:fieldId="{5cf76f15-5ced-4ddc-b409-7134ff3c332f}" ma:taxonomyMulti="true" ma:sspId="dc07de54-981b-4897-a1a0-7bdfa41b63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7" nillable="true" ma:displayName="Estado da aprovação" ma:internalName="Estado_x0020_da_x0020_aprova_x00e7__x00e3_o">
      <xsd:simpleType>
        <xsd:restriction base="dms:Text"/>
      </xsd:simple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5F1CC0-5E50-4905-80EB-322A9DD5477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392A1A-9B4D-4A35-88C5-08590165E46F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ee16b069-ff83-47b9-a0fd-9d9b920cb2ec"/>
    <ds:schemaRef ds:uri="http://schemas.microsoft.com/office/2006/metadata/properties"/>
    <ds:schemaRef ds:uri="334ae755-4e6b-4f91-b0e8-bc8178f2ce9d"/>
    <ds:schemaRef ds:uri="http://purl.org/dc/terms/"/>
    <ds:schemaRef ds:uri="http://www.w3.org/XML/1998/namespace"/>
    <ds:schemaRef ds:uri="http://purl.org/dc/elements/1.1/"/>
    <ds:schemaRef ds:uri="76ed1705-567a-460c-a604-0268a4451904"/>
    <ds:schemaRef ds:uri="146421b3-eaf3-433d-a015-0b83b41f074a"/>
  </ds:schemaRefs>
</ds:datastoreItem>
</file>

<file path=customXml/itemProps3.xml><?xml version="1.0" encoding="utf-8"?>
<ds:datastoreItem xmlns:ds="http://schemas.openxmlformats.org/officeDocument/2006/customXml" ds:itemID="{EE40FD8E-1720-46AB-916F-BAE3770F3559}"/>
</file>

<file path=customXml/itemProps4.xml><?xml version="1.0" encoding="utf-8"?>
<ds:datastoreItem xmlns:ds="http://schemas.openxmlformats.org/officeDocument/2006/customXml" ds:itemID="{562D22F8-1917-4C73-8441-41AB3B5E56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6421b3-eaf3-433d-a015-0b83b41f074a"/>
    <ds:schemaRef ds:uri="76ed1705-567a-460c-a604-0268a44519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5</TotalTime>
  <Words>654</Words>
  <Application>Microsoft Office PowerPoint</Application>
  <PresentationFormat>Widescreen</PresentationFormat>
  <Paragraphs>132</Paragraphs>
  <Slides>14</Slides>
  <Notes>7</Notes>
  <HiddenSlides>0</HiddenSlides>
  <MMClips>2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14</vt:i4>
      </vt:variant>
    </vt:vector>
  </HeadingPairs>
  <TitlesOfParts>
    <vt:vector size="16" baseType="lpstr">
      <vt:lpstr>Office Theme</vt:lpstr>
      <vt:lpstr>1_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UARIO 02</dc:creator>
  <cp:lastModifiedBy>Aline Santos De Marco</cp:lastModifiedBy>
  <cp:revision>10</cp:revision>
  <dcterms:created xsi:type="dcterms:W3CDTF">2019-12-10T18:17:02Z</dcterms:created>
  <dcterms:modified xsi:type="dcterms:W3CDTF">2025-08-21T11:3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BE812253ECDB4BBC7E170F4D66571A</vt:lpwstr>
  </property>
  <property fmtid="{D5CDD505-2E9C-101B-9397-08002B2CF9AE}" pid="3" name="_dlc_DocIdItemGuid">
    <vt:lpwstr>1bb7c596-ebd4-4dfe-96b9-43c10c597508</vt:lpwstr>
  </property>
  <property fmtid="{D5CDD505-2E9C-101B-9397-08002B2CF9AE}" pid="4" name="Order">
    <vt:r8>11393300</vt:r8>
  </property>
  <property fmtid="{D5CDD505-2E9C-101B-9397-08002B2CF9AE}" pid="5" name="xd_ProgID">
    <vt:lpwstr/>
  </property>
  <property fmtid="{D5CDD505-2E9C-101B-9397-08002B2CF9AE}" pid="6" name="_dlc_DocId">
    <vt:lpwstr>K244KT7RKEKE-695390730-113933</vt:lpwstr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_dlc_DocIdUrl">
    <vt:lpwstr>https://vlisa.sharepoint.com/sites/Comunicacao/_layouts/15/DocIdRedir.aspx?ID=K244KT7RKEKE-695390730-113933, K244KT7RKEKE-695390730-113933</vt:lpwstr>
  </property>
  <property fmtid="{D5CDD505-2E9C-101B-9397-08002B2CF9AE}" pid="11" name="xd_Signature">
    <vt:bool>false</vt:bool>
  </property>
  <property fmtid="{D5CDD505-2E9C-101B-9397-08002B2CF9AE}" pid="12" name="MediaServiceImageTags">
    <vt:lpwstr/>
  </property>
</Properties>
</file>